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5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6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8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1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22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3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4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2" r:id="rId4"/>
  </p:sldMasterIdLst>
  <p:notesMasterIdLst>
    <p:notesMasterId r:id="rId51"/>
  </p:notesMasterIdLst>
  <p:handoutMasterIdLst>
    <p:handoutMasterId r:id="rId52"/>
  </p:handoutMasterIdLst>
  <p:sldIdLst>
    <p:sldId id="308" r:id="rId5"/>
    <p:sldId id="724" r:id="rId6"/>
    <p:sldId id="665" r:id="rId7"/>
    <p:sldId id="544" r:id="rId8"/>
    <p:sldId id="558" r:id="rId9"/>
    <p:sldId id="565" r:id="rId10"/>
    <p:sldId id="661" r:id="rId11"/>
    <p:sldId id="671" r:id="rId12"/>
    <p:sldId id="673" r:id="rId13"/>
    <p:sldId id="675" r:id="rId14"/>
    <p:sldId id="681" r:id="rId15"/>
    <p:sldId id="716" r:id="rId16"/>
    <p:sldId id="666" r:id="rId17"/>
    <p:sldId id="674" r:id="rId18"/>
    <p:sldId id="676" r:id="rId19"/>
    <p:sldId id="709" r:id="rId20"/>
    <p:sldId id="712" r:id="rId21"/>
    <p:sldId id="711" r:id="rId22"/>
    <p:sldId id="691" r:id="rId23"/>
    <p:sldId id="686" r:id="rId24"/>
    <p:sldId id="668" r:id="rId25"/>
    <p:sldId id="670" r:id="rId26"/>
    <p:sldId id="706" r:id="rId27"/>
    <p:sldId id="707" r:id="rId28"/>
    <p:sldId id="699" r:id="rId29"/>
    <p:sldId id="663" r:id="rId30"/>
    <p:sldId id="693" r:id="rId31"/>
    <p:sldId id="698" r:id="rId32"/>
    <p:sldId id="703" r:id="rId33"/>
    <p:sldId id="696" r:id="rId34"/>
    <p:sldId id="700" r:id="rId35"/>
    <p:sldId id="695" r:id="rId36"/>
    <p:sldId id="697" r:id="rId37"/>
    <p:sldId id="701" r:id="rId38"/>
    <p:sldId id="702" r:id="rId39"/>
    <p:sldId id="704" r:id="rId40"/>
    <p:sldId id="713" r:id="rId41"/>
    <p:sldId id="714" r:id="rId42"/>
    <p:sldId id="715" r:id="rId43"/>
    <p:sldId id="664" r:id="rId44"/>
    <p:sldId id="720" r:id="rId45"/>
    <p:sldId id="566" r:id="rId46"/>
    <p:sldId id="685" r:id="rId47"/>
    <p:sldId id="723" r:id="rId48"/>
    <p:sldId id="721" r:id="rId49"/>
    <p:sldId id="722" r:id="rId50"/>
  </p:sldIdLst>
  <p:sldSz cx="12198350" cy="6858000"/>
  <p:notesSz cx="6858000" cy="9144000"/>
  <p:custDataLst>
    <p:tags r:id="rId53"/>
  </p:custDataLst>
  <p:defaultTextStyle>
    <a:defPPr>
      <a:defRPr lang="de-DE"/>
    </a:defPPr>
    <a:lvl1pPr marL="0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6097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034BE9-08BD-4FAC-BA2F-5663A1CD9711}" v="3653" dt="2022-08-01T06:50:07.318"/>
  </p1510:revLst>
</p1510:revInfo>
</file>

<file path=ppt/tableStyles.xml><?xml version="1.0" encoding="utf-8"?>
<a:tblStyleLst xmlns:a="http://schemas.openxmlformats.org/drawingml/2006/main" def="{CA20E951-F767-40FB-8981-BDCADE0C3650}">
  <a:tblStyle styleId="{CA20E951-F767-40FB-8981-BDCADE0C3650}" styleName="OST Tabelle">
    <a:wholeTbl>
      <a:tcTxStyle>
        <a:fontRef idx="minor">
          <a:prstClr val="black"/>
        </a:fontRef>
        <a:schemeClr val="dk1"/>
      </a:tcTxStyle>
      <a:tcStyle>
        <a:tcBdr>
          <a:left>
            <a:ln w="28575" cmpd="sng">
              <a:solidFill>
                <a:srgbClr val="56276D"/>
              </a:solidFill>
            </a:ln>
          </a:left>
          <a:right>
            <a:ln w="28575" cmpd="sng">
              <a:solidFill>
                <a:srgbClr val="56276D"/>
              </a:solidFill>
            </a:ln>
          </a:right>
          <a:top>
            <a:ln w="28575" cmpd="sng">
              <a:solidFill>
                <a:srgbClr val="56276D"/>
              </a:solidFill>
            </a:ln>
          </a:top>
          <a:bottom>
            <a:ln w="28575" cmpd="sng">
              <a:solidFill>
                <a:srgbClr val="56276D"/>
              </a:solidFill>
            </a:ln>
          </a:bottom>
          <a:insideH>
            <a:ln w="28575" cmpd="sng">
              <a:solidFill>
                <a:srgbClr val="56276D"/>
              </a:solidFill>
            </a:ln>
          </a:insideH>
          <a:insideV>
            <a:ln w="28575" cmpd="sng">
              <a:solidFill>
                <a:srgbClr val="56276D"/>
              </a:solidFill>
            </a:ln>
          </a:insideV>
        </a:tcBdr>
        <a:fill>
          <a:noFill/>
        </a:fill>
      </a:tcStyle>
    </a:wholeTbl>
    <a:firstCol>
      <a:tcTxStyle b="on">
        <a:fontRef idx="minor"/>
        <a:srgbClr val="000000"/>
      </a:tcTxStyle>
      <a:tcStyle>
        <a:tcBdr/>
        <a:fill>
          <a:noFill/>
        </a:fill>
      </a:tcStyle>
    </a:firstCol>
    <a:firstRow>
      <a:tcTxStyle b="on">
        <a:fontRef idx="minor"/>
        <a:srgbClr val="000000"/>
      </a:tcTxStyle>
      <a:tcStyle>
        <a:tcBdr/>
        <a:fill>
          <a:noFill/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63" autoAdjust="0"/>
    <p:restoredTop sz="97459" autoAdjust="0"/>
  </p:normalViewPr>
  <p:slideViewPr>
    <p:cSldViewPr snapToGrid="0" snapToObjects="1">
      <p:cViewPr varScale="1">
        <p:scale>
          <a:sx n="114" d="100"/>
          <a:sy n="114" d="100"/>
        </p:scale>
        <p:origin x="180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01" d="100"/>
          <a:sy n="101" d="100"/>
        </p:scale>
        <p:origin x="3533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gs" Target="tags/tag1.xml"/><Relationship Id="rId58" Type="http://schemas.microsoft.com/office/2016/11/relationships/changesInfo" Target="changesInfos/changesInfo1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häus Alberding" userId="89cdd4c9-d044-4ab4-9e6f-8f065e0119c4" providerId="ADAL" clId="{48034BE9-08BD-4FAC-BA2F-5663A1CD9711}"/>
    <pc:docChg chg="undo custSel modSld sldOrd">
      <pc:chgData name="Matthäus Alberding" userId="89cdd4c9-d044-4ab4-9e6f-8f065e0119c4" providerId="ADAL" clId="{48034BE9-08BD-4FAC-BA2F-5663A1CD9711}" dt="2022-07-30T08:21:25.397" v="2187" actId="6549"/>
      <pc:docMkLst>
        <pc:docMk/>
      </pc:docMkLst>
      <pc:sldChg chg="modSp mod">
        <pc:chgData name="Matthäus Alberding" userId="89cdd4c9-d044-4ab4-9e6f-8f065e0119c4" providerId="ADAL" clId="{48034BE9-08BD-4FAC-BA2F-5663A1CD9711}" dt="2022-07-29T13:38:00.929" v="1823" actId="21"/>
        <pc:sldMkLst>
          <pc:docMk/>
          <pc:sldMk cId="4044059231" sldId="558"/>
        </pc:sldMkLst>
        <pc:spChg chg="mod">
          <ac:chgData name="Matthäus Alberding" userId="89cdd4c9-d044-4ab4-9e6f-8f065e0119c4" providerId="ADAL" clId="{48034BE9-08BD-4FAC-BA2F-5663A1CD9711}" dt="2022-07-29T13:38:00.929" v="1823" actId="21"/>
          <ac:spMkLst>
            <pc:docMk/>
            <pc:sldMk cId="4044059231" sldId="558"/>
            <ac:spMk id="15" creationId="{76BC58B4-8296-4FBF-85D7-E0956C2A24C5}"/>
          </ac:spMkLst>
        </pc:spChg>
      </pc:sldChg>
      <pc:sldChg chg="addSp delSp modSp mod">
        <pc:chgData name="Matthäus Alberding" userId="89cdd4c9-d044-4ab4-9e6f-8f065e0119c4" providerId="ADAL" clId="{48034BE9-08BD-4FAC-BA2F-5663A1CD9711}" dt="2022-07-30T08:21:25.397" v="2187" actId="6549"/>
        <pc:sldMkLst>
          <pc:docMk/>
          <pc:sldMk cId="4008774106" sldId="566"/>
        </pc:sldMkLst>
        <pc:spChg chg="add del mod">
          <ac:chgData name="Matthäus Alberding" userId="89cdd4c9-d044-4ab4-9e6f-8f065e0119c4" providerId="ADAL" clId="{48034BE9-08BD-4FAC-BA2F-5663A1CD9711}" dt="2022-07-30T08:18:02.711" v="2180" actId="478"/>
          <ac:spMkLst>
            <pc:docMk/>
            <pc:sldMk cId="4008774106" sldId="566"/>
            <ac:spMk id="14" creationId="{86462C8A-0F22-4FAB-9918-21DD653CD872}"/>
          </ac:spMkLst>
        </pc:spChg>
        <pc:spChg chg="add mod">
          <ac:chgData name="Matthäus Alberding" userId="89cdd4c9-d044-4ab4-9e6f-8f065e0119c4" providerId="ADAL" clId="{48034BE9-08BD-4FAC-BA2F-5663A1CD9711}" dt="2022-07-30T08:21:25.397" v="2187" actId="6549"/>
          <ac:spMkLst>
            <pc:docMk/>
            <pc:sldMk cId="4008774106" sldId="566"/>
            <ac:spMk id="14" creationId="{CA2E69C2-EBE4-4CA7-8CBD-4844EB519E49}"/>
          </ac:spMkLst>
        </pc:spChg>
      </pc:sldChg>
      <pc:sldChg chg="ord">
        <pc:chgData name="Matthäus Alberding" userId="89cdd4c9-d044-4ab4-9e6f-8f065e0119c4" providerId="ADAL" clId="{48034BE9-08BD-4FAC-BA2F-5663A1CD9711}" dt="2022-07-29T10:13:33.047" v="48"/>
        <pc:sldMkLst>
          <pc:docMk/>
          <pc:sldMk cId="3558978474" sldId="668"/>
        </pc:sldMkLst>
      </pc:sldChg>
      <pc:sldChg chg="addSp delSp modSp mod">
        <pc:chgData name="Matthäus Alberding" userId="89cdd4c9-d044-4ab4-9e6f-8f065e0119c4" providerId="ADAL" clId="{48034BE9-08BD-4FAC-BA2F-5663A1CD9711}" dt="2022-07-30T08:14:33.647" v="2150"/>
        <pc:sldMkLst>
          <pc:docMk/>
          <pc:sldMk cId="104396248" sldId="685"/>
        </pc:sldMkLst>
        <pc:spChg chg="add del mod modVis">
          <ac:chgData name="Matthäus Alberding" userId="89cdd4c9-d044-4ab4-9e6f-8f065e0119c4" providerId="ADAL" clId="{48034BE9-08BD-4FAC-BA2F-5663A1CD9711}" dt="2022-07-30T08:14:32.954" v="2105"/>
          <ac:spMkLst>
            <pc:docMk/>
            <pc:sldMk cId="104396248" sldId="685"/>
            <ac:spMk id="4" creationId="{3C2B79DF-1634-42E5-A780-DE5B4F584754}"/>
          </ac:spMkLst>
        </pc:spChg>
        <pc:spChg chg="add del mod modVis">
          <ac:chgData name="Matthäus Alberding" userId="89cdd4c9-d044-4ab4-9e6f-8f065e0119c4" providerId="ADAL" clId="{48034BE9-08BD-4FAC-BA2F-5663A1CD9711}" dt="2022-07-30T08:01:42.739" v="2046"/>
          <ac:spMkLst>
            <pc:docMk/>
            <pc:sldMk cId="104396248" sldId="685"/>
            <ac:spMk id="4" creationId="{D3B0598E-6C0E-433E-B624-55C6CD1C9F90}"/>
          </ac:spMkLst>
        </pc:spChg>
        <pc:spChg chg="add del mod modVis">
          <ac:chgData name="Matthäus Alberding" userId="89cdd4c9-d044-4ab4-9e6f-8f065e0119c4" providerId="ADAL" clId="{48034BE9-08BD-4FAC-BA2F-5663A1CD9711}" dt="2022-07-30T08:14:33.646" v="2148"/>
          <ac:spMkLst>
            <pc:docMk/>
            <pc:sldMk cId="104396248" sldId="685"/>
            <ac:spMk id="7" creationId="{60760A44-F16D-4EA2-B278-D108CD15D840}"/>
          </ac:spMkLst>
        </pc:spChg>
        <pc:spChg chg="mod">
          <ac:chgData name="Matthäus Alberding" userId="89cdd4c9-d044-4ab4-9e6f-8f065e0119c4" providerId="ADAL" clId="{48034BE9-08BD-4FAC-BA2F-5663A1CD9711}" dt="2022-07-30T08:14:33.623" v="2109" actId="948"/>
          <ac:spMkLst>
            <pc:docMk/>
            <pc:sldMk cId="104396248" sldId="685"/>
            <ac:spMk id="8" creationId="{E636D16C-7382-4A28-BE63-5DBBEE2B7662}"/>
          </ac:spMkLst>
        </pc:spChg>
        <pc:spChg chg="mod">
          <ac:chgData name="Matthäus Alberding" userId="89cdd4c9-d044-4ab4-9e6f-8f065e0119c4" providerId="ADAL" clId="{48034BE9-08BD-4FAC-BA2F-5663A1CD9711}" dt="2022-07-30T08:13:13.202" v="2055" actId="6549"/>
          <ac:spMkLst>
            <pc:docMk/>
            <pc:sldMk cId="104396248" sldId="685"/>
            <ac:spMk id="10" creationId="{BD4114A6-A0C2-42D5-AD33-5BE300994FCB}"/>
          </ac:spMkLst>
        </pc:spChg>
        <pc:spChg chg="mod">
          <ac:chgData name="Matthäus Alberding" userId="89cdd4c9-d044-4ab4-9e6f-8f065e0119c4" providerId="ADAL" clId="{48034BE9-08BD-4FAC-BA2F-5663A1CD9711}" dt="2022-07-30T08:14:30.274" v="2064" actId="6549"/>
          <ac:spMkLst>
            <pc:docMk/>
            <pc:sldMk cId="104396248" sldId="685"/>
            <ac:spMk id="18" creationId="{F43C0135-2F4E-4F93-BC7C-6A06E4E231A4}"/>
          </ac:spMkLst>
        </pc:spChg>
        <pc:spChg chg="mod">
          <ac:chgData name="Matthäus Alberding" userId="89cdd4c9-d044-4ab4-9e6f-8f065e0119c4" providerId="ADAL" clId="{48034BE9-08BD-4FAC-BA2F-5663A1CD9711}" dt="2022-07-30T08:14:27.707" v="2063" actId="20577"/>
          <ac:spMkLst>
            <pc:docMk/>
            <pc:sldMk cId="104396248" sldId="685"/>
            <ac:spMk id="66" creationId="{2348DD6D-E1B5-4D72-A0B0-977CEF44381D}"/>
          </ac:spMkLst>
        </pc:spChg>
        <pc:graphicFrameChg chg="mod">
          <ac:chgData name="Matthäus Alberding" userId="89cdd4c9-d044-4ab4-9e6f-8f065e0119c4" providerId="ADAL" clId="{48034BE9-08BD-4FAC-BA2F-5663A1CD9711}" dt="2022-07-30T08:14:33.647" v="2150"/>
          <ac:graphicFrameMkLst>
            <pc:docMk/>
            <pc:sldMk cId="104396248" sldId="685"/>
            <ac:graphicFrameMk id="6" creationId="{17619F4C-4BEA-471F-B7B0-623407C2C224}"/>
          </ac:graphicFrameMkLst>
        </pc:graphicFrameChg>
      </pc:sldChg>
      <pc:sldChg chg="modSp mod">
        <pc:chgData name="Matthäus Alberding" userId="89cdd4c9-d044-4ab4-9e6f-8f065e0119c4" providerId="ADAL" clId="{48034BE9-08BD-4FAC-BA2F-5663A1CD9711}" dt="2022-07-29T13:39:14.151" v="1898" actId="5793"/>
        <pc:sldMkLst>
          <pc:docMk/>
          <pc:sldMk cId="3287109482" sldId="695"/>
        </pc:sldMkLst>
        <pc:spChg chg="mod">
          <ac:chgData name="Matthäus Alberding" userId="89cdd4c9-d044-4ab4-9e6f-8f065e0119c4" providerId="ADAL" clId="{48034BE9-08BD-4FAC-BA2F-5663A1CD9711}" dt="2022-07-29T13:39:14.151" v="1898" actId="5793"/>
          <ac:spMkLst>
            <pc:docMk/>
            <pc:sldMk cId="3287109482" sldId="695"/>
            <ac:spMk id="31" creationId="{251EEE42-CD65-4E0A-9C20-106A9DF1EEF4}"/>
          </ac:spMkLst>
        </pc:spChg>
      </pc:sldChg>
      <pc:sldChg chg="modSp mod">
        <pc:chgData name="Matthäus Alberding" userId="89cdd4c9-d044-4ab4-9e6f-8f065e0119c4" providerId="ADAL" clId="{48034BE9-08BD-4FAC-BA2F-5663A1CD9711}" dt="2022-07-29T13:38:53.724" v="1863" actId="5793"/>
        <pc:sldMkLst>
          <pc:docMk/>
          <pc:sldMk cId="264909340" sldId="696"/>
        </pc:sldMkLst>
        <pc:spChg chg="mod">
          <ac:chgData name="Matthäus Alberding" userId="89cdd4c9-d044-4ab4-9e6f-8f065e0119c4" providerId="ADAL" clId="{48034BE9-08BD-4FAC-BA2F-5663A1CD9711}" dt="2022-07-29T13:38:46.971" v="1856" actId="5793"/>
          <ac:spMkLst>
            <pc:docMk/>
            <pc:sldMk cId="264909340" sldId="696"/>
            <ac:spMk id="16" creationId="{539618EE-8029-4431-B3B0-DEF304AE85F9}"/>
          </ac:spMkLst>
        </pc:spChg>
        <pc:spChg chg="mod">
          <ac:chgData name="Matthäus Alberding" userId="89cdd4c9-d044-4ab4-9e6f-8f065e0119c4" providerId="ADAL" clId="{48034BE9-08BD-4FAC-BA2F-5663A1CD9711}" dt="2022-07-29T13:38:53.724" v="1863" actId="5793"/>
          <ac:spMkLst>
            <pc:docMk/>
            <pc:sldMk cId="264909340" sldId="696"/>
            <ac:spMk id="30" creationId="{C870E03D-E377-48DC-A97F-3F30596E18C1}"/>
          </ac:spMkLst>
        </pc:spChg>
      </pc:sldChg>
      <pc:sldChg chg="addSp delSp modSp mod">
        <pc:chgData name="Matthäus Alberding" userId="89cdd4c9-d044-4ab4-9e6f-8f065e0119c4" providerId="ADAL" clId="{48034BE9-08BD-4FAC-BA2F-5663A1CD9711}" dt="2022-07-29T13:38:29.480" v="1845" actId="20577"/>
        <pc:sldMkLst>
          <pc:docMk/>
          <pc:sldMk cId="559661999" sldId="698"/>
        </pc:sldMkLst>
        <pc:spChg chg="add del mod modVis">
          <ac:chgData name="Matthäus Alberding" userId="89cdd4c9-d044-4ab4-9e6f-8f065e0119c4" providerId="ADAL" clId="{48034BE9-08BD-4FAC-BA2F-5663A1CD9711}" dt="2022-07-29T13:26:25.868" v="1705"/>
          <ac:spMkLst>
            <pc:docMk/>
            <pc:sldMk cId="559661999" sldId="698"/>
            <ac:spMk id="4" creationId="{56BEC8F8-9A5B-4073-A238-7B77D877A777}"/>
          </ac:spMkLst>
        </pc:spChg>
        <pc:spChg chg="add del mod modVis">
          <ac:chgData name="Matthäus Alberding" userId="89cdd4c9-d044-4ab4-9e6f-8f065e0119c4" providerId="ADAL" clId="{48034BE9-08BD-4FAC-BA2F-5663A1CD9711}" dt="2022-07-29T13:26:28.936" v="1767"/>
          <ac:spMkLst>
            <pc:docMk/>
            <pc:sldMk cId="559661999" sldId="698"/>
            <ac:spMk id="5" creationId="{7F8BB6B3-4349-4568-86C5-DD5A42B57017}"/>
          </ac:spMkLst>
        </pc:spChg>
        <pc:spChg chg="add del mod modVis">
          <ac:chgData name="Matthäus Alberding" userId="89cdd4c9-d044-4ab4-9e6f-8f065e0119c4" providerId="ADAL" clId="{48034BE9-08BD-4FAC-BA2F-5663A1CD9711}" dt="2022-07-29T13:26:30.017" v="1810"/>
          <ac:spMkLst>
            <pc:docMk/>
            <pc:sldMk cId="559661999" sldId="698"/>
            <ac:spMk id="6" creationId="{65B09100-7673-4D62-BB7F-5EE6D2D33BE5}"/>
          </ac:spMkLst>
        </pc:spChg>
        <pc:spChg chg="mod">
          <ac:chgData name="Matthäus Alberding" userId="89cdd4c9-d044-4ab4-9e6f-8f065e0119c4" providerId="ADAL" clId="{48034BE9-08BD-4FAC-BA2F-5663A1CD9711}" dt="2022-07-29T13:26:29.995" v="1771" actId="948"/>
          <ac:spMkLst>
            <pc:docMk/>
            <pc:sldMk cId="559661999" sldId="698"/>
            <ac:spMk id="12" creationId="{F33540AA-1669-46A0-8CA0-78D05D9A17EB}"/>
          </ac:spMkLst>
        </pc:spChg>
        <pc:spChg chg="mod">
          <ac:chgData name="Matthäus Alberding" userId="89cdd4c9-d044-4ab4-9e6f-8f065e0119c4" providerId="ADAL" clId="{48034BE9-08BD-4FAC-BA2F-5663A1CD9711}" dt="2022-07-29T13:38:29.480" v="1845" actId="20577"/>
          <ac:spMkLst>
            <pc:docMk/>
            <pc:sldMk cId="559661999" sldId="698"/>
            <ac:spMk id="16" creationId="{539618EE-8029-4431-B3B0-DEF304AE85F9}"/>
          </ac:spMkLst>
        </pc:spChg>
        <pc:graphicFrameChg chg="mod">
          <ac:chgData name="Matthäus Alberding" userId="89cdd4c9-d044-4ab4-9e6f-8f065e0119c4" providerId="ADAL" clId="{48034BE9-08BD-4FAC-BA2F-5663A1CD9711}" dt="2022-07-29T13:26:30.018" v="1812"/>
          <ac:graphicFrameMkLst>
            <pc:docMk/>
            <pc:sldMk cId="559661999" sldId="698"/>
            <ac:graphicFrameMk id="11" creationId="{4F7BD645-EBEF-434C-A149-D9384CBB46AE}"/>
          </ac:graphicFrameMkLst>
        </pc:graphicFrameChg>
      </pc:sldChg>
      <pc:sldChg chg="modSp mod">
        <pc:chgData name="Matthäus Alberding" userId="89cdd4c9-d044-4ab4-9e6f-8f065e0119c4" providerId="ADAL" clId="{48034BE9-08BD-4FAC-BA2F-5663A1CD9711}" dt="2022-07-29T13:38:59.420" v="1870" actId="5793"/>
        <pc:sldMkLst>
          <pc:docMk/>
          <pc:sldMk cId="676797854" sldId="700"/>
        </pc:sldMkLst>
        <pc:spChg chg="mod">
          <ac:chgData name="Matthäus Alberding" userId="89cdd4c9-d044-4ab4-9e6f-8f065e0119c4" providerId="ADAL" clId="{48034BE9-08BD-4FAC-BA2F-5663A1CD9711}" dt="2022-07-29T13:38:59.420" v="1870" actId="5793"/>
          <ac:spMkLst>
            <pc:docMk/>
            <pc:sldMk cId="676797854" sldId="700"/>
            <ac:spMk id="16" creationId="{539618EE-8029-4431-B3B0-DEF304AE85F9}"/>
          </ac:spMkLst>
        </pc:spChg>
      </pc:sldChg>
      <pc:sldChg chg="modSp mod ord">
        <pc:chgData name="Matthäus Alberding" userId="89cdd4c9-d044-4ab4-9e6f-8f065e0119c4" providerId="ADAL" clId="{48034BE9-08BD-4FAC-BA2F-5663A1CD9711}" dt="2022-07-29T13:24:11.245" v="1586"/>
        <pc:sldMkLst>
          <pc:docMk/>
          <pc:sldMk cId="1457808371" sldId="702"/>
        </pc:sldMkLst>
        <pc:spChg chg="mod">
          <ac:chgData name="Matthäus Alberding" userId="89cdd4c9-d044-4ab4-9e6f-8f065e0119c4" providerId="ADAL" clId="{48034BE9-08BD-4FAC-BA2F-5663A1CD9711}" dt="2022-07-29T13:24:11.245" v="1586"/>
          <ac:spMkLst>
            <pc:docMk/>
            <pc:sldMk cId="1457808371" sldId="702"/>
            <ac:spMk id="6" creationId="{F935A757-11B3-421D-BE7C-4D440DEBC267}"/>
          </ac:spMkLst>
        </pc:spChg>
      </pc:sldChg>
      <pc:sldChg chg="modSp mod">
        <pc:chgData name="Matthäus Alberding" userId="89cdd4c9-d044-4ab4-9e6f-8f065e0119c4" providerId="ADAL" clId="{48034BE9-08BD-4FAC-BA2F-5663A1CD9711}" dt="2022-07-29T13:38:36.143" v="1849" actId="5793"/>
        <pc:sldMkLst>
          <pc:docMk/>
          <pc:sldMk cId="207800656" sldId="703"/>
        </pc:sldMkLst>
        <pc:spChg chg="mod">
          <ac:chgData name="Matthäus Alberding" userId="89cdd4c9-d044-4ab4-9e6f-8f065e0119c4" providerId="ADAL" clId="{48034BE9-08BD-4FAC-BA2F-5663A1CD9711}" dt="2022-07-29T13:38:36.143" v="1849" actId="5793"/>
          <ac:spMkLst>
            <pc:docMk/>
            <pc:sldMk cId="207800656" sldId="703"/>
            <ac:spMk id="31" creationId="{1F5833A7-7460-4F87-8295-CD81701A09BC}"/>
          </ac:spMkLst>
        </pc:spChg>
      </pc:sldChg>
      <pc:sldChg chg="addSp delSp modSp mod">
        <pc:chgData name="Matthäus Alberding" userId="89cdd4c9-d044-4ab4-9e6f-8f065e0119c4" providerId="ADAL" clId="{48034BE9-08BD-4FAC-BA2F-5663A1CD9711}" dt="2022-07-29T10:17:13.538" v="1490"/>
        <pc:sldMkLst>
          <pc:docMk/>
          <pc:sldMk cId="2783016307" sldId="707"/>
        </pc:sldMkLst>
        <pc:spChg chg="mod">
          <ac:chgData name="Matthäus Alberding" userId="89cdd4c9-d044-4ab4-9e6f-8f065e0119c4" providerId="ADAL" clId="{48034BE9-08BD-4FAC-BA2F-5663A1CD9711}" dt="2022-07-29T10:17:13.515" v="1449" actId="948"/>
          <ac:spMkLst>
            <pc:docMk/>
            <pc:sldMk cId="2783016307" sldId="707"/>
            <ac:spMk id="4" creationId="{481E06D8-9634-4E4C-9E4D-1DD2B30D6663}"/>
          </ac:spMkLst>
        </pc:spChg>
        <pc:spChg chg="add del mod modVis">
          <ac:chgData name="Matthäus Alberding" userId="89cdd4c9-d044-4ab4-9e6f-8f065e0119c4" providerId="ADAL" clId="{48034BE9-08BD-4FAC-BA2F-5663A1CD9711}" dt="2022-07-29T10:11:11.642" v="44"/>
          <ac:spMkLst>
            <pc:docMk/>
            <pc:sldMk cId="2783016307" sldId="707"/>
            <ac:spMk id="6" creationId="{A4A99ECB-CEA3-4178-9AF8-7476F7ADFB98}"/>
          </ac:spMkLst>
        </pc:spChg>
        <pc:spChg chg="add del mod modVis">
          <ac:chgData name="Matthäus Alberding" userId="89cdd4c9-d044-4ab4-9e6f-8f065e0119c4" providerId="ADAL" clId="{48034BE9-08BD-4FAC-BA2F-5663A1CD9711}" dt="2022-07-29T10:13:54.069" v="90"/>
          <ac:spMkLst>
            <pc:docMk/>
            <pc:sldMk cId="2783016307" sldId="707"/>
            <ac:spMk id="8" creationId="{8BE11F71-5161-4F1A-87AC-E92886135957}"/>
          </ac:spMkLst>
        </pc:spChg>
        <pc:spChg chg="add del mod modVis">
          <ac:chgData name="Matthäus Alberding" userId="89cdd4c9-d044-4ab4-9e6f-8f065e0119c4" providerId="ADAL" clId="{48034BE9-08BD-4FAC-BA2F-5663A1CD9711}" dt="2022-07-29T10:13:54.615" v="133"/>
          <ac:spMkLst>
            <pc:docMk/>
            <pc:sldMk cId="2783016307" sldId="707"/>
            <ac:spMk id="9" creationId="{0783551C-B357-4EA6-8ECC-A5A16589B2F8}"/>
          </ac:spMkLst>
        </pc:spChg>
        <pc:spChg chg="add mod">
          <ac:chgData name="Matthäus Alberding" userId="89cdd4c9-d044-4ab4-9e6f-8f065e0119c4" providerId="ADAL" clId="{48034BE9-08BD-4FAC-BA2F-5663A1CD9711}" dt="2022-07-29T10:10:58.681" v="3"/>
          <ac:spMkLst>
            <pc:docMk/>
            <pc:sldMk cId="2783016307" sldId="707"/>
            <ac:spMk id="12" creationId="{97B367F3-416F-4880-BF47-6D1CBC2B95FE}"/>
          </ac:spMkLst>
        </pc:spChg>
        <pc:spChg chg="add mod">
          <ac:chgData name="Matthäus Alberding" userId="89cdd4c9-d044-4ab4-9e6f-8f065e0119c4" providerId="ADAL" clId="{48034BE9-08BD-4FAC-BA2F-5663A1CD9711}" dt="2022-07-29T10:10:58.681" v="3"/>
          <ac:spMkLst>
            <pc:docMk/>
            <pc:sldMk cId="2783016307" sldId="707"/>
            <ac:spMk id="14" creationId="{DB32FC6A-CFF0-40ED-952A-02478FD2B7EF}"/>
          </ac:spMkLst>
        </pc:spChg>
        <pc:spChg chg="add mod">
          <ac:chgData name="Matthäus Alberding" userId="89cdd4c9-d044-4ab4-9e6f-8f065e0119c4" providerId="ADAL" clId="{48034BE9-08BD-4FAC-BA2F-5663A1CD9711}" dt="2022-07-29T10:10:58.681" v="3"/>
          <ac:spMkLst>
            <pc:docMk/>
            <pc:sldMk cId="2783016307" sldId="707"/>
            <ac:spMk id="15" creationId="{F60789A2-1869-4F0B-AE57-F93B4DB76237}"/>
          </ac:spMkLst>
        </pc:spChg>
        <pc:spChg chg="add mod">
          <ac:chgData name="Matthäus Alberding" userId="89cdd4c9-d044-4ab4-9e6f-8f065e0119c4" providerId="ADAL" clId="{48034BE9-08BD-4FAC-BA2F-5663A1CD9711}" dt="2022-07-29T10:10:58.681" v="3"/>
          <ac:spMkLst>
            <pc:docMk/>
            <pc:sldMk cId="2783016307" sldId="707"/>
            <ac:spMk id="17" creationId="{F18AD3B4-82CE-49BC-A103-2FE5C97C5FA3}"/>
          </ac:spMkLst>
        </pc:spChg>
        <pc:spChg chg="del">
          <ac:chgData name="Matthäus Alberding" userId="89cdd4c9-d044-4ab4-9e6f-8f065e0119c4" providerId="ADAL" clId="{48034BE9-08BD-4FAC-BA2F-5663A1CD9711}" dt="2022-07-29T10:10:58.571" v="2" actId="478"/>
          <ac:spMkLst>
            <pc:docMk/>
            <pc:sldMk cId="2783016307" sldId="707"/>
            <ac:spMk id="19" creationId="{7F4ACF08-7637-42B6-A707-CCEB00CA725B}"/>
          </ac:spMkLst>
        </pc:spChg>
        <pc:spChg chg="add del mod modVis">
          <ac:chgData name="Matthäus Alberding" userId="89cdd4c9-d044-4ab4-9e6f-8f065e0119c4" providerId="ADAL" clId="{48034BE9-08BD-4FAC-BA2F-5663A1CD9711}" dt="2022-07-29T10:16:11.932" v="176"/>
          <ac:spMkLst>
            <pc:docMk/>
            <pc:sldMk cId="2783016307" sldId="707"/>
            <ac:spMk id="20" creationId="{B46FA9BC-EBB8-4AA4-B8CC-71BD4BD44380}"/>
          </ac:spMkLst>
        </pc:spChg>
        <pc:spChg chg="add del mod modVis">
          <ac:chgData name="Matthäus Alberding" userId="89cdd4c9-d044-4ab4-9e6f-8f065e0119c4" providerId="ADAL" clId="{48034BE9-08BD-4FAC-BA2F-5663A1CD9711}" dt="2022-07-29T10:16:13.610" v="227"/>
          <ac:spMkLst>
            <pc:docMk/>
            <pc:sldMk cId="2783016307" sldId="707"/>
            <ac:spMk id="21" creationId="{392B126D-03BB-4E66-B6D0-3266ACE88F6C}"/>
          </ac:spMkLst>
        </pc:spChg>
        <pc:spChg chg="add del mod modVis">
          <ac:chgData name="Matthäus Alberding" userId="89cdd4c9-d044-4ab4-9e6f-8f065e0119c4" providerId="ADAL" clId="{48034BE9-08BD-4FAC-BA2F-5663A1CD9711}" dt="2022-07-29T10:16:16.378" v="270"/>
          <ac:spMkLst>
            <pc:docMk/>
            <pc:sldMk cId="2783016307" sldId="707"/>
            <ac:spMk id="22" creationId="{22EC4C39-D0A6-4A3F-A527-6A350A8C98B2}"/>
          </ac:spMkLst>
        </pc:spChg>
        <pc:spChg chg="add del mod modVis">
          <ac:chgData name="Matthäus Alberding" userId="89cdd4c9-d044-4ab4-9e6f-8f065e0119c4" providerId="ADAL" clId="{48034BE9-08BD-4FAC-BA2F-5663A1CD9711}" dt="2022-07-29T10:16:19.371" v="319"/>
          <ac:spMkLst>
            <pc:docMk/>
            <pc:sldMk cId="2783016307" sldId="707"/>
            <ac:spMk id="23" creationId="{C1FA2DA0-4C58-4716-A377-61DF1987C2FB}"/>
          </ac:spMkLst>
        </pc:spChg>
        <pc:spChg chg="add del mod modVis">
          <ac:chgData name="Matthäus Alberding" userId="89cdd4c9-d044-4ab4-9e6f-8f065e0119c4" providerId="ADAL" clId="{48034BE9-08BD-4FAC-BA2F-5663A1CD9711}" dt="2022-07-29T10:16:20.488" v="363"/>
          <ac:spMkLst>
            <pc:docMk/>
            <pc:sldMk cId="2783016307" sldId="707"/>
            <ac:spMk id="24" creationId="{5C01A403-719E-43C0-913E-67D69AF9DD89}"/>
          </ac:spMkLst>
        </pc:spChg>
        <pc:spChg chg="add del mod modVis">
          <ac:chgData name="Matthäus Alberding" userId="89cdd4c9-d044-4ab4-9e6f-8f065e0119c4" providerId="ADAL" clId="{48034BE9-08BD-4FAC-BA2F-5663A1CD9711}" dt="2022-07-29T10:16:21.972" v="409"/>
          <ac:spMkLst>
            <pc:docMk/>
            <pc:sldMk cId="2783016307" sldId="707"/>
            <ac:spMk id="25" creationId="{75E3E63F-A3CE-4BB0-AB02-2FDFAFB0BC86}"/>
          </ac:spMkLst>
        </pc:spChg>
        <pc:spChg chg="add del mod modVis">
          <ac:chgData name="Matthäus Alberding" userId="89cdd4c9-d044-4ab4-9e6f-8f065e0119c4" providerId="ADAL" clId="{48034BE9-08BD-4FAC-BA2F-5663A1CD9711}" dt="2022-07-29T10:16:30.134" v="508"/>
          <ac:spMkLst>
            <pc:docMk/>
            <pc:sldMk cId="2783016307" sldId="707"/>
            <ac:spMk id="26" creationId="{430FFA39-EE27-46D6-B158-DF87266E720F}"/>
          </ac:spMkLst>
        </pc:spChg>
        <pc:spChg chg="add del mod modVis">
          <ac:chgData name="Matthäus Alberding" userId="89cdd4c9-d044-4ab4-9e6f-8f065e0119c4" providerId="ADAL" clId="{48034BE9-08BD-4FAC-BA2F-5663A1CD9711}" dt="2022-07-29T10:16:31.376" v="558"/>
          <ac:spMkLst>
            <pc:docMk/>
            <pc:sldMk cId="2783016307" sldId="707"/>
            <ac:spMk id="27" creationId="{5A101155-F755-43A1-BA22-B64FD9831A8B}"/>
          </ac:spMkLst>
        </pc:spChg>
        <pc:spChg chg="add del mod modVis">
          <ac:chgData name="Matthäus Alberding" userId="89cdd4c9-d044-4ab4-9e6f-8f065e0119c4" providerId="ADAL" clId="{48034BE9-08BD-4FAC-BA2F-5663A1CD9711}" dt="2022-07-29T10:16:34.474" v="606"/>
          <ac:spMkLst>
            <pc:docMk/>
            <pc:sldMk cId="2783016307" sldId="707"/>
            <ac:spMk id="28" creationId="{B344D6FC-A6E4-479E-B36D-1F5514012903}"/>
          </ac:spMkLst>
        </pc:spChg>
        <pc:spChg chg="add del mod modVis">
          <ac:chgData name="Matthäus Alberding" userId="89cdd4c9-d044-4ab4-9e6f-8f065e0119c4" providerId="ADAL" clId="{48034BE9-08BD-4FAC-BA2F-5663A1CD9711}" dt="2022-07-29T10:16:35.041" v="649"/>
          <ac:spMkLst>
            <pc:docMk/>
            <pc:sldMk cId="2783016307" sldId="707"/>
            <ac:spMk id="29" creationId="{E9799DF5-81FF-4F03-B490-08C99F8DC807}"/>
          </ac:spMkLst>
        </pc:spChg>
        <pc:spChg chg="add del mod modVis">
          <ac:chgData name="Matthäus Alberding" userId="89cdd4c9-d044-4ab4-9e6f-8f065e0119c4" providerId="ADAL" clId="{48034BE9-08BD-4FAC-BA2F-5663A1CD9711}" dt="2022-07-29T10:16:35.699" v="692"/>
          <ac:spMkLst>
            <pc:docMk/>
            <pc:sldMk cId="2783016307" sldId="707"/>
            <ac:spMk id="30" creationId="{8D453008-0728-4AB7-B1AC-AF8DFBFE3674}"/>
          </ac:spMkLst>
        </pc:spChg>
        <pc:spChg chg="add del mod modVis">
          <ac:chgData name="Matthäus Alberding" userId="89cdd4c9-d044-4ab4-9e6f-8f065e0119c4" providerId="ADAL" clId="{48034BE9-08BD-4FAC-BA2F-5663A1CD9711}" dt="2022-07-29T10:16:37.672" v="742"/>
          <ac:spMkLst>
            <pc:docMk/>
            <pc:sldMk cId="2783016307" sldId="707"/>
            <ac:spMk id="31" creationId="{8F64B2E0-2F65-4EB7-A433-B772DA802909}"/>
          </ac:spMkLst>
        </pc:spChg>
        <pc:spChg chg="add del mod modVis">
          <ac:chgData name="Matthäus Alberding" userId="89cdd4c9-d044-4ab4-9e6f-8f065e0119c4" providerId="ADAL" clId="{48034BE9-08BD-4FAC-BA2F-5663A1CD9711}" dt="2022-07-29T10:16:39.458" v="785"/>
          <ac:spMkLst>
            <pc:docMk/>
            <pc:sldMk cId="2783016307" sldId="707"/>
            <ac:spMk id="32" creationId="{3DD76E5A-EFA0-4596-8F36-25DD71A0DA54}"/>
          </ac:spMkLst>
        </pc:spChg>
        <pc:spChg chg="add del mod modVis">
          <ac:chgData name="Matthäus Alberding" userId="89cdd4c9-d044-4ab4-9e6f-8f065e0119c4" providerId="ADAL" clId="{48034BE9-08BD-4FAC-BA2F-5663A1CD9711}" dt="2022-07-29T10:16:49.523" v="1316" actId="962"/>
          <ac:spMkLst>
            <pc:docMk/>
            <pc:sldMk cId="2783016307" sldId="707"/>
            <ac:spMk id="33" creationId="{FFD29122-92C9-4069-9288-4E7A00E8C1B1}"/>
          </ac:spMkLst>
        </pc:spChg>
        <pc:spChg chg="add del mod modVis">
          <ac:chgData name="Matthäus Alberding" userId="89cdd4c9-d044-4ab4-9e6f-8f065e0119c4" providerId="ADAL" clId="{48034BE9-08BD-4FAC-BA2F-5663A1CD9711}" dt="2022-07-29T10:16:49.072" v="1274" actId="962"/>
          <ac:spMkLst>
            <pc:docMk/>
            <pc:sldMk cId="2783016307" sldId="707"/>
            <ac:spMk id="34" creationId="{47CDB338-79C6-4F4D-A09D-7BA33DFDB54C}"/>
          </ac:spMkLst>
        </pc:spChg>
        <pc:spChg chg="add del mod modVis">
          <ac:chgData name="Matthäus Alberding" userId="89cdd4c9-d044-4ab4-9e6f-8f065e0119c4" providerId="ADAL" clId="{48034BE9-08BD-4FAC-BA2F-5663A1CD9711}" dt="2022-07-29T10:16:48.761" v="1232" actId="962"/>
          <ac:spMkLst>
            <pc:docMk/>
            <pc:sldMk cId="2783016307" sldId="707"/>
            <ac:spMk id="35" creationId="{84BD4A7C-0D45-44A9-830A-8D67BB7DAB11}"/>
          </ac:spMkLst>
        </pc:spChg>
        <pc:spChg chg="add del mod modVis">
          <ac:chgData name="Matthäus Alberding" userId="89cdd4c9-d044-4ab4-9e6f-8f065e0119c4" providerId="ADAL" clId="{48034BE9-08BD-4FAC-BA2F-5663A1CD9711}" dt="2022-07-29T10:16:48.292" v="1190" actId="962"/>
          <ac:spMkLst>
            <pc:docMk/>
            <pc:sldMk cId="2783016307" sldId="707"/>
            <ac:spMk id="36" creationId="{9BC824C8-F45B-4620-863F-0CE090CA2A95}"/>
          </ac:spMkLst>
        </pc:spChg>
        <pc:spChg chg="add del mod modVis">
          <ac:chgData name="Matthäus Alberding" userId="89cdd4c9-d044-4ab4-9e6f-8f065e0119c4" providerId="ADAL" clId="{48034BE9-08BD-4FAC-BA2F-5663A1CD9711}" dt="2022-07-29T10:16:48.126" v="1147" actId="962"/>
          <ac:spMkLst>
            <pc:docMk/>
            <pc:sldMk cId="2783016307" sldId="707"/>
            <ac:spMk id="37" creationId="{E04B102A-F206-45BA-B6BB-7AD4CF9354F3}"/>
          </ac:spMkLst>
        </pc:spChg>
        <pc:spChg chg="add del mod modVis">
          <ac:chgData name="Matthäus Alberding" userId="89cdd4c9-d044-4ab4-9e6f-8f065e0119c4" providerId="ADAL" clId="{48034BE9-08BD-4FAC-BA2F-5663A1CD9711}" dt="2022-07-29T10:16:47.971" v="1105" actId="962"/>
          <ac:spMkLst>
            <pc:docMk/>
            <pc:sldMk cId="2783016307" sldId="707"/>
            <ac:spMk id="38" creationId="{7B549237-B770-4691-924F-078F20C909E4}"/>
          </ac:spMkLst>
        </pc:spChg>
        <pc:spChg chg="add del mod modVis">
          <ac:chgData name="Matthäus Alberding" userId="89cdd4c9-d044-4ab4-9e6f-8f065e0119c4" providerId="ADAL" clId="{48034BE9-08BD-4FAC-BA2F-5663A1CD9711}" dt="2022-07-29T10:17:06.872" v="1362"/>
          <ac:spMkLst>
            <pc:docMk/>
            <pc:sldMk cId="2783016307" sldId="707"/>
            <ac:spMk id="39" creationId="{E20F9EF3-2DFB-403B-B8E7-6E9544A1F7E8}"/>
          </ac:spMkLst>
        </pc:spChg>
        <pc:spChg chg="add del mod modVis">
          <ac:chgData name="Matthäus Alberding" userId="89cdd4c9-d044-4ab4-9e6f-8f065e0119c4" providerId="ADAL" clId="{48034BE9-08BD-4FAC-BA2F-5663A1CD9711}" dt="2022-07-29T10:17:07.941" v="1409"/>
          <ac:spMkLst>
            <pc:docMk/>
            <pc:sldMk cId="2783016307" sldId="707"/>
            <ac:spMk id="40" creationId="{88C19DD7-44B2-4A59-BF37-CE38CE198915}"/>
          </ac:spMkLst>
        </pc:spChg>
        <pc:spChg chg="add del mod modVis">
          <ac:chgData name="Matthäus Alberding" userId="89cdd4c9-d044-4ab4-9e6f-8f065e0119c4" providerId="ADAL" clId="{48034BE9-08BD-4FAC-BA2F-5663A1CD9711}" dt="2022-07-29T10:17:13.537" v="1488"/>
          <ac:spMkLst>
            <pc:docMk/>
            <pc:sldMk cId="2783016307" sldId="707"/>
            <ac:spMk id="41" creationId="{695E0973-AF87-409F-9A62-19FEDF1420A4}"/>
          </ac:spMkLst>
        </pc:spChg>
        <pc:graphicFrameChg chg="mod">
          <ac:chgData name="Matthäus Alberding" userId="89cdd4c9-d044-4ab4-9e6f-8f065e0119c4" providerId="ADAL" clId="{48034BE9-08BD-4FAC-BA2F-5663A1CD9711}" dt="2022-07-29T10:17:13.538" v="1490"/>
          <ac:graphicFrameMkLst>
            <pc:docMk/>
            <pc:sldMk cId="2783016307" sldId="707"/>
            <ac:graphicFrameMk id="7" creationId="{07292561-CD7A-40BE-977E-C4444DB00411}"/>
          </ac:graphicFrameMkLst>
        </pc:graphicFrameChg>
        <pc:picChg chg="add mod">
          <ac:chgData name="Matthäus Alberding" userId="89cdd4c9-d044-4ab4-9e6f-8f065e0119c4" providerId="ADAL" clId="{48034BE9-08BD-4FAC-BA2F-5663A1CD9711}" dt="2022-07-29T10:10:58.681" v="3"/>
          <ac:picMkLst>
            <pc:docMk/>
            <pc:sldMk cId="2783016307" sldId="707"/>
            <ac:picMk id="10" creationId="{6DE78EDF-09C4-464E-AB3D-8E4664FCC551}"/>
          </ac:picMkLst>
        </pc:picChg>
        <pc:picChg chg="add mod">
          <ac:chgData name="Matthäus Alberding" userId="89cdd4c9-d044-4ab4-9e6f-8f065e0119c4" providerId="ADAL" clId="{48034BE9-08BD-4FAC-BA2F-5663A1CD9711}" dt="2022-07-29T10:10:58.681" v="3"/>
          <ac:picMkLst>
            <pc:docMk/>
            <pc:sldMk cId="2783016307" sldId="707"/>
            <ac:picMk id="11" creationId="{EED8131D-0404-40DC-A874-C1D7BED10E73}"/>
          </ac:picMkLst>
        </pc:picChg>
        <pc:picChg chg="add mod">
          <ac:chgData name="Matthäus Alberding" userId="89cdd4c9-d044-4ab4-9e6f-8f065e0119c4" providerId="ADAL" clId="{48034BE9-08BD-4FAC-BA2F-5663A1CD9711}" dt="2022-07-29T10:10:58.681" v="3"/>
          <ac:picMkLst>
            <pc:docMk/>
            <pc:sldMk cId="2783016307" sldId="707"/>
            <ac:picMk id="13" creationId="{EA0EF07C-1F0F-4C4E-A292-43A3F04810CD}"/>
          </ac:picMkLst>
        </pc:picChg>
        <pc:picChg chg="del">
          <ac:chgData name="Matthäus Alberding" userId="89cdd4c9-d044-4ab4-9e6f-8f065e0119c4" providerId="ADAL" clId="{48034BE9-08BD-4FAC-BA2F-5663A1CD9711}" dt="2022-07-29T10:10:58.571" v="2" actId="478"/>
          <ac:picMkLst>
            <pc:docMk/>
            <pc:sldMk cId="2783016307" sldId="707"/>
            <ac:picMk id="16" creationId="{6CA75D08-6567-4687-8594-0DC4641F7F8B}"/>
          </ac:picMkLst>
        </pc:picChg>
        <pc:picChg chg="del">
          <ac:chgData name="Matthäus Alberding" userId="89cdd4c9-d044-4ab4-9e6f-8f065e0119c4" providerId="ADAL" clId="{48034BE9-08BD-4FAC-BA2F-5663A1CD9711}" dt="2022-07-29T10:10:58.571" v="2" actId="478"/>
          <ac:picMkLst>
            <pc:docMk/>
            <pc:sldMk cId="2783016307" sldId="707"/>
            <ac:picMk id="18" creationId="{9A4EE709-986C-49E8-9877-4D0AEB434451}"/>
          </ac:picMkLst>
        </pc:picChg>
      </pc:sldChg>
      <pc:sldChg chg="modSp mod">
        <pc:chgData name="Matthäus Alberding" userId="89cdd4c9-d044-4ab4-9e6f-8f065e0119c4" providerId="ADAL" clId="{48034BE9-08BD-4FAC-BA2F-5663A1CD9711}" dt="2022-07-29T13:39:53.704" v="1929" actId="20577"/>
        <pc:sldMkLst>
          <pc:docMk/>
          <pc:sldMk cId="2095349722" sldId="713"/>
        </pc:sldMkLst>
        <pc:spChg chg="mod">
          <ac:chgData name="Matthäus Alberding" userId="89cdd4c9-d044-4ab4-9e6f-8f065e0119c4" providerId="ADAL" clId="{48034BE9-08BD-4FAC-BA2F-5663A1CD9711}" dt="2022-07-29T13:39:53.704" v="1929" actId="20577"/>
          <ac:spMkLst>
            <pc:docMk/>
            <pc:sldMk cId="2095349722" sldId="713"/>
            <ac:spMk id="35" creationId="{F71457AE-BCAB-41CA-BB85-BD9782BF4084}"/>
          </ac:spMkLst>
        </pc:spChg>
      </pc:sldChg>
      <pc:sldChg chg="modSp mod">
        <pc:chgData name="Matthäus Alberding" userId="89cdd4c9-d044-4ab4-9e6f-8f065e0119c4" providerId="ADAL" clId="{48034BE9-08BD-4FAC-BA2F-5663A1CD9711}" dt="2022-07-29T13:40:25.234" v="1938" actId="20577"/>
        <pc:sldMkLst>
          <pc:docMk/>
          <pc:sldMk cId="535129753" sldId="715"/>
        </pc:sldMkLst>
        <pc:spChg chg="mod">
          <ac:chgData name="Matthäus Alberding" userId="89cdd4c9-d044-4ab4-9e6f-8f065e0119c4" providerId="ADAL" clId="{48034BE9-08BD-4FAC-BA2F-5663A1CD9711}" dt="2022-07-29T13:40:25.234" v="1938" actId="20577"/>
          <ac:spMkLst>
            <pc:docMk/>
            <pc:sldMk cId="535129753" sldId="715"/>
            <ac:spMk id="45" creationId="{AC468C79-EA56-457F-8DEA-AA14035A8B4B}"/>
          </ac:spMkLst>
        </pc:spChg>
      </pc:sldChg>
      <pc:sldChg chg="modSp mod">
        <pc:chgData name="Matthäus Alberding" userId="89cdd4c9-d044-4ab4-9e6f-8f065e0119c4" providerId="ADAL" clId="{48034BE9-08BD-4FAC-BA2F-5663A1CD9711}" dt="2022-07-30T08:14:44.718" v="2152" actId="20577"/>
        <pc:sldMkLst>
          <pc:docMk/>
          <pc:sldMk cId="3909180871" sldId="724"/>
        </pc:sldMkLst>
        <pc:spChg chg="mod">
          <ac:chgData name="Matthäus Alberding" userId="89cdd4c9-d044-4ab4-9e6f-8f065e0119c4" providerId="ADAL" clId="{48034BE9-08BD-4FAC-BA2F-5663A1CD9711}" dt="2022-07-30T08:14:44.718" v="2152" actId="20577"/>
          <ac:spMkLst>
            <pc:docMk/>
            <pc:sldMk cId="3909180871" sldId="724"/>
            <ac:spMk id="18" creationId="{8F98A685-68A7-45D3-AFA1-6A6AF1B142FE}"/>
          </ac:spMkLst>
        </pc:spChg>
      </pc:sldChg>
    </pc:docChg>
  </pc:docChgLst>
  <pc:docChgLst>
    <pc:chgData name="Matthäus Alberding" userId="89cdd4c9-d044-4ab4-9e6f-8f065e0119c4" providerId="ADAL" clId="{B6745356-B6CF-45AA-ADCC-AC8F740A00DA}"/>
    <pc:docChg chg="undo redo custSel addSld delSld modSld sldOrd">
      <pc:chgData name="Matthäus Alberding" userId="89cdd4c9-d044-4ab4-9e6f-8f065e0119c4" providerId="ADAL" clId="{B6745356-B6CF-45AA-ADCC-AC8F740A00DA}" dt="2022-07-29T09:24:40.603" v="103984"/>
      <pc:docMkLst>
        <pc:docMk/>
      </pc:docMkLst>
      <pc:sldChg chg="addSp modSp mod">
        <pc:chgData name="Matthäus Alberding" userId="89cdd4c9-d044-4ab4-9e6f-8f065e0119c4" providerId="ADAL" clId="{B6745356-B6CF-45AA-ADCC-AC8F740A00DA}" dt="2022-07-29T09:19:14.470" v="103939" actId="20577"/>
        <pc:sldMkLst>
          <pc:docMk/>
          <pc:sldMk cId="434577917" sldId="308"/>
        </pc:sldMkLst>
        <pc:spChg chg="mod">
          <ac:chgData name="Matthäus Alberding" userId="89cdd4c9-d044-4ab4-9e6f-8f065e0119c4" providerId="ADAL" clId="{B6745356-B6CF-45AA-ADCC-AC8F740A00DA}" dt="2022-07-22T17:09:16.793" v="58264" actId="120"/>
          <ac:spMkLst>
            <pc:docMk/>
            <pc:sldMk cId="434577917" sldId="308"/>
            <ac:spMk id="4" creationId="{457383F6-E550-49CD-8752-8C3DA9AE158E}"/>
          </ac:spMkLst>
        </pc:spChg>
        <pc:spChg chg="mod">
          <ac:chgData name="Matthäus Alberding" userId="89cdd4c9-d044-4ab4-9e6f-8f065e0119c4" providerId="ADAL" clId="{B6745356-B6CF-45AA-ADCC-AC8F740A00DA}" dt="2022-07-29T09:19:14.470" v="103939" actId="20577"/>
          <ac:spMkLst>
            <pc:docMk/>
            <pc:sldMk cId="434577917" sldId="308"/>
            <ac:spMk id="5" creationId="{AFEF5961-5049-4ACC-9345-B51F4043D220}"/>
          </ac:spMkLst>
        </pc:spChg>
        <pc:picChg chg="add mod">
          <ac:chgData name="Matthäus Alberding" userId="89cdd4c9-d044-4ab4-9e6f-8f065e0119c4" providerId="ADAL" clId="{B6745356-B6CF-45AA-ADCC-AC8F740A00DA}" dt="2022-07-21T08:41:13.229" v="559"/>
          <ac:picMkLst>
            <pc:docMk/>
            <pc:sldMk cId="434577917" sldId="308"/>
            <ac:picMk id="7" creationId="{31D8B951-4509-4130-A7E9-35943B4F3DE5}"/>
          </ac:picMkLst>
        </pc:picChg>
      </pc:sldChg>
      <pc:sldChg chg="modSp add del mod">
        <pc:chgData name="Matthäus Alberding" userId="89cdd4c9-d044-4ab4-9e6f-8f065e0119c4" providerId="ADAL" clId="{B6745356-B6CF-45AA-ADCC-AC8F740A00DA}" dt="2022-07-21T08:54:27.088" v="1617"/>
        <pc:sldMkLst>
          <pc:docMk/>
          <pc:sldMk cId="2677100621" sldId="544"/>
        </pc:sldMkLst>
        <pc:spChg chg="mod">
          <ac:chgData name="Matthäus Alberding" userId="89cdd4c9-d044-4ab4-9e6f-8f065e0119c4" providerId="ADAL" clId="{B6745356-B6CF-45AA-ADCC-AC8F740A00DA}" dt="2022-07-21T08:54:27.088" v="1617"/>
          <ac:spMkLst>
            <pc:docMk/>
            <pc:sldMk cId="2677100621" sldId="544"/>
            <ac:spMk id="4" creationId="{7A9007FF-AB24-4D92-B56B-2C7EAACD051B}"/>
          </ac:spMkLst>
        </pc:spChg>
        <pc:spChg chg="mod">
          <ac:chgData name="Matthäus Alberding" userId="89cdd4c9-d044-4ab4-9e6f-8f065e0119c4" providerId="ADAL" clId="{B6745356-B6CF-45AA-ADCC-AC8F740A00DA}" dt="2022-07-21T08:52:25.021" v="1175"/>
          <ac:spMkLst>
            <pc:docMk/>
            <pc:sldMk cId="2677100621" sldId="544"/>
            <ac:spMk id="6" creationId="{CD37718E-EE60-47AA-8D55-1AFB2D8364AB}"/>
          </ac:spMkLst>
        </pc:spChg>
      </pc:sldChg>
      <pc:sldChg chg="addSp delSp modSp add del mod">
        <pc:chgData name="Matthäus Alberding" userId="89cdd4c9-d044-4ab4-9e6f-8f065e0119c4" providerId="ADAL" clId="{B6745356-B6CF-45AA-ADCC-AC8F740A00DA}" dt="2022-07-27T06:49:57.985" v="98255" actId="47"/>
        <pc:sldMkLst>
          <pc:docMk/>
          <pc:sldMk cId="2688122781" sldId="557"/>
        </pc:sldMkLst>
        <pc:spChg chg="mod">
          <ac:chgData name="Matthäus Alberding" userId="89cdd4c9-d044-4ab4-9e6f-8f065e0119c4" providerId="ADAL" clId="{B6745356-B6CF-45AA-ADCC-AC8F740A00DA}" dt="2022-07-26T14:55:21.724" v="80183" actId="948"/>
          <ac:spMkLst>
            <pc:docMk/>
            <pc:sldMk cId="2688122781" sldId="557"/>
            <ac:spMk id="2" creationId="{0353EC5E-BECB-4382-842C-43F1F825A302}"/>
          </ac:spMkLst>
        </pc:spChg>
        <pc:spChg chg="add del mod modVis">
          <ac:chgData name="Matthäus Alberding" userId="89cdd4c9-d044-4ab4-9e6f-8f065e0119c4" providerId="ADAL" clId="{B6745356-B6CF-45AA-ADCC-AC8F740A00DA}" dt="2022-07-21T08:56:40.009" v="2273"/>
          <ac:spMkLst>
            <pc:docMk/>
            <pc:sldMk cId="2688122781" sldId="557"/>
            <ac:spMk id="3" creationId="{2DC0393F-9F05-424A-A484-A78CBB05BC26}"/>
          </ac:spMkLst>
        </pc:spChg>
        <pc:spChg chg="add del mod modVis">
          <ac:chgData name="Matthäus Alberding" userId="89cdd4c9-d044-4ab4-9e6f-8f065e0119c4" providerId="ADAL" clId="{B6745356-B6CF-45AA-ADCC-AC8F740A00DA}" dt="2022-07-26T14:55:20.247" v="80171"/>
          <ac:spMkLst>
            <pc:docMk/>
            <pc:sldMk cId="2688122781" sldId="557"/>
            <ac:spMk id="3" creationId="{C130A33F-874C-4F82-9BE7-208440EE4DAF}"/>
          </ac:spMkLst>
        </pc:spChg>
        <pc:spChg chg="del">
          <ac:chgData name="Matthäus Alberding" userId="89cdd4c9-d044-4ab4-9e6f-8f065e0119c4" providerId="ADAL" clId="{B6745356-B6CF-45AA-ADCC-AC8F740A00DA}" dt="2022-07-26T14:55:09.321" v="80118" actId="478"/>
          <ac:spMkLst>
            <pc:docMk/>
            <pc:sldMk cId="2688122781" sldId="557"/>
            <ac:spMk id="11" creationId="{E882602E-B653-4593-8EEB-F5E2BA60D13C}"/>
          </ac:spMkLst>
        </pc:spChg>
        <pc:spChg chg="del">
          <ac:chgData name="Matthäus Alberding" userId="89cdd4c9-d044-4ab4-9e6f-8f065e0119c4" providerId="ADAL" clId="{B6745356-B6CF-45AA-ADCC-AC8F740A00DA}" dt="2022-07-26T14:55:09.321" v="80118" actId="478"/>
          <ac:spMkLst>
            <pc:docMk/>
            <pc:sldMk cId="2688122781" sldId="557"/>
            <ac:spMk id="12" creationId="{C9F37A18-6E15-4CE5-9673-07D1F3DD6DDF}"/>
          </ac:spMkLst>
        </pc:spChg>
        <pc:spChg chg="del">
          <ac:chgData name="Matthäus Alberding" userId="89cdd4c9-d044-4ab4-9e6f-8f065e0119c4" providerId="ADAL" clId="{B6745356-B6CF-45AA-ADCC-AC8F740A00DA}" dt="2022-07-26T14:55:09.321" v="80118" actId="478"/>
          <ac:spMkLst>
            <pc:docMk/>
            <pc:sldMk cId="2688122781" sldId="557"/>
            <ac:spMk id="13" creationId="{4188BB14-0099-4632-8F70-CE2D06F699D3}"/>
          </ac:spMkLst>
        </pc:spChg>
        <pc:spChg chg="del">
          <ac:chgData name="Matthäus Alberding" userId="89cdd4c9-d044-4ab4-9e6f-8f065e0119c4" providerId="ADAL" clId="{B6745356-B6CF-45AA-ADCC-AC8F740A00DA}" dt="2022-07-26T14:55:09.321" v="80118" actId="478"/>
          <ac:spMkLst>
            <pc:docMk/>
            <pc:sldMk cId="2688122781" sldId="557"/>
            <ac:spMk id="17" creationId="{EC601DAC-C0B5-4AEC-BCCF-08024620FFDC}"/>
          </ac:spMkLst>
        </pc:spChg>
        <pc:spChg chg="del">
          <ac:chgData name="Matthäus Alberding" userId="89cdd4c9-d044-4ab4-9e6f-8f065e0119c4" providerId="ADAL" clId="{B6745356-B6CF-45AA-ADCC-AC8F740A00DA}" dt="2022-07-26T14:55:09.321" v="80118" actId="478"/>
          <ac:spMkLst>
            <pc:docMk/>
            <pc:sldMk cId="2688122781" sldId="557"/>
            <ac:spMk id="19" creationId="{13598208-12EF-4237-8CA2-DCAFE39F0889}"/>
          </ac:spMkLst>
        </pc:spChg>
        <pc:spChg chg="add del mod modVis">
          <ac:chgData name="Matthäus Alberding" userId="89cdd4c9-d044-4ab4-9e6f-8f065e0119c4" providerId="ADAL" clId="{B6745356-B6CF-45AA-ADCC-AC8F740A00DA}" dt="2022-07-21T08:56:49.187" v="2321"/>
          <ac:spMkLst>
            <pc:docMk/>
            <pc:sldMk cId="2688122781" sldId="557"/>
            <ac:spMk id="21" creationId="{35BA2F75-1F9A-4DA7-8BC7-20E7F63B670C}"/>
          </ac:spMkLst>
        </pc:spChg>
        <pc:spChg chg="add del mod modVis">
          <ac:chgData name="Matthäus Alberding" userId="89cdd4c9-d044-4ab4-9e6f-8f065e0119c4" providerId="ADAL" clId="{B6745356-B6CF-45AA-ADCC-AC8F740A00DA}" dt="2022-07-26T14:55:21.742" v="80222"/>
          <ac:spMkLst>
            <pc:docMk/>
            <pc:sldMk cId="2688122781" sldId="557"/>
            <ac:spMk id="21" creationId="{A9D5F821-8810-4895-9984-F7EC3F8A7B68}"/>
          </ac:spMkLst>
        </pc:spChg>
        <pc:spChg chg="add del mod modVis">
          <ac:chgData name="Matthäus Alberding" userId="89cdd4c9-d044-4ab4-9e6f-8f065e0119c4" providerId="ADAL" clId="{B6745356-B6CF-45AA-ADCC-AC8F740A00DA}" dt="2022-07-21T08:56:50.145" v="2364"/>
          <ac:spMkLst>
            <pc:docMk/>
            <pc:sldMk cId="2688122781" sldId="557"/>
            <ac:spMk id="22" creationId="{8F81C51D-F51E-4769-BD56-BF9FDC8E3B16}"/>
          </ac:spMkLst>
        </pc:spChg>
        <pc:spChg chg="add del mod modVis">
          <ac:chgData name="Matthäus Alberding" userId="89cdd4c9-d044-4ab4-9e6f-8f065e0119c4" providerId="ADAL" clId="{B6745356-B6CF-45AA-ADCC-AC8F740A00DA}" dt="2022-07-21T08:56:51.066" v="2407"/>
          <ac:spMkLst>
            <pc:docMk/>
            <pc:sldMk cId="2688122781" sldId="557"/>
            <ac:spMk id="24" creationId="{0D755B05-B016-47B0-BFEF-4348F01D3806}"/>
          </ac:spMkLst>
        </pc:spChg>
        <pc:spChg chg="del">
          <ac:chgData name="Matthäus Alberding" userId="89cdd4c9-d044-4ab4-9e6f-8f065e0119c4" providerId="ADAL" clId="{B6745356-B6CF-45AA-ADCC-AC8F740A00DA}" dt="2022-07-26T14:55:09.321" v="80118" actId="478"/>
          <ac:spMkLst>
            <pc:docMk/>
            <pc:sldMk cId="2688122781" sldId="557"/>
            <ac:spMk id="25" creationId="{378C6FA1-F921-4014-AB9D-BD2AFA432C3B}"/>
          </ac:spMkLst>
        </pc:spChg>
        <pc:spChg chg="add del mod modVis">
          <ac:chgData name="Matthäus Alberding" userId="89cdd4c9-d044-4ab4-9e6f-8f065e0119c4" providerId="ADAL" clId="{B6745356-B6CF-45AA-ADCC-AC8F740A00DA}" dt="2022-07-21T08:56:52.646" v="2454"/>
          <ac:spMkLst>
            <pc:docMk/>
            <pc:sldMk cId="2688122781" sldId="557"/>
            <ac:spMk id="26" creationId="{C6F94275-B12B-43FC-B41D-B1D0ADEEB5F5}"/>
          </ac:spMkLst>
        </pc:spChg>
        <pc:spChg chg="add del mod modVis">
          <ac:chgData name="Matthäus Alberding" userId="89cdd4c9-d044-4ab4-9e6f-8f065e0119c4" providerId="ADAL" clId="{B6745356-B6CF-45AA-ADCC-AC8F740A00DA}" dt="2022-07-21T08:56:53.695" v="2501"/>
          <ac:spMkLst>
            <pc:docMk/>
            <pc:sldMk cId="2688122781" sldId="557"/>
            <ac:spMk id="27" creationId="{16E75AA0-93A9-4B71-B3C3-4F444F72B278}"/>
          </ac:spMkLst>
        </pc:spChg>
        <pc:spChg chg="add del mod modVis">
          <ac:chgData name="Matthäus Alberding" userId="89cdd4c9-d044-4ab4-9e6f-8f065e0119c4" providerId="ADAL" clId="{B6745356-B6CF-45AA-ADCC-AC8F740A00DA}" dt="2022-07-21T08:57:00.696" v="2565"/>
          <ac:spMkLst>
            <pc:docMk/>
            <pc:sldMk cId="2688122781" sldId="557"/>
            <ac:spMk id="28" creationId="{0DACE0D2-CC0A-4AD4-B895-B43451D3C9F3}"/>
          </ac:spMkLst>
        </pc:spChg>
        <pc:spChg chg="add del mod modVis">
          <ac:chgData name="Matthäus Alberding" userId="89cdd4c9-d044-4ab4-9e6f-8f065e0119c4" providerId="ADAL" clId="{B6745356-B6CF-45AA-ADCC-AC8F740A00DA}" dt="2022-07-21T08:57:07.996" v="2628"/>
          <ac:spMkLst>
            <pc:docMk/>
            <pc:sldMk cId="2688122781" sldId="557"/>
            <ac:spMk id="29" creationId="{57FCA98F-663D-41CC-80A4-9375F08209F4}"/>
          </ac:spMkLst>
        </pc:spChg>
        <pc:spChg chg="add del mod modVis">
          <ac:chgData name="Matthäus Alberding" userId="89cdd4c9-d044-4ab4-9e6f-8f065e0119c4" providerId="ADAL" clId="{B6745356-B6CF-45AA-ADCC-AC8F740A00DA}" dt="2022-07-21T08:57:09.131" v="2676"/>
          <ac:spMkLst>
            <pc:docMk/>
            <pc:sldMk cId="2688122781" sldId="557"/>
            <ac:spMk id="30" creationId="{22B01B84-66F8-48E2-AB8A-B9799E017C4D}"/>
          </ac:spMkLst>
        </pc:spChg>
        <pc:spChg chg="add del mod modVis">
          <ac:chgData name="Matthäus Alberding" userId="89cdd4c9-d044-4ab4-9e6f-8f065e0119c4" providerId="ADAL" clId="{B6745356-B6CF-45AA-ADCC-AC8F740A00DA}" dt="2022-07-21T08:57:13.762" v="2719"/>
          <ac:spMkLst>
            <pc:docMk/>
            <pc:sldMk cId="2688122781" sldId="557"/>
            <ac:spMk id="31" creationId="{0AC51851-6AE1-4FB2-AE09-5C2F50396EFD}"/>
          </ac:spMkLst>
        </pc:spChg>
        <pc:spChg chg="add del mod modVis">
          <ac:chgData name="Matthäus Alberding" userId="89cdd4c9-d044-4ab4-9e6f-8f065e0119c4" providerId="ADAL" clId="{B6745356-B6CF-45AA-ADCC-AC8F740A00DA}" dt="2022-07-21T08:57:15.854" v="2773"/>
          <ac:spMkLst>
            <pc:docMk/>
            <pc:sldMk cId="2688122781" sldId="557"/>
            <ac:spMk id="32" creationId="{02FF4231-4E66-4952-AFB2-730F59841FA6}"/>
          </ac:spMkLst>
        </pc:spChg>
        <pc:spChg chg="add del mod modVis">
          <ac:chgData name="Matthäus Alberding" userId="89cdd4c9-d044-4ab4-9e6f-8f065e0119c4" providerId="ADAL" clId="{B6745356-B6CF-45AA-ADCC-AC8F740A00DA}" dt="2022-07-21T08:57:16.896" v="2819"/>
          <ac:spMkLst>
            <pc:docMk/>
            <pc:sldMk cId="2688122781" sldId="557"/>
            <ac:spMk id="33" creationId="{1492C08D-47C6-4496-9E63-AED6154CCB2A}"/>
          </ac:spMkLst>
        </pc:spChg>
        <pc:spChg chg="add del mod modVis">
          <ac:chgData name="Matthäus Alberding" userId="89cdd4c9-d044-4ab4-9e6f-8f065e0119c4" providerId="ADAL" clId="{B6745356-B6CF-45AA-ADCC-AC8F740A00DA}" dt="2022-07-21T08:57:21.247" v="2885"/>
          <ac:spMkLst>
            <pc:docMk/>
            <pc:sldMk cId="2688122781" sldId="557"/>
            <ac:spMk id="34" creationId="{9B9B7FA6-ADEC-4CD6-8FEA-4BD7024DE760}"/>
          </ac:spMkLst>
        </pc:spChg>
        <pc:spChg chg="add del mod modVis">
          <ac:chgData name="Matthäus Alberding" userId="89cdd4c9-d044-4ab4-9e6f-8f065e0119c4" providerId="ADAL" clId="{B6745356-B6CF-45AA-ADCC-AC8F740A00DA}" dt="2022-07-21T08:57:22.746" v="2938"/>
          <ac:spMkLst>
            <pc:docMk/>
            <pc:sldMk cId="2688122781" sldId="557"/>
            <ac:spMk id="35" creationId="{74E1A434-8F5C-4B1E-9A45-9678752D9988}"/>
          </ac:spMkLst>
        </pc:spChg>
        <pc:spChg chg="add del mod modVis">
          <ac:chgData name="Matthäus Alberding" userId="89cdd4c9-d044-4ab4-9e6f-8f065e0119c4" providerId="ADAL" clId="{B6745356-B6CF-45AA-ADCC-AC8F740A00DA}" dt="2022-07-21T08:57:30.554" v="3007"/>
          <ac:spMkLst>
            <pc:docMk/>
            <pc:sldMk cId="2688122781" sldId="557"/>
            <ac:spMk id="36" creationId="{B11CF7A1-A168-4F38-A5B6-82009581531D}"/>
          </ac:spMkLst>
        </pc:spChg>
        <pc:spChg chg="add del mod modVis">
          <ac:chgData name="Matthäus Alberding" userId="89cdd4c9-d044-4ab4-9e6f-8f065e0119c4" providerId="ADAL" clId="{B6745356-B6CF-45AA-ADCC-AC8F740A00DA}" dt="2022-07-21T08:57:31.223" v="3051"/>
          <ac:spMkLst>
            <pc:docMk/>
            <pc:sldMk cId="2688122781" sldId="557"/>
            <ac:spMk id="37" creationId="{8436E5EA-4ED8-4E3C-8F55-A45FAFB9B7AC}"/>
          </ac:spMkLst>
        </pc:spChg>
        <pc:spChg chg="add del mod modVis">
          <ac:chgData name="Matthäus Alberding" userId="89cdd4c9-d044-4ab4-9e6f-8f065e0119c4" providerId="ADAL" clId="{B6745356-B6CF-45AA-ADCC-AC8F740A00DA}" dt="2022-07-21T08:57:39.447" v="3107"/>
          <ac:spMkLst>
            <pc:docMk/>
            <pc:sldMk cId="2688122781" sldId="557"/>
            <ac:spMk id="38" creationId="{D03AC260-34E7-4B14-AA37-3DE2CA8A249B}"/>
          </ac:spMkLst>
        </pc:spChg>
        <pc:spChg chg="add del mod modVis">
          <ac:chgData name="Matthäus Alberding" userId="89cdd4c9-d044-4ab4-9e6f-8f065e0119c4" providerId="ADAL" clId="{B6745356-B6CF-45AA-ADCC-AC8F740A00DA}" dt="2022-07-21T08:57:46.026" v="3150"/>
          <ac:spMkLst>
            <pc:docMk/>
            <pc:sldMk cId="2688122781" sldId="557"/>
            <ac:spMk id="39" creationId="{0530C77A-70FE-4C39-B225-77420A3785B9}"/>
          </ac:spMkLst>
        </pc:spChg>
        <pc:spChg chg="add del mod modVis">
          <ac:chgData name="Matthäus Alberding" userId="89cdd4c9-d044-4ab4-9e6f-8f065e0119c4" providerId="ADAL" clId="{B6745356-B6CF-45AA-ADCC-AC8F740A00DA}" dt="2022-07-21T08:57:50.766" v="3205"/>
          <ac:spMkLst>
            <pc:docMk/>
            <pc:sldMk cId="2688122781" sldId="557"/>
            <ac:spMk id="40" creationId="{34B2F647-0557-4A35-98CB-2A54E42AB827}"/>
          </ac:spMkLst>
        </pc:spChg>
        <pc:spChg chg="add del mod modVis">
          <ac:chgData name="Matthäus Alberding" userId="89cdd4c9-d044-4ab4-9e6f-8f065e0119c4" providerId="ADAL" clId="{B6745356-B6CF-45AA-ADCC-AC8F740A00DA}" dt="2022-07-21T08:58:00.885" v="3249"/>
          <ac:spMkLst>
            <pc:docMk/>
            <pc:sldMk cId="2688122781" sldId="557"/>
            <ac:spMk id="41" creationId="{41EA502E-6C59-4123-9BF8-10F62D341C65}"/>
          </ac:spMkLst>
        </pc:spChg>
        <pc:spChg chg="add del mod modVis">
          <ac:chgData name="Matthäus Alberding" userId="89cdd4c9-d044-4ab4-9e6f-8f065e0119c4" providerId="ADAL" clId="{B6745356-B6CF-45AA-ADCC-AC8F740A00DA}" dt="2022-07-21T08:58:02.322" v="3300"/>
          <ac:spMkLst>
            <pc:docMk/>
            <pc:sldMk cId="2688122781" sldId="557"/>
            <ac:spMk id="42" creationId="{3B3CE18A-0A88-4D95-956E-C0D0E9814FCE}"/>
          </ac:spMkLst>
        </pc:spChg>
        <pc:spChg chg="add del mod modVis">
          <ac:chgData name="Matthäus Alberding" userId="89cdd4c9-d044-4ab4-9e6f-8f065e0119c4" providerId="ADAL" clId="{B6745356-B6CF-45AA-ADCC-AC8F740A00DA}" dt="2022-07-21T08:58:08.090" v="3362"/>
          <ac:spMkLst>
            <pc:docMk/>
            <pc:sldMk cId="2688122781" sldId="557"/>
            <ac:spMk id="43" creationId="{3707B909-34B9-4DF9-9069-C4EF9D160359}"/>
          </ac:spMkLst>
        </pc:spChg>
        <pc:spChg chg="add del mod modVis">
          <ac:chgData name="Matthäus Alberding" userId="89cdd4c9-d044-4ab4-9e6f-8f065e0119c4" providerId="ADAL" clId="{B6745356-B6CF-45AA-ADCC-AC8F740A00DA}" dt="2022-07-21T08:58:31.049" v="3441"/>
          <ac:spMkLst>
            <pc:docMk/>
            <pc:sldMk cId="2688122781" sldId="557"/>
            <ac:spMk id="44" creationId="{2F8B668D-AAE4-404C-A3F6-624BF012CEC4}"/>
          </ac:spMkLst>
        </pc:spChg>
        <pc:spChg chg="add del mod modVis">
          <ac:chgData name="Matthäus Alberding" userId="89cdd4c9-d044-4ab4-9e6f-8f065e0119c4" providerId="ADAL" clId="{B6745356-B6CF-45AA-ADCC-AC8F740A00DA}" dt="2022-07-21T08:58:44.657" v="3485"/>
          <ac:spMkLst>
            <pc:docMk/>
            <pc:sldMk cId="2688122781" sldId="557"/>
            <ac:spMk id="45" creationId="{C84BCE47-19C0-4039-9E74-5DD823F6505A}"/>
          </ac:spMkLst>
        </pc:spChg>
        <pc:spChg chg="add del mod modVis">
          <ac:chgData name="Matthäus Alberding" userId="89cdd4c9-d044-4ab4-9e6f-8f065e0119c4" providerId="ADAL" clId="{B6745356-B6CF-45AA-ADCC-AC8F740A00DA}" dt="2022-07-21T09:03:45.776" v="3666"/>
          <ac:spMkLst>
            <pc:docMk/>
            <pc:sldMk cId="2688122781" sldId="557"/>
            <ac:spMk id="46" creationId="{03FC5DE4-FCC7-4C41-808A-A9CF59AE91AB}"/>
          </ac:spMkLst>
        </pc:spChg>
        <pc:spChg chg="add del mod modVis">
          <ac:chgData name="Matthäus Alberding" userId="89cdd4c9-d044-4ab4-9e6f-8f065e0119c4" providerId="ADAL" clId="{B6745356-B6CF-45AA-ADCC-AC8F740A00DA}" dt="2022-07-21T09:03:47.413" v="3716"/>
          <ac:spMkLst>
            <pc:docMk/>
            <pc:sldMk cId="2688122781" sldId="557"/>
            <ac:spMk id="47" creationId="{3B0205C7-3217-404C-AD7A-57F5DE962C75}"/>
          </ac:spMkLst>
        </pc:spChg>
        <pc:graphicFrameChg chg="mod">
          <ac:chgData name="Matthäus Alberding" userId="89cdd4c9-d044-4ab4-9e6f-8f065e0119c4" providerId="ADAL" clId="{B6745356-B6CF-45AA-ADCC-AC8F740A00DA}" dt="2022-07-26T14:55:21.743" v="80224"/>
          <ac:graphicFrameMkLst>
            <pc:docMk/>
            <pc:sldMk cId="2688122781" sldId="557"/>
            <ac:graphicFrameMk id="5" creationId="{1F9D1815-42F6-4AC2-835B-D96489C2FB54}"/>
          </ac:graphicFrameMkLst>
        </pc:graphicFrameChg>
        <pc:picChg chg="del">
          <ac:chgData name="Matthäus Alberding" userId="89cdd4c9-d044-4ab4-9e6f-8f065e0119c4" providerId="ADAL" clId="{B6745356-B6CF-45AA-ADCC-AC8F740A00DA}" dt="2022-07-26T14:55:09.321" v="80118" actId="478"/>
          <ac:picMkLst>
            <pc:docMk/>
            <pc:sldMk cId="2688122781" sldId="557"/>
            <ac:picMk id="8" creationId="{0281F9B8-0AE0-4DFB-8E12-83FE44E5CA24}"/>
          </ac:picMkLst>
        </pc:picChg>
        <pc:picChg chg="del">
          <ac:chgData name="Matthäus Alberding" userId="89cdd4c9-d044-4ab4-9e6f-8f065e0119c4" providerId="ADAL" clId="{B6745356-B6CF-45AA-ADCC-AC8F740A00DA}" dt="2022-07-26T14:55:10.582" v="80119" actId="478"/>
          <ac:picMkLst>
            <pc:docMk/>
            <pc:sldMk cId="2688122781" sldId="557"/>
            <ac:picMk id="9" creationId="{1CC99803-8785-4DCC-A898-B563FECF9658}"/>
          </ac:picMkLst>
        </pc:picChg>
        <pc:picChg chg="del">
          <ac:chgData name="Matthäus Alberding" userId="89cdd4c9-d044-4ab4-9e6f-8f065e0119c4" providerId="ADAL" clId="{B6745356-B6CF-45AA-ADCC-AC8F740A00DA}" dt="2022-07-26T14:55:09.321" v="80118" actId="478"/>
          <ac:picMkLst>
            <pc:docMk/>
            <pc:sldMk cId="2688122781" sldId="557"/>
            <ac:picMk id="10" creationId="{93B880F6-3F42-44F4-A0B1-A9E5D2A9C4A1}"/>
          </ac:picMkLst>
        </pc:picChg>
        <pc:picChg chg="add mod">
          <ac:chgData name="Matthäus Alberding" userId="89cdd4c9-d044-4ab4-9e6f-8f065e0119c4" providerId="ADAL" clId="{B6745356-B6CF-45AA-ADCC-AC8F740A00DA}" dt="2022-07-26T14:56:40.839" v="80245" actId="1076"/>
          <ac:picMkLst>
            <pc:docMk/>
            <pc:sldMk cId="2688122781" sldId="557"/>
            <ac:picMk id="24" creationId="{2575469F-A65F-4152-8CFC-6BDD7D863D68}"/>
          </ac:picMkLst>
        </pc:picChg>
        <pc:picChg chg="add mod">
          <ac:chgData name="Matthäus Alberding" userId="89cdd4c9-d044-4ab4-9e6f-8f065e0119c4" providerId="ADAL" clId="{B6745356-B6CF-45AA-ADCC-AC8F740A00DA}" dt="2022-07-26T14:56:37.549" v="80244" actId="1076"/>
          <ac:picMkLst>
            <pc:docMk/>
            <pc:sldMk cId="2688122781" sldId="557"/>
            <ac:picMk id="26" creationId="{7AEFB508-4C05-4BA8-8CED-62FCAA0EB357}"/>
          </ac:picMkLst>
        </pc:picChg>
        <pc:cxnChg chg="del">
          <ac:chgData name="Matthäus Alberding" userId="89cdd4c9-d044-4ab4-9e6f-8f065e0119c4" providerId="ADAL" clId="{B6745356-B6CF-45AA-ADCC-AC8F740A00DA}" dt="2022-07-26T14:55:09.321" v="80118" actId="478"/>
          <ac:cxnSpMkLst>
            <pc:docMk/>
            <pc:sldMk cId="2688122781" sldId="557"/>
            <ac:cxnSpMk id="14" creationId="{AA50167E-7ED7-4F23-8036-079F010B0DA2}"/>
          </ac:cxnSpMkLst>
        </pc:cxnChg>
        <pc:cxnChg chg="del mod">
          <ac:chgData name="Matthäus Alberding" userId="89cdd4c9-d044-4ab4-9e6f-8f065e0119c4" providerId="ADAL" clId="{B6745356-B6CF-45AA-ADCC-AC8F740A00DA}" dt="2022-07-26T14:55:09.321" v="80118" actId="478"/>
          <ac:cxnSpMkLst>
            <pc:docMk/>
            <pc:sldMk cId="2688122781" sldId="557"/>
            <ac:cxnSpMk id="15" creationId="{BCCAC9D5-2B55-4826-80E0-4C599A7C3322}"/>
          </ac:cxnSpMkLst>
        </pc:cxnChg>
        <pc:cxnChg chg="del">
          <ac:chgData name="Matthäus Alberding" userId="89cdd4c9-d044-4ab4-9e6f-8f065e0119c4" providerId="ADAL" clId="{B6745356-B6CF-45AA-ADCC-AC8F740A00DA}" dt="2022-07-26T14:55:09.321" v="80118" actId="478"/>
          <ac:cxnSpMkLst>
            <pc:docMk/>
            <pc:sldMk cId="2688122781" sldId="557"/>
            <ac:cxnSpMk id="16" creationId="{3698DD88-5053-4EFB-8B12-5B0AA9CFCC74}"/>
          </ac:cxnSpMkLst>
        </pc:cxnChg>
        <pc:cxnChg chg="del mod">
          <ac:chgData name="Matthäus Alberding" userId="89cdd4c9-d044-4ab4-9e6f-8f065e0119c4" providerId="ADAL" clId="{B6745356-B6CF-45AA-ADCC-AC8F740A00DA}" dt="2022-07-26T14:55:09.321" v="80118" actId="478"/>
          <ac:cxnSpMkLst>
            <pc:docMk/>
            <pc:sldMk cId="2688122781" sldId="557"/>
            <ac:cxnSpMk id="18" creationId="{47E34E18-0876-4EFE-8940-7FF144B3489B}"/>
          </ac:cxnSpMkLst>
        </pc:cxnChg>
        <pc:cxnChg chg="del">
          <ac:chgData name="Matthäus Alberding" userId="89cdd4c9-d044-4ab4-9e6f-8f065e0119c4" providerId="ADAL" clId="{B6745356-B6CF-45AA-ADCC-AC8F740A00DA}" dt="2022-07-26T14:55:09.321" v="80118" actId="478"/>
          <ac:cxnSpMkLst>
            <pc:docMk/>
            <pc:sldMk cId="2688122781" sldId="557"/>
            <ac:cxnSpMk id="20" creationId="{46959C55-BDDF-4CBA-A4DB-25168AF5FA9C}"/>
          </ac:cxnSpMkLst>
        </pc:cxnChg>
        <pc:cxnChg chg="del">
          <ac:chgData name="Matthäus Alberding" userId="89cdd4c9-d044-4ab4-9e6f-8f065e0119c4" providerId="ADAL" clId="{B6745356-B6CF-45AA-ADCC-AC8F740A00DA}" dt="2022-07-26T14:55:09.321" v="80118" actId="478"/>
          <ac:cxnSpMkLst>
            <pc:docMk/>
            <pc:sldMk cId="2688122781" sldId="557"/>
            <ac:cxnSpMk id="23" creationId="{02DB9E5A-4CCF-418F-987B-34E3725501E6}"/>
          </ac:cxnSpMkLst>
        </pc:cxnChg>
      </pc:sldChg>
      <pc:sldChg chg="addSp delSp modSp add del mod">
        <pc:chgData name="Matthäus Alberding" userId="89cdd4c9-d044-4ab4-9e6f-8f065e0119c4" providerId="ADAL" clId="{B6745356-B6CF-45AA-ADCC-AC8F740A00DA}" dt="2022-07-21T08:54:27.088" v="1617"/>
        <pc:sldMkLst>
          <pc:docMk/>
          <pc:sldMk cId="4044059231" sldId="558"/>
        </pc:sldMkLst>
        <pc:spChg chg="mod">
          <ac:chgData name="Matthäus Alberding" userId="89cdd4c9-d044-4ab4-9e6f-8f065e0119c4" providerId="ADAL" clId="{B6745356-B6CF-45AA-ADCC-AC8F740A00DA}" dt="2022-07-21T08:53:40.172" v="1573" actId="948"/>
          <ac:spMkLst>
            <pc:docMk/>
            <pc:sldMk cId="4044059231" sldId="558"/>
            <ac:spMk id="2" creationId="{71DA7AB7-CB7A-421F-8F93-5FB4475494D7}"/>
          </ac:spMkLst>
        </pc:spChg>
        <pc:spChg chg="add del mod modVis">
          <ac:chgData name="Matthäus Alberding" userId="89cdd4c9-d044-4ab4-9e6f-8f065e0119c4" providerId="ADAL" clId="{B6745356-B6CF-45AA-ADCC-AC8F740A00DA}" dt="2022-07-21T08:53:02.503" v="1246"/>
          <ac:spMkLst>
            <pc:docMk/>
            <pc:sldMk cId="4044059231" sldId="558"/>
            <ac:spMk id="3" creationId="{8E61BD87-66EC-441A-9703-CE6E7EDA9213}"/>
          </ac:spMkLst>
        </pc:spChg>
        <pc:spChg chg="mod">
          <ac:chgData name="Matthäus Alberding" userId="89cdd4c9-d044-4ab4-9e6f-8f065e0119c4" providerId="ADAL" clId="{B6745356-B6CF-45AA-ADCC-AC8F740A00DA}" dt="2022-07-21T08:54:27.088" v="1617"/>
          <ac:spMkLst>
            <pc:docMk/>
            <pc:sldMk cId="4044059231" sldId="558"/>
            <ac:spMk id="4" creationId="{3ACC5889-B3B9-47CF-96E0-7AA605AA0014}"/>
          </ac:spMkLst>
        </pc:spChg>
        <pc:spChg chg="mod">
          <ac:chgData name="Matthäus Alberding" userId="89cdd4c9-d044-4ab4-9e6f-8f065e0119c4" providerId="ADAL" clId="{B6745356-B6CF-45AA-ADCC-AC8F740A00DA}" dt="2022-07-21T08:52:22.682" v="1174"/>
          <ac:spMkLst>
            <pc:docMk/>
            <pc:sldMk cId="4044059231" sldId="558"/>
            <ac:spMk id="6" creationId="{8D0F097E-5E99-4225-AC79-E744FB92482D}"/>
          </ac:spMkLst>
        </pc:spChg>
        <pc:spChg chg="add del mod modVis">
          <ac:chgData name="Matthäus Alberding" userId="89cdd4c9-d044-4ab4-9e6f-8f065e0119c4" providerId="ADAL" clId="{B6745356-B6CF-45AA-ADCC-AC8F740A00DA}" dt="2022-07-21T08:53:03.580" v="1290"/>
          <ac:spMkLst>
            <pc:docMk/>
            <pc:sldMk cId="4044059231" sldId="558"/>
            <ac:spMk id="9" creationId="{474E5672-363A-49AF-B3B5-8269B0C4F03F}"/>
          </ac:spMkLst>
        </pc:spChg>
        <pc:spChg chg="add del mod modVis">
          <ac:chgData name="Matthäus Alberding" userId="89cdd4c9-d044-4ab4-9e6f-8f065e0119c4" providerId="ADAL" clId="{B6745356-B6CF-45AA-ADCC-AC8F740A00DA}" dt="2022-07-21T08:53:06.019" v="1334"/>
          <ac:spMkLst>
            <pc:docMk/>
            <pc:sldMk cId="4044059231" sldId="558"/>
            <ac:spMk id="10" creationId="{3104F047-8202-4D68-83B8-32B021986609}"/>
          </ac:spMkLst>
        </pc:spChg>
        <pc:spChg chg="add del mod modVis">
          <ac:chgData name="Matthäus Alberding" userId="89cdd4c9-d044-4ab4-9e6f-8f065e0119c4" providerId="ADAL" clId="{B6745356-B6CF-45AA-ADCC-AC8F740A00DA}" dt="2022-07-21T08:53:08.641" v="1389"/>
          <ac:spMkLst>
            <pc:docMk/>
            <pc:sldMk cId="4044059231" sldId="558"/>
            <ac:spMk id="11" creationId="{B1BD9E6C-6810-40D7-917C-63BA9205CF8D}"/>
          </ac:spMkLst>
        </pc:spChg>
        <pc:spChg chg="add del mod modVis">
          <ac:chgData name="Matthäus Alberding" userId="89cdd4c9-d044-4ab4-9e6f-8f065e0119c4" providerId="ADAL" clId="{B6745356-B6CF-45AA-ADCC-AC8F740A00DA}" dt="2022-07-21T08:53:11.895" v="1432"/>
          <ac:spMkLst>
            <pc:docMk/>
            <pc:sldMk cId="4044059231" sldId="558"/>
            <ac:spMk id="12" creationId="{97796311-A625-4D20-B809-D58EF5937F4D}"/>
          </ac:spMkLst>
        </pc:spChg>
        <pc:spChg chg="add del mod modVis">
          <ac:chgData name="Matthäus Alberding" userId="89cdd4c9-d044-4ab4-9e6f-8f065e0119c4" providerId="ADAL" clId="{B6745356-B6CF-45AA-ADCC-AC8F740A00DA}" dt="2022-07-21T08:53:14.041" v="1482"/>
          <ac:spMkLst>
            <pc:docMk/>
            <pc:sldMk cId="4044059231" sldId="558"/>
            <ac:spMk id="13" creationId="{1EC92108-A65F-4017-AEBE-68CC367F3BF2}"/>
          </ac:spMkLst>
        </pc:spChg>
        <pc:spChg chg="add del mod modVis">
          <ac:chgData name="Matthäus Alberding" userId="89cdd4c9-d044-4ab4-9e6f-8f065e0119c4" providerId="ADAL" clId="{B6745356-B6CF-45AA-ADCC-AC8F740A00DA}" dt="2022-07-21T08:53:20.397" v="1525"/>
          <ac:spMkLst>
            <pc:docMk/>
            <pc:sldMk cId="4044059231" sldId="558"/>
            <ac:spMk id="14" creationId="{D03E446E-31D0-466D-BE0C-7583A72C9027}"/>
          </ac:spMkLst>
        </pc:spChg>
        <pc:spChg chg="mod">
          <ac:chgData name="Matthäus Alberding" userId="89cdd4c9-d044-4ab4-9e6f-8f065e0119c4" providerId="ADAL" clId="{B6745356-B6CF-45AA-ADCC-AC8F740A00DA}" dt="2022-07-21T08:53:42.141" v="1616" actId="20577"/>
          <ac:spMkLst>
            <pc:docMk/>
            <pc:sldMk cId="4044059231" sldId="558"/>
            <ac:spMk id="15" creationId="{76BC58B4-8296-4FBF-85D7-E0956C2A24C5}"/>
          </ac:spMkLst>
        </pc:spChg>
        <pc:spChg chg="add del mod modVis">
          <ac:chgData name="Matthäus Alberding" userId="89cdd4c9-d044-4ab4-9e6f-8f065e0119c4" providerId="ADAL" clId="{B6745356-B6CF-45AA-ADCC-AC8F740A00DA}" dt="2022-07-21T08:53:21.320" v="1568"/>
          <ac:spMkLst>
            <pc:docMk/>
            <pc:sldMk cId="4044059231" sldId="558"/>
            <ac:spMk id="16" creationId="{6513500B-FA52-42C5-988A-943571E3ACA0}"/>
          </ac:spMkLst>
        </pc:spChg>
        <pc:spChg chg="add del mod modVis">
          <ac:chgData name="Matthäus Alberding" userId="89cdd4c9-d044-4ab4-9e6f-8f065e0119c4" providerId="ADAL" clId="{B6745356-B6CF-45AA-ADCC-AC8F740A00DA}" dt="2022-07-21T08:53:40.189" v="1612"/>
          <ac:spMkLst>
            <pc:docMk/>
            <pc:sldMk cId="4044059231" sldId="558"/>
            <ac:spMk id="17" creationId="{8A5B99AD-DC3E-4A0F-BC22-88765ADC4555}"/>
          </ac:spMkLst>
        </pc:spChg>
        <pc:graphicFrameChg chg="mod">
          <ac:chgData name="Matthäus Alberding" userId="89cdd4c9-d044-4ab4-9e6f-8f065e0119c4" providerId="ADAL" clId="{B6745356-B6CF-45AA-ADCC-AC8F740A00DA}" dt="2022-07-21T08:53:40.190" v="1614"/>
          <ac:graphicFrameMkLst>
            <pc:docMk/>
            <pc:sldMk cId="4044059231" sldId="558"/>
            <ac:graphicFrameMk id="5" creationId="{8CE2C6DB-437C-42E1-90D9-976C22B1B26E}"/>
          </ac:graphicFrameMkLst>
        </pc:graphicFrameChg>
      </pc:sldChg>
      <pc:sldChg chg="del">
        <pc:chgData name="Matthäus Alberding" userId="89cdd4c9-d044-4ab4-9e6f-8f065e0119c4" providerId="ADAL" clId="{B6745356-B6CF-45AA-ADCC-AC8F740A00DA}" dt="2022-07-20T14:01:25.510" v="262" actId="47"/>
        <pc:sldMkLst>
          <pc:docMk/>
          <pc:sldMk cId="4073565736" sldId="559"/>
        </pc:sldMkLst>
      </pc:sldChg>
      <pc:sldChg chg="del">
        <pc:chgData name="Matthäus Alberding" userId="89cdd4c9-d044-4ab4-9e6f-8f065e0119c4" providerId="ADAL" clId="{B6745356-B6CF-45AA-ADCC-AC8F740A00DA}" dt="2022-07-20T14:01:25.510" v="262" actId="47"/>
        <pc:sldMkLst>
          <pc:docMk/>
          <pc:sldMk cId="3047109270" sldId="560"/>
        </pc:sldMkLst>
      </pc:sldChg>
      <pc:sldChg chg="del">
        <pc:chgData name="Matthäus Alberding" userId="89cdd4c9-d044-4ab4-9e6f-8f065e0119c4" providerId="ADAL" clId="{B6745356-B6CF-45AA-ADCC-AC8F740A00DA}" dt="2022-07-20T14:01:25.510" v="262" actId="47"/>
        <pc:sldMkLst>
          <pc:docMk/>
          <pc:sldMk cId="1620792960" sldId="561"/>
        </pc:sldMkLst>
      </pc:sldChg>
      <pc:sldChg chg="del">
        <pc:chgData name="Matthäus Alberding" userId="89cdd4c9-d044-4ab4-9e6f-8f065e0119c4" providerId="ADAL" clId="{B6745356-B6CF-45AA-ADCC-AC8F740A00DA}" dt="2022-07-20T14:01:25.510" v="262" actId="47"/>
        <pc:sldMkLst>
          <pc:docMk/>
          <pc:sldMk cId="3554194584" sldId="563"/>
        </pc:sldMkLst>
      </pc:sldChg>
      <pc:sldChg chg="addSp delSp modSp add del mod">
        <pc:chgData name="Matthäus Alberding" userId="89cdd4c9-d044-4ab4-9e6f-8f065e0119c4" providerId="ADAL" clId="{B6745356-B6CF-45AA-ADCC-AC8F740A00DA}" dt="2022-07-27T06:49:54.214" v="98254"/>
        <pc:sldMkLst>
          <pc:docMk/>
          <pc:sldMk cId="178057191" sldId="565"/>
        </pc:sldMkLst>
        <pc:spChg chg="mod">
          <ac:chgData name="Matthäus Alberding" userId="89cdd4c9-d044-4ab4-9e6f-8f065e0119c4" providerId="ADAL" clId="{B6745356-B6CF-45AA-ADCC-AC8F740A00DA}" dt="2022-07-27T06:49:54.193" v="98213" actId="948"/>
          <ac:spMkLst>
            <pc:docMk/>
            <pc:sldMk cId="178057191" sldId="565"/>
            <ac:spMk id="2" creationId="{A45F0577-92AB-42F5-9C50-439DCF76F242}"/>
          </ac:spMkLst>
        </pc:spChg>
        <pc:spChg chg="add del mod modVis">
          <ac:chgData name="Matthäus Alberding" userId="89cdd4c9-d044-4ab4-9e6f-8f065e0119c4" providerId="ADAL" clId="{B6745356-B6CF-45AA-ADCC-AC8F740A00DA}" dt="2022-07-21T08:55:24.982" v="1664"/>
          <ac:spMkLst>
            <pc:docMk/>
            <pc:sldMk cId="178057191" sldId="565"/>
            <ac:spMk id="3" creationId="{6C2C1C3A-D577-44DC-862A-83D5A8ED7086}"/>
          </ac:spMkLst>
        </pc:spChg>
        <pc:spChg chg="add del mod modVis">
          <ac:chgData name="Matthäus Alberding" userId="89cdd4c9-d044-4ab4-9e6f-8f065e0119c4" providerId="ADAL" clId="{B6745356-B6CF-45AA-ADCC-AC8F740A00DA}" dt="2022-07-27T06:49:06.523" v="97533"/>
          <ac:spMkLst>
            <pc:docMk/>
            <pc:sldMk cId="178057191" sldId="565"/>
            <ac:spMk id="3" creationId="{EFC4E89E-9C15-40E5-9753-8D36564789F1}"/>
          </ac:spMkLst>
        </pc:spChg>
        <pc:spChg chg="mod">
          <ac:chgData name="Matthäus Alberding" userId="89cdd4c9-d044-4ab4-9e6f-8f065e0119c4" providerId="ADAL" clId="{B6745356-B6CF-45AA-ADCC-AC8F740A00DA}" dt="2022-07-26T14:58:12.003" v="80265"/>
          <ac:spMkLst>
            <pc:docMk/>
            <pc:sldMk cId="178057191" sldId="565"/>
            <ac:spMk id="6" creationId="{F63CA2AE-A73A-4C24-B1C1-8D4E53AE3478}"/>
          </ac:spMkLst>
        </pc:spChg>
        <pc:spChg chg="add del mod modVis">
          <ac:chgData name="Matthäus Alberding" userId="89cdd4c9-d044-4ab4-9e6f-8f065e0119c4" providerId="ADAL" clId="{B6745356-B6CF-45AA-ADCC-AC8F740A00DA}" dt="2022-07-21T08:55:28.460" v="1725"/>
          <ac:spMkLst>
            <pc:docMk/>
            <pc:sldMk cId="178057191" sldId="565"/>
            <ac:spMk id="8" creationId="{5C247AE4-E5A4-403D-9FFC-A7F0247B3FED}"/>
          </ac:spMkLst>
        </pc:spChg>
        <pc:spChg chg="add del mod modVis">
          <ac:chgData name="Matthäus Alberding" userId="89cdd4c9-d044-4ab4-9e6f-8f065e0119c4" providerId="ADAL" clId="{B6745356-B6CF-45AA-ADCC-AC8F740A00DA}" dt="2022-07-27T06:49:09.682" v="97600"/>
          <ac:spMkLst>
            <pc:docMk/>
            <pc:sldMk cId="178057191" sldId="565"/>
            <ac:spMk id="8" creationId="{A9809000-B977-412B-BB51-AB82FAA2A4E4}"/>
          </ac:spMkLst>
        </pc:spChg>
        <pc:spChg chg="add del mod modVis">
          <ac:chgData name="Matthäus Alberding" userId="89cdd4c9-d044-4ab4-9e6f-8f065e0119c4" providerId="ADAL" clId="{B6745356-B6CF-45AA-ADCC-AC8F740A00DA}" dt="2022-07-21T08:55:33.565" v="1804"/>
          <ac:spMkLst>
            <pc:docMk/>
            <pc:sldMk cId="178057191" sldId="565"/>
            <ac:spMk id="9" creationId="{079CEA06-78F8-4B84-A1DB-6A7FFD72045C}"/>
          </ac:spMkLst>
        </pc:spChg>
        <pc:spChg chg="add del mod modVis">
          <ac:chgData name="Matthäus Alberding" userId="89cdd4c9-d044-4ab4-9e6f-8f065e0119c4" providerId="ADAL" clId="{B6745356-B6CF-45AA-ADCC-AC8F740A00DA}" dt="2022-07-27T06:49:15.387" v="97658"/>
          <ac:spMkLst>
            <pc:docMk/>
            <pc:sldMk cId="178057191" sldId="565"/>
            <ac:spMk id="9" creationId="{5255D648-EAA2-4C05-8C7F-78D0EC0A505C}"/>
          </ac:spMkLst>
        </pc:spChg>
        <pc:spChg chg="add del mod modVis">
          <ac:chgData name="Matthäus Alberding" userId="89cdd4c9-d044-4ab4-9e6f-8f065e0119c4" providerId="ADAL" clId="{B6745356-B6CF-45AA-ADCC-AC8F740A00DA}" dt="2022-07-27T06:49:30.524" v="97704"/>
          <ac:spMkLst>
            <pc:docMk/>
            <pc:sldMk cId="178057191" sldId="565"/>
            <ac:spMk id="10" creationId="{3BC72B60-38EB-4654-8F30-BC96C3F11EDF}"/>
          </ac:spMkLst>
        </pc:spChg>
        <pc:spChg chg="add del mod modVis">
          <ac:chgData name="Matthäus Alberding" userId="89cdd4c9-d044-4ab4-9e6f-8f065e0119c4" providerId="ADAL" clId="{B6745356-B6CF-45AA-ADCC-AC8F740A00DA}" dt="2022-07-21T08:55:34.448" v="1847"/>
          <ac:spMkLst>
            <pc:docMk/>
            <pc:sldMk cId="178057191" sldId="565"/>
            <ac:spMk id="10" creationId="{5C2AF106-BE76-424A-B36A-7B6C1ACDB175}"/>
          </ac:spMkLst>
        </pc:spChg>
        <pc:spChg chg="add del mod modVis">
          <ac:chgData name="Matthäus Alberding" userId="89cdd4c9-d044-4ab4-9e6f-8f065e0119c4" providerId="ADAL" clId="{B6745356-B6CF-45AA-ADCC-AC8F740A00DA}" dt="2022-07-21T08:55:35.761" v="1908"/>
          <ac:spMkLst>
            <pc:docMk/>
            <pc:sldMk cId="178057191" sldId="565"/>
            <ac:spMk id="11" creationId="{4F625984-0DA6-415E-8E0F-0A15B9019575}"/>
          </ac:spMkLst>
        </pc:spChg>
        <pc:spChg chg="add del mod modVis">
          <ac:chgData name="Matthäus Alberding" userId="89cdd4c9-d044-4ab4-9e6f-8f065e0119c4" providerId="ADAL" clId="{B6745356-B6CF-45AA-ADCC-AC8F740A00DA}" dt="2022-07-27T06:49:31.348" v="97748"/>
          <ac:spMkLst>
            <pc:docMk/>
            <pc:sldMk cId="178057191" sldId="565"/>
            <ac:spMk id="11" creationId="{939B76A0-1065-4155-A9C2-753A40C155CA}"/>
          </ac:spMkLst>
        </pc:spChg>
        <pc:spChg chg="add del mod modVis">
          <ac:chgData name="Matthäus Alberding" userId="89cdd4c9-d044-4ab4-9e6f-8f065e0119c4" providerId="ADAL" clId="{B6745356-B6CF-45AA-ADCC-AC8F740A00DA}" dt="2022-07-27T06:49:34.372" v="97800"/>
          <ac:spMkLst>
            <pc:docMk/>
            <pc:sldMk cId="178057191" sldId="565"/>
            <ac:spMk id="12" creationId="{6F1CFB20-2D7F-4648-B774-260DAB462254}"/>
          </ac:spMkLst>
        </pc:spChg>
        <pc:spChg chg="add del mod modVis">
          <ac:chgData name="Matthäus Alberding" userId="89cdd4c9-d044-4ab4-9e6f-8f065e0119c4" providerId="ADAL" clId="{B6745356-B6CF-45AA-ADCC-AC8F740A00DA}" dt="2022-07-21T08:55:40.126" v="1990"/>
          <ac:spMkLst>
            <pc:docMk/>
            <pc:sldMk cId="178057191" sldId="565"/>
            <ac:spMk id="12" creationId="{FD9AC1F5-B528-4C83-AF17-FBB63DA0DCEE}"/>
          </ac:spMkLst>
        </pc:spChg>
        <pc:spChg chg="add del mod modVis">
          <ac:chgData name="Matthäus Alberding" userId="89cdd4c9-d044-4ab4-9e6f-8f065e0119c4" providerId="ADAL" clId="{B6745356-B6CF-45AA-ADCC-AC8F740A00DA}" dt="2022-07-21T08:55:50.926" v="2037"/>
          <ac:spMkLst>
            <pc:docMk/>
            <pc:sldMk cId="178057191" sldId="565"/>
            <ac:spMk id="13" creationId="{AC02E8A4-B2A6-470E-9FC6-C263223BC88E}"/>
          </ac:spMkLst>
        </pc:spChg>
        <pc:spChg chg="add del mod modVis">
          <ac:chgData name="Matthäus Alberding" userId="89cdd4c9-d044-4ab4-9e6f-8f065e0119c4" providerId="ADAL" clId="{B6745356-B6CF-45AA-ADCC-AC8F740A00DA}" dt="2022-07-27T06:49:35.572" v="97843"/>
          <ac:spMkLst>
            <pc:docMk/>
            <pc:sldMk cId="178057191" sldId="565"/>
            <ac:spMk id="13" creationId="{C7DC316A-9E8E-49AE-AADA-CA96B85A91DF}"/>
          </ac:spMkLst>
        </pc:spChg>
        <pc:spChg chg="add del mod modVis">
          <ac:chgData name="Matthäus Alberding" userId="89cdd4c9-d044-4ab4-9e6f-8f065e0119c4" providerId="ADAL" clId="{B6745356-B6CF-45AA-ADCC-AC8F740A00DA}" dt="2022-07-21T08:56:05.257" v="2105"/>
          <ac:spMkLst>
            <pc:docMk/>
            <pc:sldMk cId="178057191" sldId="565"/>
            <ac:spMk id="15" creationId="{02BB9338-88F6-4D99-B5A6-38BBA0D045C4}"/>
          </ac:spMkLst>
        </pc:spChg>
        <pc:spChg chg="add del mod modVis">
          <ac:chgData name="Matthäus Alberding" userId="89cdd4c9-d044-4ab4-9e6f-8f065e0119c4" providerId="ADAL" clId="{B6745356-B6CF-45AA-ADCC-AC8F740A00DA}" dt="2022-07-27T06:49:37.181" v="97886"/>
          <ac:spMkLst>
            <pc:docMk/>
            <pc:sldMk cId="178057191" sldId="565"/>
            <ac:spMk id="15" creationId="{454E2704-CD5C-4D6D-8FF3-4A893219B7FA}"/>
          </ac:spMkLst>
        </pc:spChg>
        <pc:spChg chg="add del mod modVis">
          <ac:chgData name="Matthäus Alberding" userId="89cdd4c9-d044-4ab4-9e6f-8f065e0119c4" providerId="ADAL" clId="{B6745356-B6CF-45AA-ADCC-AC8F740A00DA}" dt="2022-07-21T08:56:07.709" v="2164"/>
          <ac:spMkLst>
            <pc:docMk/>
            <pc:sldMk cId="178057191" sldId="565"/>
            <ac:spMk id="16" creationId="{940FEF4D-6D32-43E0-9C87-F289958BE340}"/>
          </ac:spMkLst>
        </pc:spChg>
        <pc:spChg chg="add del mod modVis">
          <ac:chgData name="Matthäus Alberding" userId="89cdd4c9-d044-4ab4-9e6f-8f065e0119c4" providerId="ADAL" clId="{B6745356-B6CF-45AA-ADCC-AC8F740A00DA}" dt="2022-07-27T06:49:38.149" v="97929"/>
          <ac:spMkLst>
            <pc:docMk/>
            <pc:sldMk cId="178057191" sldId="565"/>
            <ac:spMk id="16" creationId="{C56D45C4-BFD3-479A-A0B2-402144E13E47}"/>
          </ac:spMkLst>
        </pc:spChg>
        <pc:spChg chg="add del mod modVis">
          <ac:chgData name="Matthäus Alberding" userId="89cdd4c9-d044-4ab4-9e6f-8f065e0119c4" providerId="ADAL" clId="{B6745356-B6CF-45AA-ADCC-AC8F740A00DA}" dt="2022-07-27T06:49:39.297" v="97973"/>
          <ac:spMkLst>
            <pc:docMk/>
            <pc:sldMk cId="178057191" sldId="565"/>
            <ac:spMk id="35" creationId="{D4159D62-D14A-4F10-AC3C-E6EE75DA9B7A}"/>
          </ac:spMkLst>
        </pc:spChg>
        <pc:spChg chg="add del mod modVis">
          <ac:chgData name="Matthäus Alberding" userId="89cdd4c9-d044-4ab4-9e6f-8f065e0119c4" providerId="ADAL" clId="{B6745356-B6CF-45AA-ADCC-AC8F740A00DA}" dt="2022-07-21T08:56:08.877" v="2211"/>
          <ac:spMkLst>
            <pc:docMk/>
            <pc:sldMk cId="178057191" sldId="565"/>
            <ac:spMk id="35" creationId="{F36390D9-AF2A-46F2-83D7-20B398D866AB}"/>
          </ac:spMkLst>
        </pc:spChg>
        <pc:spChg chg="add del mod modVis">
          <ac:chgData name="Matthäus Alberding" userId="89cdd4c9-d044-4ab4-9e6f-8f065e0119c4" providerId="ADAL" clId="{B6745356-B6CF-45AA-ADCC-AC8F740A00DA}" dt="2022-07-27T06:49:40.630" v="98020"/>
          <ac:spMkLst>
            <pc:docMk/>
            <pc:sldMk cId="178057191" sldId="565"/>
            <ac:spMk id="36" creationId="{62A7A22A-75C2-4EC8-A886-7945686AE9AB}"/>
          </ac:spMkLst>
        </pc:spChg>
        <pc:spChg chg="add mod">
          <ac:chgData name="Matthäus Alberding" userId="89cdd4c9-d044-4ab4-9e6f-8f065e0119c4" providerId="ADAL" clId="{B6745356-B6CF-45AA-ADCC-AC8F740A00DA}" dt="2022-07-21T09:03:30.855" v="3601" actId="14100"/>
          <ac:spMkLst>
            <pc:docMk/>
            <pc:sldMk cId="178057191" sldId="565"/>
            <ac:spMk id="43" creationId="{5798FDDB-E240-4C98-A315-0C6FCB3C71C6}"/>
          </ac:spMkLst>
        </pc:spChg>
        <pc:spChg chg="add mod">
          <ac:chgData name="Matthäus Alberding" userId="89cdd4c9-d044-4ab4-9e6f-8f065e0119c4" providerId="ADAL" clId="{B6745356-B6CF-45AA-ADCC-AC8F740A00DA}" dt="2022-07-27T06:49:00.290" v="97476"/>
          <ac:spMkLst>
            <pc:docMk/>
            <pc:sldMk cId="178057191" sldId="565"/>
            <ac:spMk id="44" creationId="{58143732-4798-44AC-A6CA-228D2D196045}"/>
          </ac:spMkLst>
        </pc:spChg>
        <pc:spChg chg="add del mod modVis">
          <ac:chgData name="Matthäus Alberding" userId="89cdd4c9-d044-4ab4-9e6f-8f065e0119c4" providerId="ADAL" clId="{B6745356-B6CF-45AA-ADCC-AC8F740A00DA}" dt="2022-07-27T06:49:42.602" v="98070"/>
          <ac:spMkLst>
            <pc:docMk/>
            <pc:sldMk cId="178057191" sldId="565"/>
            <ac:spMk id="45" creationId="{46607660-D484-4D4A-807D-656389DD832C}"/>
          </ac:spMkLst>
        </pc:spChg>
        <pc:spChg chg="add del mod modVis">
          <ac:chgData name="Matthäus Alberding" userId="89cdd4c9-d044-4ab4-9e6f-8f065e0119c4" providerId="ADAL" clId="{B6745356-B6CF-45AA-ADCC-AC8F740A00DA}" dt="2022-07-27T06:49:44.514" v="98113"/>
          <ac:spMkLst>
            <pc:docMk/>
            <pc:sldMk cId="178057191" sldId="565"/>
            <ac:spMk id="46" creationId="{98F4213E-7982-4F18-84B3-1A0FFA9A5B88}"/>
          </ac:spMkLst>
        </pc:spChg>
        <pc:spChg chg="add del mod modVis">
          <ac:chgData name="Matthäus Alberding" userId="89cdd4c9-d044-4ab4-9e6f-8f065e0119c4" providerId="ADAL" clId="{B6745356-B6CF-45AA-ADCC-AC8F740A00DA}" dt="2022-07-27T06:49:47.338" v="98163"/>
          <ac:spMkLst>
            <pc:docMk/>
            <pc:sldMk cId="178057191" sldId="565"/>
            <ac:spMk id="47" creationId="{3A05523F-9681-444D-BDC2-36B864AC0B51}"/>
          </ac:spMkLst>
        </pc:spChg>
        <pc:spChg chg="add del mod modVis">
          <ac:chgData name="Matthäus Alberding" userId="89cdd4c9-d044-4ab4-9e6f-8f065e0119c4" providerId="ADAL" clId="{B6745356-B6CF-45AA-ADCC-AC8F740A00DA}" dt="2022-07-27T06:49:51.730" v="98206"/>
          <ac:spMkLst>
            <pc:docMk/>
            <pc:sldMk cId="178057191" sldId="565"/>
            <ac:spMk id="48" creationId="{457FC0E0-9E23-4AFE-B71D-88C19A5D0716}"/>
          </ac:spMkLst>
        </pc:spChg>
        <pc:spChg chg="add del mod modVis">
          <ac:chgData name="Matthäus Alberding" userId="89cdd4c9-d044-4ab4-9e6f-8f065e0119c4" providerId="ADAL" clId="{B6745356-B6CF-45AA-ADCC-AC8F740A00DA}" dt="2022-07-27T06:49:54.213" v="98252"/>
          <ac:spMkLst>
            <pc:docMk/>
            <pc:sldMk cId="178057191" sldId="565"/>
            <ac:spMk id="49" creationId="{64E066E1-CA17-48D7-A788-157CE87FD8F2}"/>
          </ac:spMkLst>
        </pc:spChg>
        <pc:graphicFrameChg chg="mod">
          <ac:chgData name="Matthäus Alberding" userId="89cdd4c9-d044-4ab4-9e6f-8f065e0119c4" providerId="ADAL" clId="{B6745356-B6CF-45AA-ADCC-AC8F740A00DA}" dt="2022-07-27T06:49:54.214" v="98254"/>
          <ac:graphicFrameMkLst>
            <pc:docMk/>
            <pc:sldMk cId="178057191" sldId="565"/>
            <ac:graphicFrameMk id="5" creationId="{89E74261-E511-44ED-9C0A-31E2001EFAD7}"/>
          </ac:graphicFrameMkLst>
        </pc:graphicFrameChg>
        <pc:picChg chg="add mod">
          <ac:chgData name="Matthäus Alberding" userId="89cdd4c9-d044-4ab4-9e6f-8f065e0119c4" providerId="ADAL" clId="{B6745356-B6CF-45AA-ADCC-AC8F740A00DA}" dt="2022-07-21T08:59:35.626" v="3493" actId="1076"/>
          <ac:picMkLst>
            <pc:docMk/>
            <pc:sldMk cId="178057191" sldId="565"/>
            <ac:picMk id="37" creationId="{23E3EBAB-A7C0-4044-8BB2-9A6A4F73E40A}"/>
          </ac:picMkLst>
        </pc:picChg>
        <pc:picChg chg="add mod">
          <ac:chgData name="Matthäus Alberding" userId="89cdd4c9-d044-4ab4-9e6f-8f065e0119c4" providerId="ADAL" clId="{B6745356-B6CF-45AA-ADCC-AC8F740A00DA}" dt="2022-07-21T08:59:33.701" v="3492" actId="1076"/>
          <ac:picMkLst>
            <pc:docMk/>
            <pc:sldMk cId="178057191" sldId="565"/>
            <ac:picMk id="38" creationId="{8FDCF43A-6F50-4EC6-8EE9-E0581539BD22}"/>
          </ac:picMkLst>
        </pc:picChg>
        <pc:picChg chg="add mod">
          <ac:chgData name="Matthäus Alberding" userId="89cdd4c9-d044-4ab4-9e6f-8f065e0119c4" providerId="ADAL" clId="{B6745356-B6CF-45AA-ADCC-AC8F740A00DA}" dt="2022-07-21T08:59:39.240" v="3495" actId="1076"/>
          <ac:picMkLst>
            <pc:docMk/>
            <pc:sldMk cId="178057191" sldId="565"/>
            <ac:picMk id="39" creationId="{2D1C7623-657C-4D1B-87E8-60F23F7EF4F6}"/>
          </ac:picMkLst>
        </pc:picChg>
        <pc:picChg chg="add mod">
          <ac:chgData name="Matthäus Alberding" userId="89cdd4c9-d044-4ab4-9e6f-8f065e0119c4" providerId="ADAL" clId="{B6745356-B6CF-45AA-ADCC-AC8F740A00DA}" dt="2022-07-21T09:02:52.755" v="3578" actId="1076"/>
          <ac:picMkLst>
            <pc:docMk/>
            <pc:sldMk cId="178057191" sldId="565"/>
            <ac:picMk id="40" creationId="{B38E5212-266C-4F96-A7DD-85C9D4D29AC2}"/>
          </ac:picMkLst>
        </pc:picChg>
        <pc:picChg chg="add mod">
          <ac:chgData name="Matthäus Alberding" userId="89cdd4c9-d044-4ab4-9e6f-8f065e0119c4" providerId="ADAL" clId="{B6745356-B6CF-45AA-ADCC-AC8F740A00DA}" dt="2022-07-21T09:01:22.688" v="3544" actId="1076"/>
          <ac:picMkLst>
            <pc:docMk/>
            <pc:sldMk cId="178057191" sldId="565"/>
            <ac:picMk id="41" creationId="{79948B42-8F88-4C49-BCC2-AFA929D2BD04}"/>
          </ac:picMkLst>
        </pc:picChg>
        <pc:picChg chg="add mod">
          <ac:chgData name="Matthäus Alberding" userId="89cdd4c9-d044-4ab4-9e6f-8f065e0119c4" providerId="ADAL" clId="{B6745356-B6CF-45AA-ADCC-AC8F740A00DA}" dt="2022-07-21T08:59:47.641" v="3501" actId="1076"/>
          <ac:picMkLst>
            <pc:docMk/>
            <pc:sldMk cId="178057191" sldId="565"/>
            <ac:picMk id="42" creationId="{F9457072-05AE-4039-AE51-B587BC0D8C4D}"/>
          </ac:picMkLst>
        </pc:picChg>
      </pc:sldChg>
      <pc:sldChg chg="addSp delSp modSp add del mod">
        <pc:chgData name="Matthäus Alberding" userId="89cdd4c9-d044-4ab4-9e6f-8f065e0119c4" providerId="ADAL" clId="{B6745356-B6CF-45AA-ADCC-AC8F740A00DA}" dt="2022-07-26T15:13:17.009" v="82021"/>
        <pc:sldMkLst>
          <pc:docMk/>
          <pc:sldMk cId="4008774106" sldId="566"/>
        </pc:sldMkLst>
        <pc:spChg chg="mod">
          <ac:chgData name="Matthäus Alberding" userId="89cdd4c9-d044-4ab4-9e6f-8f065e0119c4" providerId="ADAL" clId="{B6745356-B6CF-45AA-ADCC-AC8F740A00DA}" dt="2022-07-26T15:13:16.990" v="81980" actId="948"/>
          <ac:spMkLst>
            <pc:docMk/>
            <pc:sldMk cId="4008774106" sldId="566"/>
            <ac:spMk id="2" creationId="{569CA801-327F-4052-B457-71B5ECCE0B14}"/>
          </ac:spMkLst>
        </pc:spChg>
        <pc:spChg chg="add del mod modVis">
          <ac:chgData name="Matthäus Alberding" userId="89cdd4c9-d044-4ab4-9e6f-8f065e0119c4" providerId="ADAL" clId="{B6745356-B6CF-45AA-ADCC-AC8F740A00DA}" dt="2022-07-26T15:13:14.459" v="81974"/>
          <ac:spMkLst>
            <pc:docMk/>
            <pc:sldMk cId="4008774106" sldId="566"/>
            <ac:spMk id="3" creationId="{EA5E9817-A9E3-4E74-90B8-870ED6E2BD34}"/>
          </ac:spMkLst>
        </pc:spChg>
        <pc:spChg chg="mod">
          <ac:chgData name="Matthäus Alberding" userId="89cdd4c9-d044-4ab4-9e6f-8f065e0119c4" providerId="ADAL" clId="{B6745356-B6CF-45AA-ADCC-AC8F740A00DA}" dt="2022-07-26T15:13:01.853" v="81919" actId="20577"/>
          <ac:spMkLst>
            <pc:docMk/>
            <pc:sldMk cId="4008774106" sldId="566"/>
            <ac:spMk id="4" creationId="{B3F2F4D8-367F-416E-BF7D-333952DA95C3}"/>
          </ac:spMkLst>
        </pc:spChg>
        <pc:spChg chg="mod">
          <ac:chgData name="Matthäus Alberding" userId="89cdd4c9-d044-4ab4-9e6f-8f065e0119c4" providerId="ADAL" clId="{B6745356-B6CF-45AA-ADCC-AC8F740A00DA}" dt="2022-07-26T15:13:08.382" v="81920"/>
          <ac:spMkLst>
            <pc:docMk/>
            <pc:sldMk cId="4008774106" sldId="566"/>
            <ac:spMk id="6" creationId="{A1ADADFE-9045-4552-BCA1-52D558216D7A}"/>
          </ac:spMkLst>
        </pc:spChg>
        <pc:spChg chg="add del mod modVis">
          <ac:chgData name="Matthäus Alberding" userId="89cdd4c9-d044-4ab4-9e6f-8f065e0119c4" providerId="ADAL" clId="{B6745356-B6CF-45AA-ADCC-AC8F740A00DA}" dt="2022-07-26T15:13:17.008" v="82019"/>
          <ac:spMkLst>
            <pc:docMk/>
            <pc:sldMk cId="4008774106" sldId="566"/>
            <ac:spMk id="8" creationId="{C4C41B1C-E762-4BE3-83D5-511174408460}"/>
          </ac:spMkLst>
        </pc:spChg>
        <pc:graphicFrameChg chg="mod">
          <ac:chgData name="Matthäus Alberding" userId="89cdd4c9-d044-4ab4-9e6f-8f065e0119c4" providerId="ADAL" clId="{B6745356-B6CF-45AA-ADCC-AC8F740A00DA}" dt="2022-07-26T15:13:17.009" v="82021"/>
          <ac:graphicFrameMkLst>
            <pc:docMk/>
            <pc:sldMk cId="4008774106" sldId="566"/>
            <ac:graphicFrameMk id="5" creationId="{B6D55896-BC28-4AEF-BCB6-53E215EEC87F}"/>
          </ac:graphicFrameMkLst>
        </pc:graphicFrameChg>
      </pc:sldChg>
      <pc:sldChg chg="del">
        <pc:chgData name="Matthäus Alberding" userId="89cdd4c9-d044-4ab4-9e6f-8f065e0119c4" providerId="ADAL" clId="{B6745356-B6CF-45AA-ADCC-AC8F740A00DA}" dt="2022-07-20T13:59:22.360" v="80" actId="47"/>
        <pc:sldMkLst>
          <pc:docMk/>
          <pc:sldMk cId="1972239033" sldId="577"/>
        </pc:sldMkLst>
      </pc:sldChg>
      <pc:sldChg chg="del">
        <pc:chgData name="Matthäus Alberding" userId="89cdd4c9-d044-4ab4-9e6f-8f065e0119c4" providerId="ADAL" clId="{B6745356-B6CF-45AA-ADCC-AC8F740A00DA}" dt="2022-07-20T13:59:09.270" v="76" actId="47"/>
        <pc:sldMkLst>
          <pc:docMk/>
          <pc:sldMk cId="1973527742" sldId="642"/>
        </pc:sldMkLst>
      </pc:sldChg>
      <pc:sldChg chg="del">
        <pc:chgData name="Matthäus Alberding" userId="89cdd4c9-d044-4ab4-9e6f-8f065e0119c4" providerId="ADAL" clId="{B6745356-B6CF-45AA-ADCC-AC8F740A00DA}" dt="2022-07-20T13:59:18.837" v="79" actId="47"/>
        <pc:sldMkLst>
          <pc:docMk/>
          <pc:sldMk cId="1482361209" sldId="647"/>
        </pc:sldMkLst>
      </pc:sldChg>
      <pc:sldChg chg="del">
        <pc:chgData name="Matthäus Alberding" userId="89cdd4c9-d044-4ab4-9e6f-8f065e0119c4" providerId="ADAL" clId="{B6745356-B6CF-45AA-ADCC-AC8F740A00DA}" dt="2022-07-20T14:01:25.510" v="262" actId="47"/>
        <pc:sldMkLst>
          <pc:docMk/>
          <pc:sldMk cId="2910025478" sldId="651"/>
        </pc:sldMkLst>
      </pc:sldChg>
      <pc:sldChg chg="del">
        <pc:chgData name="Matthäus Alberding" userId="89cdd4c9-d044-4ab4-9e6f-8f065e0119c4" providerId="ADAL" clId="{B6745356-B6CF-45AA-ADCC-AC8F740A00DA}" dt="2022-07-20T14:01:25.510" v="262" actId="47"/>
        <pc:sldMkLst>
          <pc:docMk/>
          <pc:sldMk cId="913529911" sldId="652"/>
        </pc:sldMkLst>
      </pc:sldChg>
      <pc:sldChg chg="del">
        <pc:chgData name="Matthäus Alberding" userId="89cdd4c9-d044-4ab4-9e6f-8f065e0119c4" providerId="ADAL" clId="{B6745356-B6CF-45AA-ADCC-AC8F740A00DA}" dt="2022-07-20T14:01:25.510" v="262" actId="47"/>
        <pc:sldMkLst>
          <pc:docMk/>
          <pc:sldMk cId="3461925633" sldId="653"/>
        </pc:sldMkLst>
      </pc:sldChg>
      <pc:sldChg chg="add del">
        <pc:chgData name="Matthäus Alberding" userId="89cdd4c9-d044-4ab4-9e6f-8f065e0119c4" providerId="ADAL" clId="{B6745356-B6CF-45AA-ADCC-AC8F740A00DA}" dt="2022-07-21T11:20:57.423" v="17500"/>
        <pc:sldMkLst>
          <pc:docMk/>
          <pc:sldMk cId="2519280010" sldId="654"/>
        </pc:sldMkLst>
      </pc:sldChg>
      <pc:sldChg chg="del">
        <pc:chgData name="Matthäus Alberding" userId="89cdd4c9-d044-4ab4-9e6f-8f065e0119c4" providerId="ADAL" clId="{B6745356-B6CF-45AA-ADCC-AC8F740A00DA}" dt="2022-07-20T13:59:09.880" v="77" actId="47"/>
        <pc:sldMkLst>
          <pc:docMk/>
          <pc:sldMk cId="258581808" sldId="658"/>
        </pc:sldMkLst>
      </pc:sldChg>
      <pc:sldChg chg="del">
        <pc:chgData name="Matthäus Alberding" userId="89cdd4c9-d044-4ab4-9e6f-8f065e0119c4" providerId="ADAL" clId="{B6745356-B6CF-45AA-ADCC-AC8F740A00DA}" dt="2022-07-20T13:59:11.366" v="78" actId="47"/>
        <pc:sldMkLst>
          <pc:docMk/>
          <pc:sldMk cId="118504574" sldId="660"/>
        </pc:sldMkLst>
      </pc:sldChg>
      <pc:sldChg chg="addSp delSp modSp mod modTransition modShow">
        <pc:chgData name="Matthäus Alberding" userId="89cdd4c9-d044-4ab4-9e6f-8f065e0119c4" providerId="ADAL" clId="{B6745356-B6CF-45AA-ADCC-AC8F740A00DA}" dt="2022-07-22T17:03:35.181" v="58181" actId="20577"/>
        <pc:sldMkLst>
          <pc:docMk/>
          <pc:sldMk cId="1089109717" sldId="661"/>
        </pc:sldMkLst>
        <pc:spChg chg="add del mod modVis">
          <ac:chgData name="Matthäus Alberding" userId="89cdd4c9-d044-4ab4-9e6f-8f065e0119c4" providerId="ADAL" clId="{B6745356-B6CF-45AA-ADCC-AC8F740A00DA}" dt="2022-07-20T14:01:56.337" v="339"/>
          <ac:spMkLst>
            <pc:docMk/>
            <pc:sldMk cId="1089109717" sldId="661"/>
            <ac:spMk id="2" creationId="{55CB230E-B9EB-47A5-B11B-C19611EE73A4}"/>
          </ac:spMkLst>
        </pc:spChg>
        <pc:spChg chg="mod">
          <ac:chgData name="Matthäus Alberding" userId="89cdd4c9-d044-4ab4-9e6f-8f065e0119c4" providerId="ADAL" clId="{B6745356-B6CF-45AA-ADCC-AC8F740A00DA}" dt="2022-07-20T14:01:56.317" v="300" actId="948"/>
          <ac:spMkLst>
            <pc:docMk/>
            <pc:sldMk cId="1089109717" sldId="661"/>
            <ac:spMk id="3" creationId="{AC2BEAC0-53D3-482D-8FC6-A295480EB54F}"/>
          </ac:spMkLst>
        </pc:spChg>
        <pc:spChg chg="mod">
          <ac:chgData name="Matthäus Alberding" userId="89cdd4c9-d044-4ab4-9e6f-8f065e0119c4" providerId="ADAL" clId="{B6745356-B6CF-45AA-ADCC-AC8F740A00DA}" dt="2022-07-22T17:03:35.181" v="58181" actId="20577"/>
          <ac:spMkLst>
            <pc:docMk/>
            <pc:sldMk cId="1089109717" sldId="661"/>
            <ac:spMk id="6" creationId="{FBF71B20-B1E9-4121-B2D6-C1EAF17C5271}"/>
          </ac:spMkLst>
        </pc:spChg>
        <pc:graphicFrameChg chg="mod">
          <ac:chgData name="Matthäus Alberding" userId="89cdd4c9-d044-4ab4-9e6f-8f065e0119c4" providerId="ADAL" clId="{B6745356-B6CF-45AA-ADCC-AC8F740A00DA}" dt="2022-07-20T14:01:56.345" v="341"/>
          <ac:graphicFrameMkLst>
            <pc:docMk/>
            <pc:sldMk cId="1089109717" sldId="661"/>
            <ac:graphicFrameMk id="8" creationId="{058341CE-7C75-4573-BE16-669B403E498D}"/>
          </ac:graphicFrameMkLst>
        </pc:graphicFrameChg>
      </pc:sldChg>
      <pc:sldChg chg="modSp new add del mod modTransition modShow">
        <pc:chgData name="Matthäus Alberding" userId="89cdd4c9-d044-4ab4-9e6f-8f065e0119c4" providerId="ADAL" clId="{B6745356-B6CF-45AA-ADCC-AC8F740A00DA}" dt="2022-07-27T07:41:15.724" v="99584" actId="47"/>
        <pc:sldMkLst>
          <pc:docMk/>
          <pc:sldMk cId="3164247959" sldId="662"/>
        </pc:sldMkLst>
        <pc:spChg chg="mod">
          <ac:chgData name="Matthäus Alberding" userId="89cdd4c9-d044-4ab4-9e6f-8f065e0119c4" providerId="ADAL" clId="{B6745356-B6CF-45AA-ADCC-AC8F740A00DA}" dt="2022-07-27T07:35:12.540" v="99413" actId="6549"/>
          <ac:spMkLst>
            <pc:docMk/>
            <pc:sldMk cId="3164247959" sldId="662"/>
            <ac:spMk id="5" creationId="{3C2C7ACF-3EA6-4304-8260-C6AE59D10311}"/>
          </ac:spMkLst>
        </pc:spChg>
        <pc:spChg chg="mod">
          <ac:chgData name="Matthäus Alberding" userId="89cdd4c9-d044-4ab4-9e6f-8f065e0119c4" providerId="ADAL" clId="{B6745356-B6CF-45AA-ADCC-AC8F740A00DA}" dt="2022-07-20T14:01:42.965" v="282" actId="20577"/>
          <ac:spMkLst>
            <pc:docMk/>
            <pc:sldMk cId="3164247959" sldId="662"/>
            <ac:spMk id="6" creationId="{DC4F2C3F-2A0A-48A8-B395-440D234F6478}"/>
          </ac:spMkLst>
        </pc:spChg>
      </pc:sldChg>
      <pc:sldChg chg="addSp delSp modSp del mod">
        <pc:chgData name="Matthäus Alberding" userId="89cdd4c9-d044-4ab4-9e6f-8f065e0119c4" providerId="ADAL" clId="{B6745356-B6CF-45AA-ADCC-AC8F740A00DA}" dt="2022-07-20T14:01:19.991" v="261" actId="47"/>
        <pc:sldMkLst>
          <pc:docMk/>
          <pc:sldMk cId="3910053772" sldId="662"/>
        </pc:sldMkLst>
        <pc:spChg chg="add del mod modVis">
          <ac:chgData name="Matthäus Alberding" userId="89cdd4c9-d044-4ab4-9e6f-8f065e0119c4" providerId="ADAL" clId="{B6745356-B6CF-45AA-ADCC-AC8F740A00DA}" dt="2022-07-20T13:59:39.692" v="135"/>
          <ac:spMkLst>
            <pc:docMk/>
            <pc:sldMk cId="3910053772" sldId="662"/>
            <ac:spMk id="2" creationId="{40C241DF-70CE-43C5-A612-698A283D9880}"/>
          </ac:spMkLst>
        </pc:spChg>
        <pc:spChg chg="mod">
          <ac:chgData name="Matthäus Alberding" userId="89cdd4c9-d044-4ab4-9e6f-8f065e0119c4" providerId="ADAL" clId="{B6745356-B6CF-45AA-ADCC-AC8F740A00DA}" dt="2022-07-20T13:59:39.674" v="96" actId="948"/>
          <ac:spMkLst>
            <pc:docMk/>
            <pc:sldMk cId="3910053772" sldId="662"/>
            <ac:spMk id="3" creationId="{AC2BEAC0-53D3-482D-8FC6-A295480EB54F}"/>
          </ac:spMkLst>
        </pc:spChg>
        <pc:spChg chg="mod">
          <ac:chgData name="Matthäus Alberding" userId="89cdd4c9-d044-4ab4-9e6f-8f065e0119c4" providerId="ADAL" clId="{B6745356-B6CF-45AA-ADCC-AC8F740A00DA}" dt="2022-07-20T14:00:49.192" v="259" actId="20577"/>
          <ac:spMkLst>
            <pc:docMk/>
            <pc:sldMk cId="3910053772" sldId="662"/>
            <ac:spMk id="6" creationId="{FBF71B20-B1E9-4121-B2D6-C1EAF17C5271}"/>
          </ac:spMkLst>
        </pc:spChg>
        <pc:spChg chg="mod">
          <ac:chgData name="Matthäus Alberding" userId="89cdd4c9-d044-4ab4-9e6f-8f065e0119c4" providerId="ADAL" clId="{B6745356-B6CF-45AA-ADCC-AC8F740A00DA}" dt="2022-07-20T13:59:46.689" v="138"/>
          <ac:spMkLst>
            <pc:docMk/>
            <pc:sldMk cId="3910053772" sldId="662"/>
            <ac:spMk id="10" creationId="{CB2B51DA-D203-46A9-AAF9-D66D3B8FC890}"/>
          </ac:spMkLst>
        </pc:spChg>
        <pc:spChg chg="mod">
          <ac:chgData name="Matthäus Alberding" userId="89cdd4c9-d044-4ab4-9e6f-8f065e0119c4" providerId="ADAL" clId="{B6745356-B6CF-45AA-ADCC-AC8F740A00DA}" dt="2022-07-20T13:59:46.689" v="138"/>
          <ac:spMkLst>
            <pc:docMk/>
            <pc:sldMk cId="3910053772" sldId="662"/>
            <ac:spMk id="11" creationId="{2A736CCD-7D11-4B50-8E6A-D5F4FF89F836}"/>
          </ac:spMkLst>
        </pc:spChg>
        <pc:spChg chg="mod">
          <ac:chgData name="Matthäus Alberding" userId="89cdd4c9-d044-4ab4-9e6f-8f065e0119c4" providerId="ADAL" clId="{B6745356-B6CF-45AA-ADCC-AC8F740A00DA}" dt="2022-07-20T13:59:46.689" v="138"/>
          <ac:spMkLst>
            <pc:docMk/>
            <pc:sldMk cId="3910053772" sldId="662"/>
            <ac:spMk id="13" creationId="{C67FE4A3-C3B8-425F-8297-9272A7396852}"/>
          </ac:spMkLst>
        </pc:spChg>
        <pc:spChg chg="mod">
          <ac:chgData name="Matthäus Alberding" userId="89cdd4c9-d044-4ab4-9e6f-8f065e0119c4" providerId="ADAL" clId="{B6745356-B6CF-45AA-ADCC-AC8F740A00DA}" dt="2022-07-20T13:59:46.689" v="138"/>
          <ac:spMkLst>
            <pc:docMk/>
            <pc:sldMk cId="3910053772" sldId="662"/>
            <ac:spMk id="14" creationId="{F98DE6D5-188E-41C5-A13C-BCB430BB3F6E}"/>
          </ac:spMkLst>
        </pc:spChg>
        <pc:spChg chg="mod">
          <ac:chgData name="Matthäus Alberding" userId="89cdd4c9-d044-4ab4-9e6f-8f065e0119c4" providerId="ADAL" clId="{B6745356-B6CF-45AA-ADCC-AC8F740A00DA}" dt="2022-07-20T13:59:46.689" v="138"/>
          <ac:spMkLst>
            <pc:docMk/>
            <pc:sldMk cId="3910053772" sldId="662"/>
            <ac:spMk id="16" creationId="{AF027C1B-6856-4136-A289-E7C460F5F7B2}"/>
          </ac:spMkLst>
        </pc:spChg>
        <pc:spChg chg="mod">
          <ac:chgData name="Matthäus Alberding" userId="89cdd4c9-d044-4ab4-9e6f-8f065e0119c4" providerId="ADAL" clId="{B6745356-B6CF-45AA-ADCC-AC8F740A00DA}" dt="2022-07-20T13:59:46.689" v="138"/>
          <ac:spMkLst>
            <pc:docMk/>
            <pc:sldMk cId="3910053772" sldId="662"/>
            <ac:spMk id="17" creationId="{21218D30-F7AD-4D0A-8EB7-A49EE0673597}"/>
          </ac:spMkLst>
        </pc:spChg>
        <pc:spChg chg="mod">
          <ac:chgData name="Matthäus Alberding" userId="89cdd4c9-d044-4ab4-9e6f-8f065e0119c4" providerId="ADAL" clId="{B6745356-B6CF-45AA-ADCC-AC8F740A00DA}" dt="2022-07-20T13:59:51.354" v="141"/>
          <ac:spMkLst>
            <pc:docMk/>
            <pc:sldMk cId="3910053772" sldId="662"/>
            <ac:spMk id="19" creationId="{A439AFDB-DA5C-4FBE-8A41-D9EB72A7EDD8}"/>
          </ac:spMkLst>
        </pc:spChg>
        <pc:spChg chg="mod">
          <ac:chgData name="Matthäus Alberding" userId="89cdd4c9-d044-4ab4-9e6f-8f065e0119c4" providerId="ADAL" clId="{B6745356-B6CF-45AA-ADCC-AC8F740A00DA}" dt="2022-07-20T13:59:51.354" v="141"/>
          <ac:spMkLst>
            <pc:docMk/>
            <pc:sldMk cId="3910053772" sldId="662"/>
            <ac:spMk id="20" creationId="{48E3AC9D-6D16-4A35-8C95-4DA8AFBE31F9}"/>
          </ac:spMkLst>
        </pc:spChg>
        <pc:spChg chg="mod">
          <ac:chgData name="Matthäus Alberding" userId="89cdd4c9-d044-4ab4-9e6f-8f065e0119c4" providerId="ADAL" clId="{B6745356-B6CF-45AA-ADCC-AC8F740A00DA}" dt="2022-07-20T13:59:51.354" v="141"/>
          <ac:spMkLst>
            <pc:docMk/>
            <pc:sldMk cId="3910053772" sldId="662"/>
            <ac:spMk id="22" creationId="{EE841A1D-B44D-416F-BA45-D1919729EBE4}"/>
          </ac:spMkLst>
        </pc:spChg>
        <pc:spChg chg="mod">
          <ac:chgData name="Matthäus Alberding" userId="89cdd4c9-d044-4ab4-9e6f-8f065e0119c4" providerId="ADAL" clId="{B6745356-B6CF-45AA-ADCC-AC8F740A00DA}" dt="2022-07-20T13:59:51.354" v="141"/>
          <ac:spMkLst>
            <pc:docMk/>
            <pc:sldMk cId="3910053772" sldId="662"/>
            <ac:spMk id="23" creationId="{76269635-1005-4622-B67C-1C56FBA773BB}"/>
          </ac:spMkLst>
        </pc:spChg>
        <pc:spChg chg="mod">
          <ac:chgData name="Matthäus Alberding" userId="89cdd4c9-d044-4ab4-9e6f-8f065e0119c4" providerId="ADAL" clId="{B6745356-B6CF-45AA-ADCC-AC8F740A00DA}" dt="2022-07-20T13:59:51.354" v="141"/>
          <ac:spMkLst>
            <pc:docMk/>
            <pc:sldMk cId="3910053772" sldId="662"/>
            <ac:spMk id="25" creationId="{4C8EC310-6C55-4D6B-92B9-15BD6EF70F64}"/>
          </ac:spMkLst>
        </pc:spChg>
        <pc:spChg chg="mod">
          <ac:chgData name="Matthäus Alberding" userId="89cdd4c9-d044-4ab4-9e6f-8f065e0119c4" providerId="ADAL" clId="{B6745356-B6CF-45AA-ADCC-AC8F740A00DA}" dt="2022-07-20T13:59:51.354" v="141"/>
          <ac:spMkLst>
            <pc:docMk/>
            <pc:sldMk cId="3910053772" sldId="662"/>
            <ac:spMk id="26" creationId="{949FB374-2B90-46A7-B6F5-BACE56A20BC4}"/>
          </ac:spMkLst>
        </pc:spChg>
        <pc:grpChg chg="add del mod">
          <ac:chgData name="Matthäus Alberding" userId="89cdd4c9-d044-4ab4-9e6f-8f065e0119c4" providerId="ADAL" clId="{B6745356-B6CF-45AA-ADCC-AC8F740A00DA}" dt="2022-07-20T13:59:51.036" v="140" actId="478"/>
          <ac:grpSpMkLst>
            <pc:docMk/>
            <pc:sldMk cId="3910053772" sldId="662"/>
            <ac:grpSpMk id="9" creationId="{5C9BC227-1C50-460D-9BA0-C005A823FCCD}"/>
          </ac:grpSpMkLst>
        </pc:grpChg>
        <pc:grpChg chg="add del mod">
          <ac:chgData name="Matthäus Alberding" userId="89cdd4c9-d044-4ab4-9e6f-8f065e0119c4" providerId="ADAL" clId="{B6745356-B6CF-45AA-ADCC-AC8F740A00DA}" dt="2022-07-20T13:59:51.036" v="140" actId="478"/>
          <ac:grpSpMkLst>
            <pc:docMk/>
            <pc:sldMk cId="3910053772" sldId="662"/>
            <ac:grpSpMk id="12" creationId="{BEA74619-5264-476C-9FC5-68E2CE5B9819}"/>
          </ac:grpSpMkLst>
        </pc:grpChg>
        <pc:grpChg chg="add del mod">
          <ac:chgData name="Matthäus Alberding" userId="89cdd4c9-d044-4ab4-9e6f-8f065e0119c4" providerId="ADAL" clId="{B6745356-B6CF-45AA-ADCC-AC8F740A00DA}" dt="2022-07-20T13:59:51.036" v="140" actId="478"/>
          <ac:grpSpMkLst>
            <pc:docMk/>
            <pc:sldMk cId="3910053772" sldId="662"/>
            <ac:grpSpMk id="15" creationId="{23D66F63-D102-42ED-8A8D-914D9B05E1F9}"/>
          </ac:grpSpMkLst>
        </pc:grpChg>
        <pc:grpChg chg="add del mod">
          <ac:chgData name="Matthäus Alberding" userId="89cdd4c9-d044-4ab4-9e6f-8f065e0119c4" providerId="ADAL" clId="{B6745356-B6CF-45AA-ADCC-AC8F740A00DA}" dt="2022-07-20T13:59:53.273" v="142"/>
          <ac:grpSpMkLst>
            <pc:docMk/>
            <pc:sldMk cId="3910053772" sldId="662"/>
            <ac:grpSpMk id="18" creationId="{1FD49112-6D49-4932-B749-F38AB546BFA0}"/>
          </ac:grpSpMkLst>
        </pc:grpChg>
        <pc:grpChg chg="add del mod">
          <ac:chgData name="Matthäus Alberding" userId="89cdd4c9-d044-4ab4-9e6f-8f065e0119c4" providerId="ADAL" clId="{B6745356-B6CF-45AA-ADCC-AC8F740A00DA}" dt="2022-07-20T13:59:53.273" v="142"/>
          <ac:grpSpMkLst>
            <pc:docMk/>
            <pc:sldMk cId="3910053772" sldId="662"/>
            <ac:grpSpMk id="21" creationId="{03FB4090-793E-4298-93E3-98B63AD98393}"/>
          </ac:grpSpMkLst>
        </pc:grpChg>
        <pc:grpChg chg="add del mod">
          <ac:chgData name="Matthäus Alberding" userId="89cdd4c9-d044-4ab4-9e6f-8f065e0119c4" providerId="ADAL" clId="{B6745356-B6CF-45AA-ADCC-AC8F740A00DA}" dt="2022-07-20T13:59:53.273" v="142"/>
          <ac:grpSpMkLst>
            <pc:docMk/>
            <pc:sldMk cId="3910053772" sldId="662"/>
            <ac:grpSpMk id="24" creationId="{16FC7CB9-407E-4121-97CF-2A3E62564C85}"/>
          </ac:grpSpMkLst>
        </pc:grpChg>
        <pc:graphicFrameChg chg="mod">
          <ac:chgData name="Matthäus Alberding" userId="89cdd4c9-d044-4ab4-9e6f-8f065e0119c4" providerId="ADAL" clId="{B6745356-B6CF-45AA-ADCC-AC8F740A00DA}" dt="2022-07-20T13:59:39.693" v="137"/>
          <ac:graphicFrameMkLst>
            <pc:docMk/>
            <pc:sldMk cId="3910053772" sldId="662"/>
            <ac:graphicFrameMk id="8" creationId="{058341CE-7C75-4573-BE16-669B403E498D}"/>
          </ac:graphicFrameMkLst>
        </pc:graphicFrameChg>
        <pc:picChg chg="add del mod">
          <ac:chgData name="Matthäus Alberding" userId="89cdd4c9-d044-4ab4-9e6f-8f065e0119c4" providerId="ADAL" clId="{B6745356-B6CF-45AA-ADCC-AC8F740A00DA}" dt="2022-07-20T14:01:13.925" v="260" actId="478"/>
          <ac:picMkLst>
            <pc:docMk/>
            <pc:sldMk cId="3910053772" sldId="662"/>
            <ac:picMk id="27" creationId="{BD371326-077F-4815-A798-1879D0513C07}"/>
          </ac:picMkLst>
        </pc:picChg>
      </pc:sldChg>
      <pc:sldChg chg="addSp delSp modSp add mod modTransition modShow">
        <pc:chgData name="Matthäus Alberding" userId="89cdd4c9-d044-4ab4-9e6f-8f065e0119c4" providerId="ADAL" clId="{B6745356-B6CF-45AA-ADCC-AC8F740A00DA}" dt="2022-07-22T17:03:45.215" v="58182" actId="20577"/>
        <pc:sldMkLst>
          <pc:docMk/>
          <pc:sldMk cId="1149244847" sldId="663"/>
        </pc:sldMkLst>
        <pc:spChg chg="add del mod modVis">
          <ac:chgData name="Matthäus Alberding" userId="89cdd4c9-d044-4ab4-9e6f-8f065e0119c4" providerId="ADAL" clId="{B6745356-B6CF-45AA-ADCC-AC8F740A00DA}" dt="2022-07-20T14:02:07.032" v="406"/>
          <ac:spMkLst>
            <pc:docMk/>
            <pc:sldMk cId="1149244847" sldId="663"/>
            <ac:spMk id="2" creationId="{ABCEBCD3-05DE-44FE-B917-5A01A9BD2EC8}"/>
          </ac:spMkLst>
        </pc:spChg>
        <pc:spChg chg="mod">
          <ac:chgData name="Matthäus Alberding" userId="89cdd4c9-d044-4ab4-9e6f-8f065e0119c4" providerId="ADAL" clId="{B6745356-B6CF-45AA-ADCC-AC8F740A00DA}" dt="2022-07-20T14:02:07.014" v="367" actId="948"/>
          <ac:spMkLst>
            <pc:docMk/>
            <pc:sldMk cId="1149244847" sldId="663"/>
            <ac:spMk id="3" creationId="{AC2BEAC0-53D3-482D-8FC6-A295480EB54F}"/>
          </ac:spMkLst>
        </pc:spChg>
        <pc:spChg chg="mod">
          <ac:chgData name="Matthäus Alberding" userId="89cdd4c9-d044-4ab4-9e6f-8f065e0119c4" providerId="ADAL" clId="{B6745356-B6CF-45AA-ADCC-AC8F740A00DA}" dt="2022-07-22T17:03:45.215" v="58182" actId="20577"/>
          <ac:spMkLst>
            <pc:docMk/>
            <pc:sldMk cId="1149244847" sldId="663"/>
            <ac:spMk id="6" creationId="{FBF71B20-B1E9-4121-B2D6-C1EAF17C5271}"/>
          </ac:spMkLst>
        </pc:spChg>
        <pc:graphicFrameChg chg="mod">
          <ac:chgData name="Matthäus Alberding" userId="89cdd4c9-d044-4ab4-9e6f-8f065e0119c4" providerId="ADAL" clId="{B6745356-B6CF-45AA-ADCC-AC8F740A00DA}" dt="2022-07-20T14:02:07.036" v="408"/>
          <ac:graphicFrameMkLst>
            <pc:docMk/>
            <pc:sldMk cId="1149244847" sldId="663"/>
            <ac:graphicFrameMk id="8" creationId="{058341CE-7C75-4573-BE16-669B403E498D}"/>
          </ac:graphicFrameMkLst>
        </pc:graphicFrameChg>
      </pc:sldChg>
      <pc:sldChg chg="addSp delSp modSp add mod modTransition modShow">
        <pc:chgData name="Matthäus Alberding" userId="89cdd4c9-d044-4ab4-9e6f-8f065e0119c4" providerId="ADAL" clId="{B6745356-B6CF-45AA-ADCC-AC8F740A00DA}" dt="2022-07-22T17:03:49.961" v="58183" actId="20577"/>
        <pc:sldMkLst>
          <pc:docMk/>
          <pc:sldMk cId="453578960" sldId="664"/>
        </pc:sldMkLst>
        <pc:spChg chg="add del mod modVis">
          <ac:chgData name="Matthäus Alberding" userId="89cdd4c9-d044-4ab4-9e6f-8f065e0119c4" providerId="ADAL" clId="{B6745356-B6CF-45AA-ADCC-AC8F740A00DA}" dt="2022-07-20T14:02:12.658" v="462"/>
          <ac:spMkLst>
            <pc:docMk/>
            <pc:sldMk cId="453578960" sldId="664"/>
            <ac:spMk id="2" creationId="{C9CCFEF1-9347-4C69-8274-CEFE450C28A3}"/>
          </ac:spMkLst>
        </pc:spChg>
        <pc:spChg chg="mod">
          <ac:chgData name="Matthäus Alberding" userId="89cdd4c9-d044-4ab4-9e6f-8f065e0119c4" providerId="ADAL" clId="{B6745356-B6CF-45AA-ADCC-AC8F740A00DA}" dt="2022-07-20T14:02:12.640" v="423" actId="948"/>
          <ac:spMkLst>
            <pc:docMk/>
            <pc:sldMk cId="453578960" sldId="664"/>
            <ac:spMk id="3" creationId="{AC2BEAC0-53D3-482D-8FC6-A295480EB54F}"/>
          </ac:spMkLst>
        </pc:spChg>
        <pc:spChg chg="mod">
          <ac:chgData name="Matthäus Alberding" userId="89cdd4c9-d044-4ab4-9e6f-8f065e0119c4" providerId="ADAL" clId="{B6745356-B6CF-45AA-ADCC-AC8F740A00DA}" dt="2022-07-22T17:03:49.961" v="58183" actId="20577"/>
          <ac:spMkLst>
            <pc:docMk/>
            <pc:sldMk cId="453578960" sldId="664"/>
            <ac:spMk id="6" creationId="{FBF71B20-B1E9-4121-B2D6-C1EAF17C5271}"/>
          </ac:spMkLst>
        </pc:spChg>
        <pc:graphicFrameChg chg="mod">
          <ac:chgData name="Matthäus Alberding" userId="89cdd4c9-d044-4ab4-9e6f-8f065e0119c4" providerId="ADAL" clId="{B6745356-B6CF-45AA-ADCC-AC8F740A00DA}" dt="2022-07-20T14:02:12.660" v="464"/>
          <ac:graphicFrameMkLst>
            <pc:docMk/>
            <pc:sldMk cId="453578960" sldId="664"/>
            <ac:graphicFrameMk id="8" creationId="{058341CE-7C75-4573-BE16-669B403E498D}"/>
          </ac:graphicFrameMkLst>
        </pc:graphicFrameChg>
      </pc:sldChg>
      <pc:sldChg chg="addSp delSp modSp add mod ord">
        <pc:chgData name="Matthäus Alberding" userId="89cdd4c9-d044-4ab4-9e6f-8f065e0119c4" providerId="ADAL" clId="{B6745356-B6CF-45AA-ADCC-AC8F740A00DA}" dt="2022-07-21T08:49:22.913" v="1091" actId="20577"/>
        <pc:sldMkLst>
          <pc:docMk/>
          <pc:sldMk cId="3103249456" sldId="665"/>
        </pc:sldMkLst>
        <pc:spChg chg="add del mod modVis">
          <ac:chgData name="Matthäus Alberding" userId="89cdd4c9-d044-4ab4-9e6f-8f065e0119c4" providerId="ADAL" clId="{B6745356-B6CF-45AA-ADCC-AC8F740A00DA}" dt="2022-07-21T08:45:04.350" v="613"/>
          <ac:spMkLst>
            <pc:docMk/>
            <pc:sldMk cId="3103249456" sldId="665"/>
            <ac:spMk id="2" creationId="{2847F65A-17C1-4EBD-9FA2-2443AD31DBCE}"/>
          </ac:spMkLst>
        </pc:spChg>
        <pc:spChg chg="mod">
          <ac:chgData name="Matthäus Alberding" userId="89cdd4c9-d044-4ab4-9e6f-8f065e0119c4" providerId="ADAL" clId="{B6745356-B6CF-45AA-ADCC-AC8F740A00DA}" dt="2022-07-21T08:48:54.747" v="1043" actId="948"/>
          <ac:spMkLst>
            <pc:docMk/>
            <pc:sldMk cId="3103249456" sldId="665"/>
            <ac:spMk id="3" creationId="{AC2BEAC0-53D3-482D-8FC6-A295480EB54F}"/>
          </ac:spMkLst>
        </pc:spChg>
        <pc:spChg chg="mod">
          <ac:chgData name="Matthäus Alberding" userId="89cdd4c9-d044-4ab4-9e6f-8f065e0119c4" providerId="ADAL" clId="{B6745356-B6CF-45AA-ADCC-AC8F740A00DA}" dt="2022-07-21T08:49:22.913" v="1091" actId="20577"/>
          <ac:spMkLst>
            <pc:docMk/>
            <pc:sldMk cId="3103249456" sldId="665"/>
            <ac:spMk id="6" creationId="{FBF71B20-B1E9-4121-B2D6-C1EAF17C5271}"/>
          </ac:spMkLst>
        </pc:spChg>
        <pc:spChg chg="add del mod modVis">
          <ac:chgData name="Matthäus Alberding" userId="89cdd4c9-d044-4ab4-9e6f-8f065e0119c4" providerId="ADAL" clId="{B6745356-B6CF-45AA-ADCC-AC8F740A00DA}" dt="2022-07-21T08:45:41.273" v="665"/>
          <ac:spMkLst>
            <pc:docMk/>
            <pc:sldMk cId="3103249456" sldId="665"/>
            <ac:spMk id="9" creationId="{BCA96534-DFF5-43E1-ADD0-88B8FE0DE47B}"/>
          </ac:spMkLst>
        </pc:spChg>
        <pc:spChg chg="add del mod modVis">
          <ac:chgData name="Matthäus Alberding" userId="89cdd4c9-d044-4ab4-9e6f-8f065e0119c4" providerId="ADAL" clId="{B6745356-B6CF-45AA-ADCC-AC8F740A00DA}" dt="2022-07-21T08:45:42.043" v="708"/>
          <ac:spMkLst>
            <pc:docMk/>
            <pc:sldMk cId="3103249456" sldId="665"/>
            <ac:spMk id="10" creationId="{69CEDF87-006C-4F2B-A5BE-5836E237DD4E}"/>
          </ac:spMkLst>
        </pc:spChg>
        <pc:spChg chg="add del mod modVis">
          <ac:chgData name="Matthäus Alberding" userId="89cdd4c9-d044-4ab4-9e6f-8f065e0119c4" providerId="ADAL" clId="{B6745356-B6CF-45AA-ADCC-AC8F740A00DA}" dt="2022-07-21T08:47:53.875" v="806"/>
          <ac:spMkLst>
            <pc:docMk/>
            <pc:sldMk cId="3103249456" sldId="665"/>
            <ac:spMk id="11" creationId="{0025B241-C5F3-4A17-A17D-DCCE0D4499AA}"/>
          </ac:spMkLst>
        </pc:spChg>
        <pc:spChg chg="add del mod modVis">
          <ac:chgData name="Matthäus Alberding" userId="89cdd4c9-d044-4ab4-9e6f-8f065e0119c4" providerId="ADAL" clId="{B6745356-B6CF-45AA-ADCC-AC8F740A00DA}" dt="2022-07-21T08:47:56.754" v="864"/>
          <ac:spMkLst>
            <pc:docMk/>
            <pc:sldMk cId="3103249456" sldId="665"/>
            <ac:spMk id="12" creationId="{AE3CE846-921E-4F1D-AB68-EACA0563EE32}"/>
          </ac:spMkLst>
        </pc:spChg>
        <pc:spChg chg="add del mod modVis">
          <ac:chgData name="Matthäus Alberding" userId="89cdd4c9-d044-4ab4-9e6f-8f065e0119c4" providerId="ADAL" clId="{B6745356-B6CF-45AA-ADCC-AC8F740A00DA}" dt="2022-07-21T08:48:03.371" v="916"/>
          <ac:spMkLst>
            <pc:docMk/>
            <pc:sldMk cId="3103249456" sldId="665"/>
            <ac:spMk id="13" creationId="{F9F3AF67-F76F-4F26-8B4D-2CD8859DA3C1}"/>
          </ac:spMkLst>
        </pc:spChg>
        <pc:spChg chg="add del mod modVis">
          <ac:chgData name="Matthäus Alberding" userId="89cdd4c9-d044-4ab4-9e6f-8f065e0119c4" providerId="ADAL" clId="{B6745356-B6CF-45AA-ADCC-AC8F740A00DA}" dt="2022-07-21T08:48:51.615" v="984"/>
          <ac:spMkLst>
            <pc:docMk/>
            <pc:sldMk cId="3103249456" sldId="665"/>
            <ac:spMk id="14" creationId="{36E26701-4465-4336-AC39-792A9408C15A}"/>
          </ac:spMkLst>
        </pc:spChg>
        <pc:spChg chg="add del mod modVis">
          <ac:chgData name="Matthäus Alberding" userId="89cdd4c9-d044-4ab4-9e6f-8f065e0119c4" providerId="ADAL" clId="{B6745356-B6CF-45AA-ADCC-AC8F740A00DA}" dt="2022-07-21T08:48:54.193" v="1039"/>
          <ac:spMkLst>
            <pc:docMk/>
            <pc:sldMk cId="3103249456" sldId="665"/>
            <ac:spMk id="15" creationId="{439A8994-EDD6-4968-87E4-9C2858DBC284}"/>
          </ac:spMkLst>
        </pc:spChg>
        <pc:spChg chg="add del mod modVis">
          <ac:chgData name="Matthäus Alberding" userId="89cdd4c9-d044-4ab4-9e6f-8f065e0119c4" providerId="ADAL" clId="{B6745356-B6CF-45AA-ADCC-AC8F740A00DA}" dt="2022-07-21T08:48:54.763" v="1082"/>
          <ac:spMkLst>
            <pc:docMk/>
            <pc:sldMk cId="3103249456" sldId="665"/>
            <ac:spMk id="16" creationId="{DB883DB5-189C-4551-A386-53B268E08377}"/>
          </ac:spMkLst>
        </pc:spChg>
        <pc:graphicFrameChg chg="mod">
          <ac:chgData name="Matthäus Alberding" userId="89cdd4c9-d044-4ab4-9e6f-8f065e0119c4" providerId="ADAL" clId="{B6745356-B6CF-45AA-ADCC-AC8F740A00DA}" dt="2022-07-21T08:48:54.764" v="1084"/>
          <ac:graphicFrameMkLst>
            <pc:docMk/>
            <pc:sldMk cId="3103249456" sldId="665"/>
            <ac:graphicFrameMk id="8" creationId="{058341CE-7C75-4573-BE16-669B403E498D}"/>
          </ac:graphicFrameMkLst>
        </pc:graphicFrameChg>
      </pc:sldChg>
      <pc:sldChg chg="addSp delSp modSp new add mod chgLayout">
        <pc:chgData name="Matthäus Alberding" userId="89cdd4c9-d044-4ab4-9e6f-8f065e0119c4" providerId="ADAL" clId="{B6745356-B6CF-45AA-ADCC-AC8F740A00DA}" dt="2022-07-28T09:29:10.552" v="101236" actId="1076"/>
        <pc:sldMkLst>
          <pc:docMk/>
          <pc:sldMk cId="1830380410" sldId="666"/>
        </pc:sldMkLst>
        <pc:spChg chg="add del mod modVis">
          <ac:chgData name="Matthäus Alberding" userId="89cdd4c9-d044-4ab4-9e6f-8f065e0119c4" providerId="ADAL" clId="{B6745356-B6CF-45AA-ADCC-AC8F740A00DA}" dt="2022-07-28T07:28:26.755" v="101033"/>
          <ac:spMkLst>
            <pc:docMk/>
            <pc:sldMk cId="1830380410" sldId="666"/>
            <ac:spMk id="2" creationId="{4B564045-DF4C-4F67-9D56-BF104BDB200B}"/>
          </ac:spMkLst>
        </pc:spChg>
        <pc:spChg chg="del">
          <ac:chgData name="Matthäus Alberding" userId="89cdd4c9-d044-4ab4-9e6f-8f065e0119c4" providerId="ADAL" clId="{B6745356-B6CF-45AA-ADCC-AC8F740A00DA}" dt="2022-07-21T09:10:34.021" v="3722"/>
          <ac:spMkLst>
            <pc:docMk/>
            <pc:sldMk cId="1830380410" sldId="666"/>
            <ac:spMk id="2" creationId="{5C873F53-C7A4-4AE0-A43A-76374A0E46FB}"/>
          </ac:spMkLst>
        </pc:spChg>
        <pc:spChg chg="add del mod modVis">
          <ac:chgData name="Matthäus Alberding" userId="89cdd4c9-d044-4ab4-9e6f-8f065e0119c4" providerId="ADAL" clId="{B6745356-B6CF-45AA-ADCC-AC8F740A00DA}" dt="2022-07-27T07:30:57.497" v="98907"/>
          <ac:spMkLst>
            <pc:docMk/>
            <pc:sldMk cId="1830380410" sldId="666"/>
            <ac:spMk id="2" creationId="{AE1D5E1B-CBF0-4A37-9F6C-0FCD344D3B2F}"/>
          </ac:spMkLst>
        </pc:spChg>
        <pc:spChg chg="add del mod modVis">
          <ac:chgData name="Matthäus Alberding" userId="89cdd4c9-d044-4ab4-9e6f-8f065e0119c4" providerId="ADAL" clId="{B6745356-B6CF-45AA-ADCC-AC8F740A00DA}" dt="2022-07-27T07:30:59.256" v="98959"/>
          <ac:spMkLst>
            <pc:docMk/>
            <pc:sldMk cId="1830380410" sldId="666"/>
            <ac:spMk id="3" creationId="{5B342EC3-3C93-43FC-9E60-0FFB2F9DF719}"/>
          </ac:spMkLst>
        </pc:spChg>
        <pc:spChg chg="del">
          <ac:chgData name="Matthäus Alberding" userId="89cdd4c9-d044-4ab4-9e6f-8f065e0119c4" providerId="ADAL" clId="{B6745356-B6CF-45AA-ADCC-AC8F740A00DA}" dt="2022-07-21T09:10:34.021" v="3722"/>
          <ac:spMkLst>
            <pc:docMk/>
            <pc:sldMk cId="1830380410" sldId="666"/>
            <ac:spMk id="3" creationId="{E50178A0-416C-433D-8BD0-3F4992F5208D}"/>
          </ac:spMkLst>
        </pc:spChg>
        <pc:spChg chg="mod ord">
          <ac:chgData name="Matthäus Alberding" userId="89cdd4c9-d044-4ab4-9e6f-8f065e0119c4" providerId="ADAL" clId="{B6745356-B6CF-45AA-ADCC-AC8F740A00DA}" dt="2022-07-21T09:10:37.092" v="3739"/>
          <ac:spMkLst>
            <pc:docMk/>
            <pc:sldMk cId="1830380410" sldId="666"/>
            <ac:spMk id="4" creationId="{979FCDD2-E429-48A8-B6EC-DF93426E1003}"/>
          </ac:spMkLst>
        </pc:spChg>
        <pc:spChg chg="mod ord">
          <ac:chgData name="Matthäus Alberding" userId="89cdd4c9-d044-4ab4-9e6f-8f065e0119c4" providerId="ADAL" clId="{B6745356-B6CF-45AA-ADCC-AC8F740A00DA}" dt="2022-07-21T09:10:37.092" v="3739"/>
          <ac:spMkLst>
            <pc:docMk/>
            <pc:sldMk cId="1830380410" sldId="666"/>
            <ac:spMk id="5" creationId="{8BCAF7DA-B9F8-4655-9B54-4DF987DE3E91}"/>
          </ac:spMkLst>
        </pc:spChg>
        <pc:spChg chg="add del mod modVis">
          <ac:chgData name="Matthäus Alberding" userId="89cdd4c9-d044-4ab4-9e6f-8f065e0119c4" providerId="ADAL" clId="{B6745356-B6CF-45AA-ADCC-AC8F740A00DA}" dt="2022-07-27T07:31:00.778" v="99005"/>
          <ac:spMkLst>
            <pc:docMk/>
            <pc:sldMk cId="1830380410" sldId="666"/>
            <ac:spMk id="6" creationId="{52470860-6BBE-420D-806F-3458BD201862}"/>
          </ac:spMkLst>
        </pc:spChg>
        <pc:spChg chg="del">
          <ac:chgData name="Matthäus Alberding" userId="89cdd4c9-d044-4ab4-9e6f-8f065e0119c4" providerId="ADAL" clId="{B6745356-B6CF-45AA-ADCC-AC8F740A00DA}" dt="2022-07-21T09:10:34.021" v="3722"/>
          <ac:spMkLst>
            <pc:docMk/>
            <pc:sldMk cId="1830380410" sldId="666"/>
            <ac:spMk id="6" creationId="{6E13CA13-9763-4E33-9A67-0C2F11AB1EF5}"/>
          </ac:spMkLst>
        </pc:spChg>
        <pc:spChg chg="add mod ord">
          <ac:chgData name="Matthäus Alberding" userId="89cdd4c9-d044-4ab4-9e6f-8f065e0119c4" providerId="ADAL" clId="{B6745356-B6CF-45AA-ADCC-AC8F740A00DA}" dt="2022-07-28T07:28:26.736" v="100994" actId="948"/>
          <ac:spMkLst>
            <pc:docMk/>
            <pc:sldMk cId="1830380410" sldId="666"/>
            <ac:spMk id="8" creationId="{91F6D949-63C3-418C-BE2D-2B199B96AC86}"/>
          </ac:spMkLst>
        </pc:spChg>
        <pc:spChg chg="add mod ord">
          <ac:chgData name="Matthäus Alberding" userId="89cdd4c9-d044-4ab4-9e6f-8f065e0119c4" providerId="ADAL" clId="{B6745356-B6CF-45AA-ADCC-AC8F740A00DA}" dt="2022-07-21T10:18:29.572" v="15610"/>
          <ac:spMkLst>
            <pc:docMk/>
            <pc:sldMk cId="1830380410" sldId="666"/>
            <ac:spMk id="9" creationId="{5908BD69-D6A4-4EB7-9D12-2E7F5BC9BEE4}"/>
          </ac:spMkLst>
        </pc:spChg>
        <pc:spChg chg="add del mod">
          <ac:chgData name="Matthäus Alberding" userId="89cdd4c9-d044-4ab4-9e6f-8f065e0119c4" providerId="ADAL" clId="{B6745356-B6CF-45AA-ADCC-AC8F740A00DA}" dt="2022-07-21T09:11:18.377" v="3754" actId="478"/>
          <ac:spMkLst>
            <pc:docMk/>
            <pc:sldMk cId="1830380410" sldId="666"/>
            <ac:spMk id="10" creationId="{9040F902-07D9-446A-A340-3CAFA1C56600}"/>
          </ac:spMkLst>
        </pc:spChg>
        <pc:spChg chg="add del mod modVis">
          <ac:chgData name="Matthäus Alberding" userId="89cdd4c9-d044-4ab4-9e6f-8f065e0119c4" providerId="ADAL" clId="{B6745356-B6CF-45AA-ADCC-AC8F740A00DA}" dt="2022-07-27T07:31:02.793" v="99048"/>
          <ac:spMkLst>
            <pc:docMk/>
            <pc:sldMk cId="1830380410" sldId="666"/>
            <ac:spMk id="10" creationId="{94AA0A18-1676-40B3-92F1-245271AF387E}"/>
          </ac:spMkLst>
        </pc:spChg>
        <pc:spChg chg="add del mod">
          <ac:chgData name="Matthäus Alberding" userId="89cdd4c9-d044-4ab4-9e6f-8f065e0119c4" providerId="ADAL" clId="{B6745356-B6CF-45AA-ADCC-AC8F740A00DA}" dt="2022-07-21T09:11:15.845" v="3753" actId="478"/>
          <ac:spMkLst>
            <pc:docMk/>
            <pc:sldMk cId="1830380410" sldId="666"/>
            <ac:spMk id="11" creationId="{23B00E66-5E57-46E3-99F8-C4DA535B2030}"/>
          </ac:spMkLst>
        </pc:spChg>
        <pc:spChg chg="add mod">
          <ac:chgData name="Matthäus Alberding" userId="89cdd4c9-d044-4ab4-9e6f-8f065e0119c4" providerId="ADAL" clId="{B6745356-B6CF-45AA-ADCC-AC8F740A00DA}" dt="2022-07-28T09:29:10.552" v="101236" actId="1076"/>
          <ac:spMkLst>
            <pc:docMk/>
            <pc:sldMk cId="1830380410" sldId="666"/>
            <ac:spMk id="11" creationId="{27B0B28A-07B4-44D2-B6C1-3CC44CDEB507}"/>
          </ac:spMkLst>
        </pc:spChg>
        <pc:spChg chg="add del mod modVis">
          <ac:chgData name="Matthäus Alberding" userId="89cdd4c9-d044-4ab4-9e6f-8f065e0119c4" providerId="ADAL" clId="{B6745356-B6CF-45AA-ADCC-AC8F740A00DA}" dt="2022-07-27T07:31:04.457" v="99094"/>
          <ac:spMkLst>
            <pc:docMk/>
            <pc:sldMk cId="1830380410" sldId="666"/>
            <ac:spMk id="11" creationId="{E6FCD386-0D72-4F44-BB64-EC9CEBD235B7}"/>
          </ac:spMkLst>
        </pc:spChg>
        <pc:spChg chg="add del mod modVis">
          <ac:chgData name="Matthäus Alberding" userId="89cdd4c9-d044-4ab4-9e6f-8f065e0119c4" providerId="ADAL" clId="{B6745356-B6CF-45AA-ADCC-AC8F740A00DA}" dt="2022-07-27T07:31:05.200" v="99137"/>
          <ac:spMkLst>
            <pc:docMk/>
            <pc:sldMk cId="1830380410" sldId="666"/>
            <ac:spMk id="12" creationId="{E85BB9AA-8C09-4514-A7B0-0E0691BDD394}"/>
          </ac:spMkLst>
        </pc:spChg>
        <pc:spChg chg="add del mod modVis">
          <ac:chgData name="Matthäus Alberding" userId="89cdd4c9-d044-4ab4-9e6f-8f065e0119c4" providerId="ADAL" clId="{B6745356-B6CF-45AA-ADCC-AC8F740A00DA}" dt="2022-07-27T07:31:10.440" v="99181"/>
          <ac:spMkLst>
            <pc:docMk/>
            <pc:sldMk cId="1830380410" sldId="666"/>
            <ac:spMk id="13" creationId="{5F3D5203-CBE3-471A-9EF4-31E8B1089720}"/>
          </ac:spMkLst>
        </pc:spChg>
        <pc:spChg chg="add del mod">
          <ac:chgData name="Matthäus Alberding" userId="89cdd4c9-d044-4ab4-9e6f-8f065e0119c4" providerId="ADAL" clId="{B6745356-B6CF-45AA-ADCC-AC8F740A00DA}" dt="2022-07-21T09:10:47.685" v="3743" actId="478"/>
          <ac:spMkLst>
            <pc:docMk/>
            <pc:sldMk cId="1830380410" sldId="666"/>
            <ac:spMk id="13" creationId="{D10363A4-3752-4758-A8DD-F025D6D9B990}"/>
          </ac:spMkLst>
        </pc:spChg>
        <pc:spChg chg="add del mod">
          <ac:chgData name="Matthäus Alberding" userId="89cdd4c9-d044-4ab4-9e6f-8f065e0119c4" providerId="ADAL" clId="{B6745356-B6CF-45AA-ADCC-AC8F740A00DA}" dt="2022-07-21T09:10:47.685" v="3743" actId="478"/>
          <ac:spMkLst>
            <pc:docMk/>
            <pc:sldMk cId="1830380410" sldId="666"/>
            <ac:spMk id="14" creationId="{A3E82200-82E3-4C1F-AF5E-B4E30849D199}"/>
          </ac:spMkLst>
        </pc:spChg>
        <pc:spChg chg="add del mod modVis">
          <ac:chgData name="Matthäus Alberding" userId="89cdd4c9-d044-4ab4-9e6f-8f065e0119c4" providerId="ADAL" clId="{B6745356-B6CF-45AA-ADCC-AC8F740A00DA}" dt="2022-07-27T07:31:25.036" v="99224"/>
          <ac:spMkLst>
            <pc:docMk/>
            <pc:sldMk cId="1830380410" sldId="666"/>
            <ac:spMk id="14" creationId="{B6256B57-C4A3-4AF0-9835-7C08F84B9F63}"/>
          </ac:spMkLst>
        </pc:spChg>
        <pc:spChg chg="add del mod modVis">
          <ac:chgData name="Matthäus Alberding" userId="89cdd4c9-d044-4ab4-9e6f-8f065e0119c4" providerId="ADAL" clId="{B6745356-B6CF-45AA-ADCC-AC8F740A00DA}" dt="2022-07-27T07:31:26.119" v="99267"/>
          <ac:spMkLst>
            <pc:docMk/>
            <pc:sldMk cId="1830380410" sldId="666"/>
            <ac:spMk id="15" creationId="{16CB1F0F-3097-4F3A-83EA-D932C8556341}"/>
          </ac:spMkLst>
        </pc:spChg>
        <pc:spChg chg="add del mod modVis">
          <ac:chgData name="Matthäus Alberding" userId="89cdd4c9-d044-4ab4-9e6f-8f065e0119c4" providerId="ADAL" clId="{B6745356-B6CF-45AA-ADCC-AC8F740A00DA}" dt="2022-07-27T07:31:26.911" v="99310"/>
          <ac:spMkLst>
            <pc:docMk/>
            <pc:sldMk cId="1830380410" sldId="666"/>
            <ac:spMk id="16" creationId="{E0CCDAB2-D604-4649-868F-4F7089EA29E6}"/>
          </ac:spMkLst>
        </pc:spChg>
        <pc:spChg chg="add del mod">
          <ac:chgData name="Matthäus Alberding" userId="89cdd4c9-d044-4ab4-9e6f-8f065e0119c4" providerId="ADAL" clId="{B6745356-B6CF-45AA-ADCC-AC8F740A00DA}" dt="2022-07-21T09:12:03.419" v="3761" actId="478"/>
          <ac:spMkLst>
            <pc:docMk/>
            <pc:sldMk cId="1830380410" sldId="666"/>
            <ac:spMk id="16" creationId="{EB8D0B4B-886D-4375-A0D1-FCD334A2751B}"/>
          </ac:spMkLst>
        </pc:spChg>
        <pc:spChg chg="add del mod">
          <ac:chgData name="Matthäus Alberding" userId="89cdd4c9-d044-4ab4-9e6f-8f065e0119c4" providerId="ADAL" clId="{B6745356-B6CF-45AA-ADCC-AC8F740A00DA}" dt="2022-07-21T10:34:10.180" v="17198" actId="21"/>
          <ac:spMkLst>
            <pc:docMk/>
            <pc:sldMk cId="1830380410" sldId="666"/>
            <ac:spMk id="17" creationId="{8DB6AF1C-3485-42C3-82A2-84DE81F61D79}"/>
          </ac:spMkLst>
        </pc:spChg>
        <pc:spChg chg="add mod">
          <ac:chgData name="Matthäus Alberding" userId="89cdd4c9-d044-4ab4-9e6f-8f065e0119c4" providerId="ADAL" clId="{B6745356-B6CF-45AA-ADCC-AC8F740A00DA}" dt="2022-07-21T10:42:06.861" v="17461" actId="2711"/>
          <ac:spMkLst>
            <pc:docMk/>
            <pc:sldMk cId="1830380410" sldId="666"/>
            <ac:spMk id="18" creationId="{ACA568DC-185D-4A87-B529-E8944A833CAB}"/>
          </ac:spMkLst>
        </pc:spChg>
        <pc:spChg chg="add del mod">
          <ac:chgData name="Matthäus Alberding" userId="89cdd4c9-d044-4ab4-9e6f-8f065e0119c4" providerId="ADAL" clId="{B6745356-B6CF-45AA-ADCC-AC8F740A00DA}" dt="2022-07-21T09:12:39.279" v="3770" actId="478"/>
          <ac:spMkLst>
            <pc:docMk/>
            <pc:sldMk cId="1830380410" sldId="666"/>
            <ac:spMk id="19" creationId="{00CCA6F4-65F9-4448-8FEB-19C2F089AFD7}"/>
          </ac:spMkLst>
        </pc:spChg>
        <pc:spChg chg="add mod">
          <ac:chgData name="Matthäus Alberding" userId="89cdd4c9-d044-4ab4-9e6f-8f065e0119c4" providerId="ADAL" clId="{B6745356-B6CF-45AA-ADCC-AC8F740A00DA}" dt="2022-07-21T10:41:40.339" v="17451" actId="403"/>
          <ac:spMkLst>
            <pc:docMk/>
            <pc:sldMk cId="1830380410" sldId="666"/>
            <ac:spMk id="21" creationId="{8D6261D3-36E1-4098-81B0-618A6EBC631F}"/>
          </ac:spMkLst>
        </pc:spChg>
        <pc:spChg chg="add del mod modVis">
          <ac:chgData name="Matthäus Alberding" userId="89cdd4c9-d044-4ab4-9e6f-8f065e0119c4" providerId="ADAL" clId="{B6745356-B6CF-45AA-ADCC-AC8F740A00DA}" dt="2022-07-21T09:12:51.624" v="3832"/>
          <ac:spMkLst>
            <pc:docMk/>
            <pc:sldMk cId="1830380410" sldId="666"/>
            <ac:spMk id="22" creationId="{D787C1C6-843E-44F4-912A-F553298125A4}"/>
          </ac:spMkLst>
        </pc:spChg>
        <pc:spChg chg="add del mod modVis">
          <ac:chgData name="Matthäus Alberding" userId="89cdd4c9-d044-4ab4-9e6f-8f065e0119c4" providerId="ADAL" clId="{B6745356-B6CF-45AA-ADCC-AC8F740A00DA}" dt="2022-07-21T09:13:12.426" v="3879"/>
          <ac:spMkLst>
            <pc:docMk/>
            <pc:sldMk cId="1830380410" sldId="666"/>
            <ac:spMk id="23" creationId="{C9510AED-372C-4EA9-9B6E-48F6E9D26321}"/>
          </ac:spMkLst>
        </pc:spChg>
        <pc:spChg chg="add del mod modVis">
          <ac:chgData name="Matthäus Alberding" userId="89cdd4c9-d044-4ab4-9e6f-8f065e0119c4" providerId="ADAL" clId="{B6745356-B6CF-45AA-ADCC-AC8F740A00DA}" dt="2022-07-21T09:13:13.772" v="3929"/>
          <ac:spMkLst>
            <pc:docMk/>
            <pc:sldMk cId="1830380410" sldId="666"/>
            <ac:spMk id="24" creationId="{F50B9E79-89EB-4BE3-8323-6592E92B600E}"/>
          </ac:spMkLst>
        </pc:spChg>
        <pc:spChg chg="add del mod modVis">
          <ac:chgData name="Matthäus Alberding" userId="89cdd4c9-d044-4ab4-9e6f-8f065e0119c4" providerId="ADAL" clId="{B6745356-B6CF-45AA-ADCC-AC8F740A00DA}" dt="2022-07-21T09:13:35.429" v="3996"/>
          <ac:spMkLst>
            <pc:docMk/>
            <pc:sldMk cId="1830380410" sldId="666"/>
            <ac:spMk id="25" creationId="{BE7776BF-61CD-4584-BE08-1CC020E9D871}"/>
          </ac:spMkLst>
        </pc:spChg>
        <pc:spChg chg="add del mod modVis">
          <ac:chgData name="Matthäus Alberding" userId="89cdd4c9-d044-4ab4-9e6f-8f065e0119c4" providerId="ADAL" clId="{B6745356-B6CF-45AA-ADCC-AC8F740A00DA}" dt="2022-07-21T09:14:04.304" v="4039"/>
          <ac:spMkLst>
            <pc:docMk/>
            <pc:sldMk cId="1830380410" sldId="666"/>
            <ac:spMk id="26" creationId="{4320525E-B176-4028-A4A9-C7890A5F2C32}"/>
          </ac:spMkLst>
        </pc:spChg>
        <pc:spChg chg="add del mod modVis">
          <ac:chgData name="Matthäus Alberding" userId="89cdd4c9-d044-4ab4-9e6f-8f065e0119c4" providerId="ADAL" clId="{B6745356-B6CF-45AA-ADCC-AC8F740A00DA}" dt="2022-07-21T09:14:06.571" v="4090"/>
          <ac:spMkLst>
            <pc:docMk/>
            <pc:sldMk cId="1830380410" sldId="666"/>
            <ac:spMk id="27" creationId="{43CD029D-69D1-4279-BEE4-7910B355CCF5}"/>
          </ac:spMkLst>
        </pc:spChg>
        <pc:spChg chg="add del mod modVis">
          <ac:chgData name="Matthäus Alberding" userId="89cdd4c9-d044-4ab4-9e6f-8f065e0119c4" providerId="ADAL" clId="{B6745356-B6CF-45AA-ADCC-AC8F740A00DA}" dt="2022-07-21T09:14:07.466" v="4138"/>
          <ac:spMkLst>
            <pc:docMk/>
            <pc:sldMk cId="1830380410" sldId="666"/>
            <ac:spMk id="28" creationId="{0DCAE775-CAF6-4603-A774-4A3B066CBEEF}"/>
          </ac:spMkLst>
        </pc:spChg>
        <pc:spChg chg="add del mod modVis">
          <ac:chgData name="Matthäus Alberding" userId="89cdd4c9-d044-4ab4-9e6f-8f065e0119c4" providerId="ADAL" clId="{B6745356-B6CF-45AA-ADCC-AC8F740A00DA}" dt="2022-07-21T09:14:12.666" v="4202"/>
          <ac:spMkLst>
            <pc:docMk/>
            <pc:sldMk cId="1830380410" sldId="666"/>
            <ac:spMk id="29" creationId="{9ED54639-7996-4C90-AF73-9617AC64180A}"/>
          </ac:spMkLst>
        </pc:spChg>
        <pc:spChg chg="add del mod modVis">
          <ac:chgData name="Matthäus Alberding" userId="89cdd4c9-d044-4ab4-9e6f-8f065e0119c4" providerId="ADAL" clId="{B6745356-B6CF-45AA-ADCC-AC8F740A00DA}" dt="2022-07-21T09:14:13.307" v="4246"/>
          <ac:spMkLst>
            <pc:docMk/>
            <pc:sldMk cId="1830380410" sldId="666"/>
            <ac:spMk id="30" creationId="{FCF809BF-F522-4E9D-9922-55B4B44B1E2D}"/>
          </ac:spMkLst>
        </pc:spChg>
        <pc:spChg chg="add del mod modVis">
          <ac:chgData name="Matthäus Alberding" userId="89cdd4c9-d044-4ab4-9e6f-8f065e0119c4" providerId="ADAL" clId="{B6745356-B6CF-45AA-ADCC-AC8F740A00DA}" dt="2022-07-21T09:14:16.604" v="4289"/>
          <ac:spMkLst>
            <pc:docMk/>
            <pc:sldMk cId="1830380410" sldId="666"/>
            <ac:spMk id="31" creationId="{E67DE6D6-0E7B-4AEA-9C36-56C4C651657E}"/>
          </ac:spMkLst>
        </pc:spChg>
        <pc:spChg chg="del mod modVis">
          <ac:chgData name="Matthäus Alberding" userId="89cdd4c9-d044-4ab4-9e6f-8f065e0119c4" providerId="ADAL" clId="{B6745356-B6CF-45AA-ADCC-AC8F740A00DA}" dt="2022-07-21T09:14:23.793" v="4328" actId="478"/>
          <ac:spMkLst>
            <pc:docMk/>
            <pc:sldMk cId="1830380410" sldId="666"/>
            <ac:spMk id="32" creationId="{86B1EDBD-0657-4E28-962A-ABEAE686E370}"/>
          </ac:spMkLst>
        </pc:spChg>
        <pc:spChg chg="add del mod modVis">
          <ac:chgData name="Matthäus Alberding" userId="89cdd4c9-d044-4ab4-9e6f-8f065e0119c4" providerId="ADAL" clId="{B6745356-B6CF-45AA-ADCC-AC8F740A00DA}" dt="2022-07-21T09:14:26.468" v="4370"/>
          <ac:spMkLst>
            <pc:docMk/>
            <pc:sldMk cId="1830380410" sldId="666"/>
            <ac:spMk id="33" creationId="{DEF37450-0C51-41A4-9572-C08B67EEB67A}"/>
          </ac:spMkLst>
        </pc:spChg>
        <pc:spChg chg="add del mod modVis">
          <ac:chgData name="Matthäus Alberding" userId="89cdd4c9-d044-4ab4-9e6f-8f065e0119c4" providerId="ADAL" clId="{B6745356-B6CF-45AA-ADCC-AC8F740A00DA}" dt="2022-07-21T09:14:41.993" v="4416"/>
          <ac:spMkLst>
            <pc:docMk/>
            <pc:sldMk cId="1830380410" sldId="666"/>
            <ac:spMk id="34" creationId="{77D1A42F-16F9-4062-A125-3913A1C6A93B}"/>
          </ac:spMkLst>
        </pc:spChg>
        <pc:spChg chg="add del mod modVis">
          <ac:chgData name="Matthäus Alberding" userId="89cdd4c9-d044-4ab4-9e6f-8f065e0119c4" providerId="ADAL" clId="{B6745356-B6CF-45AA-ADCC-AC8F740A00DA}" dt="2022-07-21T09:14:52.011" v="4462"/>
          <ac:spMkLst>
            <pc:docMk/>
            <pc:sldMk cId="1830380410" sldId="666"/>
            <ac:spMk id="35" creationId="{775FF637-2786-482E-9809-C10217C994E5}"/>
          </ac:spMkLst>
        </pc:spChg>
        <pc:spChg chg="add del mod modVis">
          <ac:chgData name="Matthäus Alberding" userId="89cdd4c9-d044-4ab4-9e6f-8f065e0119c4" providerId="ADAL" clId="{B6745356-B6CF-45AA-ADCC-AC8F740A00DA}" dt="2022-07-21T09:15:01.593" v="4508"/>
          <ac:spMkLst>
            <pc:docMk/>
            <pc:sldMk cId="1830380410" sldId="666"/>
            <ac:spMk id="36" creationId="{2C67A17F-39E5-444F-BB91-D23A0C047171}"/>
          </ac:spMkLst>
        </pc:spChg>
        <pc:spChg chg="add del mod modVis">
          <ac:chgData name="Matthäus Alberding" userId="89cdd4c9-d044-4ab4-9e6f-8f065e0119c4" providerId="ADAL" clId="{B6745356-B6CF-45AA-ADCC-AC8F740A00DA}" dt="2022-07-21T09:15:02.765" v="4554"/>
          <ac:spMkLst>
            <pc:docMk/>
            <pc:sldMk cId="1830380410" sldId="666"/>
            <ac:spMk id="37" creationId="{810964DB-367E-41DD-852E-04B3CB9A08FD}"/>
          </ac:spMkLst>
        </pc:spChg>
        <pc:spChg chg="add del mod modVis">
          <ac:chgData name="Matthäus Alberding" userId="89cdd4c9-d044-4ab4-9e6f-8f065e0119c4" providerId="ADAL" clId="{B6745356-B6CF-45AA-ADCC-AC8F740A00DA}" dt="2022-07-21T09:15:09.701" v="4631"/>
          <ac:spMkLst>
            <pc:docMk/>
            <pc:sldMk cId="1830380410" sldId="666"/>
            <ac:spMk id="38" creationId="{862A94FD-57D7-476F-BAFF-A881955E4B6C}"/>
          </ac:spMkLst>
        </pc:spChg>
        <pc:spChg chg="add del mod modVis">
          <ac:chgData name="Matthäus Alberding" userId="89cdd4c9-d044-4ab4-9e6f-8f065e0119c4" providerId="ADAL" clId="{B6745356-B6CF-45AA-ADCC-AC8F740A00DA}" dt="2022-07-21T09:15:20.012" v="4675"/>
          <ac:spMkLst>
            <pc:docMk/>
            <pc:sldMk cId="1830380410" sldId="666"/>
            <ac:spMk id="39" creationId="{C6D47961-479F-43CA-A362-11A3A794C998}"/>
          </ac:spMkLst>
        </pc:spChg>
        <pc:spChg chg="add del mod modVis">
          <ac:chgData name="Matthäus Alberding" userId="89cdd4c9-d044-4ab4-9e6f-8f065e0119c4" providerId="ADAL" clId="{B6745356-B6CF-45AA-ADCC-AC8F740A00DA}" dt="2022-07-21T09:15:29.795" v="4786"/>
          <ac:spMkLst>
            <pc:docMk/>
            <pc:sldMk cId="1830380410" sldId="666"/>
            <ac:spMk id="40" creationId="{53EF11A0-4AC2-4D9D-82A5-427BD7389B98}"/>
          </ac:spMkLst>
        </pc:spChg>
        <pc:spChg chg="add del mod modVis">
          <ac:chgData name="Matthäus Alberding" userId="89cdd4c9-d044-4ab4-9e6f-8f065e0119c4" providerId="ADAL" clId="{B6745356-B6CF-45AA-ADCC-AC8F740A00DA}" dt="2022-07-21T09:15:35.348" v="4842"/>
          <ac:spMkLst>
            <pc:docMk/>
            <pc:sldMk cId="1830380410" sldId="666"/>
            <ac:spMk id="41" creationId="{318828C2-E8AD-4CB1-8B0C-606F57BC3885}"/>
          </ac:spMkLst>
        </pc:spChg>
        <pc:spChg chg="add del mod modVis">
          <ac:chgData name="Matthäus Alberding" userId="89cdd4c9-d044-4ab4-9e6f-8f065e0119c4" providerId="ADAL" clId="{B6745356-B6CF-45AA-ADCC-AC8F740A00DA}" dt="2022-07-21T09:15:37.941" v="4903"/>
          <ac:spMkLst>
            <pc:docMk/>
            <pc:sldMk cId="1830380410" sldId="666"/>
            <ac:spMk id="42" creationId="{1F39B836-2171-4E43-A408-CF8144F930B5}"/>
          </ac:spMkLst>
        </pc:spChg>
        <pc:spChg chg="add del mod modVis">
          <ac:chgData name="Matthäus Alberding" userId="89cdd4c9-d044-4ab4-9e6f-8f065e0119c4" providerId="ADAL" clId="{B6745356-B6CF-45AA-ADCC-AC8F740A00DA}" dt="2022-07-21T09:15:43.693" v="4988"/>
          <ac:spMkLst>
            <pc:docMk/>
            <pc:sldMk cId="1830380410" sldId="666"/>
            <ac:spMk id="43" creationId="{A4C861C6-138D-4614-8AC1-7E853F0182E5}"/>
          </ac:spMkLst>
        </pc:spChg>
        <pc:spChg chg="add del mod modVis">
          <ac:chgData name="Matthäus Alberding" userId="89cdd4c9-d044-4ab4-9e6f-8f065e0119c4" providerId="ADAL" clId="{B6745356-B6CF-45AA-ADCC-AC8F740A00DA}" dt="2022-07-21T09:15:59.838" v="5035"/>
          <ac:spMkLst>
            <pc:docMk/>
            <pc:sldMk cId="1830380410" sldId="666"/>
            <ac:spMk id="44" creationId="{3185FE61-962E-4947-909C-3E23FDEB9F8B}"/>
          </ac:spMkLst>
        </pc:spChg>
        <pc:spChg chg="add del mod modVis">
          <ac:chgData name="Matthäus Alberding" userId="89cdd4c9-d044-4ab4-9e6f-8f065e0119c4" providerId="ADAL" clId="{B6745356-B6CF-45AA-ADCC-AC8F740A00DA}" dt="2022-07-21T09:16:02.012" v="5095"/>
          <ac:spMkLst>
            <pc:docMk/>
            <pc:sldMk cId="1830380410" sldId="666"/>
            <ac:spMk id="45" creationId="{81B34336-36F3-4DF0-9971-040BA36BAADE}"/>
          </ac:spMkLst>
        </pc:spChg>
        <pc:spChg chg="add del mod modVis">
          <ac:chgData name="Matthäus Alberding" userId="89cdd4c9-d044-4ab4-9e6f-8f065e0119c4" providerId="ADAL" clId="{B6745356-B6CF-45AA-ADCC-AC8F740A00DA}" dt="2022-07-21T09:16:04.282" v="5144"/>
          <ac:spMkLst>
            <pc:docMk/>
            <pc:sldMk cId="1830380410" sldId="666"/>
            <ac:spMk id="46" creationId="{88AFE751-4B2D-468D-AEA6-AACB369712EF}"/>
          </ac:spMkLst>
        </pc:spChg>
        <pc:spChg chg="add del mod modVis">
          <ac:chgData name="Matthäus Alberding" userId="89cdd4c9-d044-4ab4-9e6f-8f065e0119c4" providerId="ADAL" clId="{B6745356-B6CF-45AA-ADCC-AC8F740A00DA}" dt="2022-07-21T09:16:10.128" v="5189"/>
          <ac:spMkLst>
            <pc:docMk/>
            <pc:sldMk cId="1830380410" sldId="666"/>
            <ac:spMk id="47" creationId="{650B936E-9E5E-4DA9-8BC1-6FF56CEEF4A1}"/>
          </ac:spMkLst>
        </pc:spChg>
        <pc:spChg chg="add del mod modVis">
          <ac:chgData name="Matthäus Alberding" userId="89cdd4c9-d044-4ab4-9e6f-8f065e0119c4" providerId="ADAL" clId="{B6745356-B6CF-45AA-ADCC-AC8F740A00DA}" dt="2022-07-21T09:16:11.259" v="5235"/>
          <ac:spMkLst>
            <pc:docMk/>
            <pc:sldMk cId="1830380410" sldId="666"/>
            <ac:spMk id="48" creationId="{6A2D98CB-4D20-4B5A-A170-ACF07322CB2A}"/>
          </ac:spMkLst>
        </pc:spChg>
        <pc:spChg chg="add del mod modVis">
          <ac:chgData name="Matthäus Alberding" userId="89cdd4c9-d044-4ab4-9e6f-8f065e0119c4" providerId="ADAL" clId="{B6745356-B6CF-45AA-ADCC-AC8F740A00DA}" dt="2022-07-21T09:16:17.021" v="5314"/>
          <ac:spMkLst>
            <pc:docMk/>
            <pc:sldMk cId="1830380410" sldId="666"/>
            <ac:spMk id="49" creationId="{1665C248-653D-4247-A2D0-1D88834C9167}"/>
          </ac:spMkLst>
        </pc:spChg>
        <pc:spChg chg="add del mod modVis">
          <ac:chgData name="Matthäus Alberding" userId="89cdd4c9-d044-4ab4-9e6f-8f065e0119c4" providerId="ADAL" clId="{B6745356-B6CF-45AA-ADCC-AC8F740A00DA}" dt="2022-07-21T09:16:20.943" v="5366"/>
          <ac:spMkLst>
            <pc:docMk/>
            <pc:sldMk cId="1830380410" sldId="666"/>
            <ac:spMk id="50" creationId="{1489B694-01B9-40B8-841F-53EA9A8AF997}"/>
          </ac:spMkLst>
        </pc:spChg>
        <pc:spChg chg="add del mod modVis">
          <ac:chgData name="Matthäus Alberding" userId="89cdd4c9-d044-4ab4-9e6f-8f065e0119c4" providerId="ADAL" clId="{B6745356-B6CF-45AA-ADCC-AC8F740A00DA}" dt="2022-07-21T09:16:21.924" v="5410"/>
          <ac:spMkLst>
            <pc:docMk/>
            <pc:sldMk cId="1830380410" sldId="666"/>
            <ac:spMk id="51" creationId="{F6D38177-A39A-4530-85CE-075E7506D5FB}"/>
          </ac:spMkLst>
        </pc:spChg>
        <pc:spChg chg="add del mod modVis">
          <ac:chgData name="Matthäus Alberding" userId="89cdd4c9-d044-4ab4-9e6f-8f065e0119c4" providerId="ADAL" clId="{B6745356-B6CF-45AA-ADCC-AC8F740A00DA}" dt="2022-07-21T09:16:24.494" v="5454"/>
          <ac:spMkLst>
            <pc:docMk/>
            <pc:sldMk cId="1830380410" sldId="666"/>
            <ac:spMk id="52" creationId="{F2BD33A5-8437-421B-999E-2D20CF25746C}"/>
          </ac:spMkLst>
        </pc:spChg>
        <pc:spChg chg="add del mod modVis">
          <ac:chgData name="Matthäus Alberding" userId="89cdd4c9-d044-4ab4-9e6f-8f065e0119c4" providerId="ADAL" clId="{B6745356-B6CF-45AA-ADCC-AC8F740A00DA}" dt="2022-07-21T09:16:25.725" v="5518"/>
          <ac:spMkLst>
            <pc:docMk/>
            <pc:sldMk cId="1830380410" sldId="666"/>
            <ac:spMk id="53" creationId="{8BDBB2BE-5F35-40DA-81A2-A7E8D89D14BE}"/>
          </ac:spMkLst>
        </pc:spChg>
        <pc:spChg chg="add del mod modVis">
          <ac:chgData name="Matthäus Alberding" userId="89cdd4c9-d044-4ab4-9e6f-8f065e0119c4" providerId="ADAL" clId="{B6745356-B6CF-45AA-ADCC-AC8F740A00DA}" dt="2022-07-21T09:16:29.004" v="5584"/>
          <ac:spMkLst>
            <pc:docMk/>
            <pc:sldMk cId="1830380410" sldId="666"/>
            <ac:spMk id="54" creationId="{A7F2834D-5C9A-4700-BDD1-08D38E9E00DA}"/>
          </ac:spMkLst>
        </pc:spChg>
        <pc:spChg chg="add del mod modVis">
          <ac:chgData name="Matthäus Alberding" userId="89cdd4c9-d044-4ab4-9e6f-8f065e0119c4" providerId="ADAL" clId="{B6745356-B6CF-45AA-ADCC-AC8F740A00DA}" dt="2022-07-21T09:16:29.797" v="5627"/>
          <ac:spMkLst>
            <pc:docMk/>
            <pc:sldMk cId="1830380410" sldId="666"/>
            <ac:spMk id="55" creationId="{98005557-4DDB-4554-8D51-6130FF1E4E37}"/>
          </ac:spMkLst>
        </pc:spChg>
        <pc:spChg chg="add del mod modVis">
          <ac:chgData name="Matthäus Alberding" userId="89cdd4c9-d044-4ab4-9e6f-8f065e0119c4" providerId="ADAL" clId="{B6745356-B6CF-45AA-ADCC-AC8F740A00DA}" dt="2022-07-21T09:16:59.043" v="5677"/>
          <ac:spMkLst>
            <pc:docMk/>
            <pc:sldMk cId="1830380410" sldId="666"/>
            <ac:spMk id="56" creationId="{D577FD2F-297C-43BD-855D-022B01F9FE4A}"/>
          </ac:spMkLst>
        </pc:spChg>
        <pc:spChg chg="add del mod modVis">
          <ac:chgData name="Matthäus Alberding" userId="89cdd4c9-d044-4ab4-9e6f-8f065e0119c4" providerId="ADAL" clId="{B6745356-B6CF-45AA-ADCC-AC8F740A00DA}" dt="2022-07-21T09:17:03.160" v="5721"/>
          <ac:spMkLst>
            <pc:docMk/>
            <pc:sldMk cId="1830380410" sldId="666"/>
            <ac:spMk id="57" creationId="{2D0FA09B-164F-4BDB-B4BC-CA7E54A250B8}"/>
          </ac:spMkLst>
        </pc:spChg>
        <pc:spChg chg="add del mod modVis">
          <ac:chgData name="Matthäus Alberding" userId="89cdd4c9-d044-4ab4-9e6f-8f065e0119c4" providerId="ADAL" clId="{B6745356-B6CF-45AA-ADCC-AC8F740A00DA}" dt="2022-07-21T09:57:04.246" v="11390"/>
          <ac:spMkLst>
            <pc:docMk/>
            <pc:sldMk cId="1830380410" sldId="666"/>
            <ac:spMk id="58" creationId="{6D9A7843-8A4A-4974-9B3B-955C3B3ED6A0}"/>
          </ac:spMkLst>
        </pc:spChg>
        <pc:spChg chg="add del mod modVis">
          <ac:chgData name="Matthäus Alberding" userId="89cdd4c9-d044-4ab4-9e6f-8f065e0119c4" providerId="ADAL" clId="{B6745356-B6CF-45AA-ADCC-AC8F740A00DA}" dt="2022-07-21T09:57:05.551" v="11436"/>
          <ac:spMkLst>
            <pc:docMk/>
            <pc:sldMk cId="1830380410" sldId="666"/>
            <ac:spMk id="59" creationId="{7750687E-4F76-48AE-995E-ABF754E260B0}"/>
          </ac:spMkLst>
        </pc:spChg>
        <pc:spChg chg="add del mod modVis">
          <ac:chgData name="Matthäus Alberding" userId="89cdd4c9-d044-4ab4-9e6f-8f065e0119c4" providerId="ADAL" clId="{B6745356-B6CF-45AA-ADCC-AC8F740A00DA}" dt="2022-07-21T09:57:06.581" v="11483"/>
          <ac:spMkLst>
            <pc:docMk/>
            <pc:sldMk cId="1830380410" sldId="666"/>
            <ac:spMk id="60" creationId="{84FD2A26-DE5D-40A5-9AC9-FB9D691C12ED}"/>
          </ac:spMkLst>
        </pc:spChg>
        <pc:spChg chg="add del mod modVis">
          <ac:chgData name="Matthäus Alberding" userId="89cdd4c9-d044-4ab4-9e6f-8f065e0119c4" providerId="ADAL" clId="{B6745356-B6CF-45AA-ADCC-AC8F740A00DA}" dt="2022-07-21T09:57:07.534" v="11534"/>
          <ac:spMkLst>
            <pc:docMk/>
            <pc:sldMk cId="1830380410" sldId="666"/>
            <ac:spMk id="61" creationId="{DF23C4E5-7E40-4F21-8499-5366EB294B54}"/>
          </ac:spMkLst>
        </pc:spChg>
        <pc:spChg chg="add del mod modVis">
          <ac:chgData name="Matthäus Alberding" userId="89cdd4c9-d044-4ab4-9e6f-8f065e0119c4" providerId="ADAL" clId="{B6745356-B6CF-45AA-ADCC-AC8F740A00DA}" dt="2022-07-21T09:57:13.204" v="11586"/>
          <ac:spMkLst>
            <pc:docMk/>
            <pc:sldMk cId="1830380410" sldId="666"/>
            <ac:spMk id="62" creationId="{05B47B13-4D3A-4821-9871-3F8D45B60E8A}"/>
          </ac:spMkLst>
        </pc:spChg>
        <pc:spChg chg="add del mod modVis">
          <ac:chgData name="Matthäus Alberding" userId="89cdd4c9-d044-4ab4-9e6f-8f065e0119c4" providerId="ADAL" clId="{B6745356-B6CF-45AA-ADCC-AC8F740A00DA}" dt="2022-07-21T09:57:14.163" v="11633"/>
          <ac:spMkLst>
            <pc:docMk/>
            <pc:sldMk cId="1830380410" sldId="666"/>
            <ac:spMk id="63" creationId="{7AABC1C2-C6E9-4C41-BEC5-5F622FF83239}"/>
          </ac:spMkLst>
        </pc:spChg>
        <pc:spChg chg="add del mod modVis">
          <ac:chgData name="Matthäus Alberding" userId="89cdd4c9-d044-4ab4-9e6f-8f065e0119c4" providerId="ADAL" clId="{B6745356-B6CF-45AA-ADCC-AC8F740A00DA}" dt="2022-07-21T09:57:16.260" v="11685"/>
          <ac:spMkLst>
            <pc:docMk/>
            <pc:sldMk cId="1830380410" sldId="666"/>
            <ac:spMk id="64" creationId="{2D254FC3-9DA2-45D5-B83C-5AC4584F8B1F}"/>
          </ac:spMkLst>
        </pc:spChg>
        <pc:spChg chg="add del mod modVis">
          <ac:chgData name="Matthäus Alberding" userId="89cdd4c9-d044-4ab4-9e6f-8f065e0119c4" providerId="ADAL" clId="{B6745356-B6CF-45AA-ADCC-AC8F740A00DA}" dt="2022-07-21T09:57:20.630" v="11732"/>
          <ac:spMkLst>
            <pc:docMk/>
            <pc:sldMk cId="1830380410" sldId="666"/>
            <ac:spMk id="65" creationId="{DA46166E-9F19-4D8A-9F37-FB31EF9E1323}"/>
          </ac:spMkLst>
        </pc:spChg>
        <pc:spChg chg="add del mod modVis">
          <ac:chgData name="Matthäus Alberding" userId="89cdd4c9-d044-4ab4-9e6f-8f065e0119c4" providerId="ADAL" clId="{B6745356-B6CF-45AA-ADCC-AC8F740A00DA}" dt="2022-07-21T09:57:22.416" v="11775"/>
          <ac:spMkLst>
            <pc:docMk/>
            <pc:sldMk cId="1830380410" sldId="666"/>
            <ac:spMk id="66" creationId="{9190E67D-CA84-4CCE-800C-4E09D7A30604}"/>
          </ac:spMkLst>
        </pc:spChg>
        <pc:spChg chg="add del mod modVis">
          <ac:chgData name="Matthäus Alberding" userId="89cdd4c9-d044-4ab4-9e6f-8f065e0119c4" providerId="ADAL" clId="{B6745356-B6CF-45AA-ADCC-AC8F740A00DA}" dt="2022-07-21T09:57:25.673" v="11826"/>
          <ac:spMkLst>
            <pc:docMk/>
            <pc:sldMk cId="1830380410" sldId="666"/>
            <ac:spMk id="67" creationId="{FB8B5930-E103-47D8-905A-91AF9E08F52B}"/>
          </ac:spMkLst>
        </pc:spChg>
        <pc:spChg chg="add del mod modVis">
          <ac:chgData name="Matthäus Alberding" userId="89cdd4c9-d044-4ab4-9e6f-8f065e0119c4" providerId="ADAL" clId="{B6745356-B6CF-45AA-ADCC-AC8F740A00DA}" dt="2022-07-21T09:57:30.813" v="11870"/>
          <ac:spMkLst>
            <pc:docMk/>
            <pc:sldMk cId="1830380410" sldId="666"/>
            <ac:spMk id="68" creationId="{41F7AE9E-B890-46CF-B1AD-8A47BE43B5D8}"/>
          </ac:spMkLst>
        </pc:spChg>
        <pc:spChg chg="add del mod modVis">
          <ac:chgData name="Matthäus Alberding" userId="89cdd4c9-d044-4ab4-9e6f-8f065e0119c4" providerId="ADAL" clId="{B6745356-B6CF-45AA-ADCC-AC8F740A00DA}" dt="2022-07-21T09:57:34.008" v="11938"/>
          <ac:spMkLst>
            <pc:docMk/>
            <pc:sldMk cId="1830380410" sldId="666"/>
            <ac:spMk id="69" creationId="{9226397A-E5CD-476E-8DE6-2D571444291A}"/>
          </ac:spMkLst>
        </pc:spChg>
        <pc:spChg chg="add del mod modVis">
          <ac:chgData name="Matthäus Alberding" userId="89cdd4c9-d044-4ab4-9e6f-8f065e0119c4" providerId="ADAL" clId="{B6745356-B6CF-45AA-ADCC-AC8F740A00DA}" dt="2022-07-21T09:57:36.331" v="11985"/>
          <ac:spMkLst>
            <pc:docMk/>
            <pc:sldMk cId="1830380410" sldId="666"/>
            <ac:spMk id="70" creationId="{2CE11B3C-1340-47D6-9699-7DBA19065DD7}"/>
          </ac:spMkLst>
        </pc:spChg>
        <pc:spChg chg="add del mod modVis">
          <ac:chgData name="Matthäus Alberding" userId="89cdd4c9-d044-4ab4-9e6f-8f065e0119c4" providerId="ADAL" clId="{B6745356-B6CF-45AA-ADCC-AC8F740A00DA}" dt="2022-07-21T09:57:38.290" v="12037"/>
          <ac:spMkLst>
            <pc:docMk/>
            <pc:sldMk cId="1830380410" sldId="666"/>
            <ac:spMk id="71" creationId="{BA8E94B1-E1D7-4DCF-8C17-E43F7734EF10}"/>
          </ac:spMkLst>
        </pc:spChg>
        <pc:spChg chg="add del mod modVis">
          <ac:chgData name="Matthäus Alberding" userId="89cdd4c9-d044-4ab4-9e6f-8f065e0119c4" providerId="ADAL" clId="{B6745356-B6CF-45AA-ADCC-AC8F740A00DA}" dt="2022-07-21T09:57:39.005" v="12081"/>
          <ac:spMkLst>
            <pc:docMk/>
            <pc:sldMk cId="1830380410" sldId="666"/>
            <ac:spMk id="72" creationId="{4D81FFB3-B7E9-45FB-A4AA-F5892FA503F6}"/>
          </ac:spMkLst>
        </pc:spChg>
        <pc:spChg chg="add del mod modVis">
          <ac:chgData name="Matthäus Alberding" userId="89cdd4c9-d044-4ab4-9e6f-8f065e0119c4" providerId="ADAL" clId="{B6745356-B6CF-45AA-ADCC-AC8F740A00DA}" dt="2022-07-21T09:57:39.545" v="12124"/>
          <ac:spMkLst>
            <pc:docMk/>
            <pc:sldMk cId="1830380410" sldId="666"/>
            <ac:spMk id="73" creationId="{14EA833D-3881-460D-84A5-B80BC0DA2038}"/>
          </ac:spMkLst>
        </pc:spChg>
        <pc:spChg chg="add del mod modVis">
          <ac:chgData name="Matthäus Alberding" userId="89cdd4c9-d044-4ab4-9e6f-8f065e0119c4" providerId="ADAL" clId="{B6745356-B6CF-45AA-ADCC-AC8F740A00DA}" dt="2022-07-21T09:57:40.162" v="12167"/>
          <ac:spMkLst>
            <pc:docMk/>
            <pc:sldMk cId="1830380410" sldId="666"/>
            <ac:spMk id="74" creationId="{091DDF8B-AA22-4002-AF5C-17000243670C}"/>
          </ac:spMkLst>
        </pc:spChg>
        <pc:spChg chg="add del mod modVis">
          <ac:chgData name="Matthäus Alberding" userId="89cdd4c9-d044-4ab4-9e6f-8f065e0119c4" providerId="ADAL" clId="{B6745356-B6CF-45AA-ADCC-AC8F740A00DA}" dt="2022-07-21T09:57:41.223" v="12214"/>
          <ac:spMkLst>
            <pc:docMk/>
            <pc:sldMk cId="1830380410" sldId="666"/>
            <ac:spMk id="75" creationId="{2AA19AC8-1CEA-42E1-B44E-3F5DC86E00D7}"/>
          </ac:spMkLst>
        </pc:spChg>
        <pc:spChg chg="add del mod modVis">
          <ac:chgData name="Matthäus Alberding" userId="89cdd4c9-d044-4ab4-9e6f-8f065e0119c4" providerId="ADAL" clId="{B6745356-B6CF-45AA-ADCC-AC8F740A00DA}" dt="2022-07-21T09:57:44.705" v="12271"/>
          <ac:spMkLst>
            <pc:docMk/>
            <pc:sldMk cId="1830380410" sldId="666"/>
            <ac:spMk id="76" creationId="{406AFEE1-732D-454C-8814-C0159D7143D1}"/>
          </ac:spMkLst>
        </pc:spChg>
        <pc:spChg chg="add del mod modVis">
          <ac:chgData name="Matthäus Alberding" userId="89cdd4c9-d044-4ab4-9e6f-8f065e0119c4" providerId="ADAL" clId="{B6745356-B6CF-45AA-ADCC-AC8F740A00DA}" dt="2022-07-21T09:57:46.928" v="12324"/>
          <ac:spMkLst>
            <pc:docMk/>
            <pc:sldMk cId="1830380410" sldId="666"/>
            <ac:spMk id="77" creationId="{F325BB8E-27FB-4CD5-8989-BF1967001AA2}"/>
          </ac:spMkLst>
        </pc:spChg>
        <pc:spChg chg="add del mod modVis">
          <ac:chgData name="Matthäus Alberding" userId="89cdd4c9-d044-4ab4-9e6f-8f065e0119c4" providerId="ADAL" clId="{B6745356-B6CF-45AA-ADCC-AC8F740A00DA}" dt="2022-07-21T09:57:50.046" v="12378"/>
          <ac:spMkLst>
            <pc:docMk/>
            <pc:sldMk cId="1830380410" sldId="666"/>
            <ac:spMk id="78" creationId="{D8F75C97-210F-449F-8AAD-0113963AB1F6}"/>
          </ac:spMkLst>
        </pc:spChg>
        <pc:spChg chg="add del mod modVis">
          <ac:chgData name="Matthäus Alberding" userId="89cdd4c9-d044-4ab4-9e6f-8f065e0119c4" providerId="ADAL" clId="{B6745356-B6CF-45AA-ADCC-AC8F740A00DA}" dt="2022-07-21T09:57:52.790" v="12436"/>
          <ac:spMkLst>
            <pc:docMk/>
            <pc:sldMk cId="1830380410" sldId="666"/>
            <ac:spMk id="79" creationId="{E5D5EB49-945D-407F-88BE-A2C140663CEF}"/>
          </ac:spMkLst>
        </pc:spChg>
        <pc:spChg chg="add del mod modVis">
          <ac:chgData name="Matthäus Alberding" userId="89cdd4c9-d044-4ab4-9e6f-8f065e0119c4" providerId="ADAL" clId="{B6745356-B6CF-45AA-ADCC-AC8F740A00DA}" dt="2022-07-21T09:57:54.440" v="12485"/>
          <ac:spMkLst>
            <pc:docMk/>
            <pc:sldMk cId="1830380410" sldId="666"/>
            <ac:spMk id="80" creationId="{60D0E002-DBFB-41E2-AD50-0F80EEF5FA74}"/>
          </ac:spMkLst>
        </pc:spChg>
        <pc:spChg chg="add del mod modVis">
          <ac:chgData name="Matthäus Alberding" userId="89cdd4c9-d044-4ab4-9e6f-8f065e0119c4" providerId="ADAL" clId="{B6745356-B6CF-45AA-ADCC-AC8F740A00DA}" dt="2022-07-21T09:57:57.796" v="12538"/>
          <ac:spMkLst>
            <pc:docMk/>
            <pc:sldMk cId="1830380410" sldId="666"/>
            <ac:spMk id="81" creationId="{A98907EE-D6BB-4112-BDAB-E552909F1782}"/>
          </ac:spMkLst>
        </pc:spChg>
        <pc:spChg chg="add del mod modVis">
          <ac:chgData name="Matthäus Alberding" userId="89cdd4c9-d044-4ab4-9e6f-8f065e0119c4" providerId="ADAL" clId="{B6745356-B6CF-45AA-ADCC-AC8F740A00DA}" dt="2022-07-21T09:58:10.263" v="12582"/>
          <ac:spMkLst>
            <pc:docMk/>
            <pc:sldMk cId="1830380410" sldId="666"/>
            <ac:spMk id="82" creationId="{E2078075-BECF-4538-8998-F860B0649B49}"/>
          </ac:spMkLst>
        </pc:spChg>
        <pc:spChg chg="add del mod modVis">
          <ac:chgData name="Matthäus Alberding" userId="89cdd4c9-d044-4ab4-9e6f-8f065e0119c4" providerId="ADAL" clId="{B6745356-B6CF-45AA-ADCC-AC8F740A00DA}" dt="2022-07-21T09:58:11.869" v="12631"/>
          <ac:spMkLst>
            <pc:docMk/>
            <pc:sldMk cId="1830380410" sldId="666"/>
            <ac:spMk id="83" creationId="{71257BC8-F6CA-4F35-B294-2B71439F486F}"/>
          </ac:spMkLst>
        </pc:spChg>
        <pc:spChg chg="add del mod modVis">
          <ac:chgData name="Matthäus Alberding" userId="89cdd4c9-d044-4ab4-9e6f-8f065e0119c4" providerId="ADAL" clId="{B6745356-B6CF-45AA-ADCC-AC8F740A00DA}" dt="2022-07-21T09:58:29.901" v="12682"/>
          <ac:spMkLst>
            <pc:docMk/>
            <pc:sldMk cId="1830380410" sldId="666"/>
            <ac:spMk id="84" creationId="{F8861FB9-FC0E-4731-BFCB-F5C12697B0BE}"/>
          </ac:spMkLst>
        </pc:spChg>
        <pc:graphicFrameChg chg="add mod ord modVis">
          <ac:chgData name="Matthäus Alberding" userId="89cdd4c9-d044-4ab4-9e6f-8f065e0119c4" providerId="ADAL" clId="{B6745356-B6CF-45AA-ADCC-AC8F740A00DA}" dt="2022-07-28T07:28:26.756" v="101035"/>
          <ac:graphicFrameMkLst>
            <pc:docMk/>
            <pc:sldMk cId="1830380410" sldId="666"/>
            <ac:graphicFrameMk id="7" creationId="{C6AC11E9-AB7B-4424-9F13-6CA3041F0B10}"/>
          </ac:graphicFrameMkLst>
        </pc:graphicFrameChg>
        <pc:graphicFrameChg chg="add del mod">
          <ac:chgData name="Matthäus Alberding" userId="89cdd4c9-d044-4ab4-9e6f-8f065e0119c4" providerId="ADAL" clId="{B6745356-B6CF-45AA-ADCC-AC8F740A00DA}" dt="2022-07-21T09:11:47.014" v="3759" actId="478"/>
          <ac:graphicFrameMkLst>
            <pc:docMk/>
            <pc:sldMk cId="1830380410" sldId="666"/>
            <ac:graphicFrameMk id="12" creationId="{DC888F4A-99DF-4906-AC52-F87F316315A4}"/>
          </ac:graphicFrameMkLst>
        </pc:graphicFrameChg>
        <pc:graphicFrameChg chg="add del mod">
          <ac:chgData name="Matthäus Alberding" userId="89cdd4c9-d044-4ab4-9e6f-8f065e0119c4" providerId="ADAL" clId="{B6745356-B6CF-45AA-ADCC-AC8F740A00DA}" dt="2022-07-21T09:10:47.685" v="3743" actId="478"/>
          <ac:graphicFrameMkLst>
            <pc:docMk/>
            <pc:sldMk cId="1830380410" sldId="666"/>
            <ac:graphicFrameMk id="15" creationId="{4DD829B7-9364-4972-BA79-F88AAF060E15}"/>
          </ac:graphicFrameMkLst>
        </pc:graphicFrameChg>
        <pc:graphicFrameChg chg="add mod">
          <ac:chgData name="Matthäus Alberding" userId="89cdd4c9-d044-4ab4-9e6f-8f065e0119c4" providerId="ADAL" clId="{B6745356-B6CF-45AA-ADCC-AC8F740A00DA}" dt="2022-07-21T10:40:11.775" v="17398"/>
          <ac:graphicFrameMkLst>
            <pc:docMk/>
            <pc:sldMk cId="1830380410" sldId="666"/>
            <ac:graphicFrameMk id="20" creationId="{A84ECCD3-1286-486A-B10D-B117E274B0CF}"/>
          </ac:graphicFrameMkLst>
        </pc:graphicFrameChg>
      </pc:sldChg>
      <pc:sldChg chg="addSp delSp modSp new add del mod">
        <pc:chgData name="Matthäus Alberding" userId="89cdd4c9-d044-4ab4-9e6f-8f065e0119c4" providerId="ADAL" clId="{B6745356-B6CF-45AA-ADCC-AC8F740A00DA}" dt="2022-07-21T09:35:32.633" v="9267" actId="47"/>
        <pc:sldMkLst>
          <pc:docMk/>
          <pc:sldMk cId="1243619677" sldId="667"/>
        </pc:sldMkLst>
        <pc:spChg chg="mod">
          <ac:chgData name="Matthäus Alberding" userId="89cdd4c9-d044-4ab4-9e6f-8f065e0119c4" providerId="ADAL" clId="{B6745356-B6CF-45AA-ADCC-AC8F740A00DA}" dt="2022-07-21T09:22:30.892" v="7314" actId="948"/>
          <ac:spMkLst>
            <pc:docMk/>
            <pc:sldMk cId="1243619677" sldId="667"/>
            <ac:spMk id="4" creationId="{ED68ED6B-BF12-4C01-B95E-B6C74D818EC0}"/>
          </ac:spMkLst>
        </pc:spChg>
        <pc:spChg chg="mod">
          <ac:chgData name="Matthäus Alberding" userId="89cdd4c9-d044-4ab4-9e6f-8f065e0119c4" providerId="ADAL" clId="{B6745356-B6CF-45AA-ADCC-AC8F740A00DA}" dt="2022-07-21T09:22:57.663" v="7385" actId="20577"/>
          <ac:spMkLst>
            <pc:docMk/>
            <pc:sldMk cId="1243619677" sldId="667"/>
            <ac:spMk id="5" creationId="{BC3C6987-EAB5-4B18-8BDB-9F046CB705EC}"/>
          </ac:spMkLst>
        </pc:spChg>
        <pc:spChg chg="add del mod">
          <ac:chgData name="Matthäus Alberding" userId="89cdd4c9-d044-4ab4-9e6f-8f065e0119c4" providerId="ADAL" clId="{B6745356-B6CF-45AA-ADCC-AC8F740A00DA}" dt="2022-07-21T09:19:18.521" v="5850" actId="478"/>
          <ac:spMkLst>
            <pc:docMk/>
            <pc:sldMk cId="1243619677" sldId="667"/>
            <ac:spMk id="6" creationId="{C2B34A14-B61B-4243-98AB-2EE8C94CB978}"/>
          </ac:spMkLst>
        </pc:spChg>
        <pc:spChg chg="add mod">
          <ac:chgData name="Matthäus Alberding" userId="89cdd4c9-d044-4ab4-9e6f-8f065e0119c4" providerId="ADAL" clId="{B6745356-B6CF-45AA-ADCC-AC8F740A00DA}" dt="2022-07-21T09:19:35.251" v="5853" actId="21"/>
          <ac:spMkLst>
            <pc:docMk/>
            <pc:sldMk cId="1243619677" sldId="667"/>
            <ac:spMk id="7" creationId="{AF2B8EF6-E470-4F57-A978-87FBDA0293DF}"/>
          </ac:spMkLst>
        </pc:spChg>
        <pc:spChg chg="add mod">
          <ac:chgData name="Matthäus Alberding" userId="89cdd4c9-d044-4ab4-9e6f-8f065e0119c4" providerId="ADAL" clId="{B6745356-B6CF-45AA-ADCC-AC8F740A00DA}" dt="2022-07-21T09:20:10.103" v="5861" actId="1076"/>
          <ac:spMkLst>
            <pc:docMk/>
            <pc:sldMk cId="1243619677" sldId="667"/>
            <ac:spMk id="9" creationId="{1797130F-AAFB-443B-9D6E-4A64E2560A32}"/>
          </ac:spMkLst>
        </pc:spChg>
        <pc:spChg chg="add mod">
          <ac:chgData name="Matthäus Alberding" userId="89cdd4c9-d044-4ab4-9e6f-8f065e0119c4" providerId="ADAL" clId="{B6745356-B6CF-45AA-ADCC-AC8F740A00DA}" dt="2022-07-21T09:20:12.088" v="5862" actId="1076"/>
          <ac:spMkLst>
            <pc:docMk/>
            <pc:sldMk cId="1243619677" sldId="667"/>
            <ac:spMk id="10" creationId="{BFBCB126-17A0-48C5-8EAD-FDA5088D1895}"/>
          </ac:spMkLst>
        </pc:spChg>
        <pc:spChg chg="add mod">
          <ac:chgData name="Matthäus Alberding" userId="89cdd4c9-d044-4ab4-9e6f-8f065e0119c4" providerId="ADAL" clId="{B6745356-B6CF-45AA-ADCC-AC8F740A00DA}" dt="2022-07-21T09:19:32.995" v="5852"/>
          <ac:spMkLst>
            <pc:docMk/>
            <pc:sldMk cId="1243619677" sldId="667"/>
            <ac:spMk id="11" creationId="{DAA3EFD4-D610-47E7-A093-26008FB01D6E}"/>
          </ac:spMkLst>
        </pc:spChg>
        <pc:spChg chg="add mod">
          <ac:chgData name="Matthäus Alberding" userId="89cdd4c9-d044-4ab4-9e6f-8f065e0119c4" providerId="ADAL" clId="{B6745356-B6CF-45AA-ADCC-AC8F740A00DA}" dt="2022-07-21T09:19:36.984" v="5854"/>
          <ac:spMkLst>
            <pc:docMk/>
            <pc:sldMk cId="1243619677" sldId="667"/>
            <ac:spMk id="12" creationId="{1A033BA6-D17B-4788-B9E8-2D1A6CD959BC}"/>
          </ac:spMkLst>
        </pc:spChg>
        <pc:spChg chg="add del mod modVis">
          <ac:chgData name="Matthäus Alberding" userId="89cdd4c9-d044-4ab4-9e6f-8f065e0119c4" providerId="ADAL" clId="{B6745356-B6CF-45AA-ADCC-AC8F740A00DA}" dt="2022-07-21T09:20:27.745" v="5929"/>
          <ac:spMkLst>
            <pc:docMk/>
            <pc:sldMk cId="1243619677" sldId="667"/>
            <ac:spMk id="14" creationId="{34186049-67D6-4A81-BFE6-90B51BA23781}"/>
          </ac:spMkLst>
        </pc:spChg>
        <pc:spChg chg="add del mod modVis">
          <ac:chgData name="Matthäus Alberding" userId="89cdd4c9-d044-4ab4-9e6f-8f065e0119c4" providerId="ADAL" clId="{B6745356-B6CF-45AA-ADCC-AC8F740A00DA}" dt="2022-07-21T09:20:30.647" v="5984"/>
          <ac:spMkLst>
            <pc:docMk/>
            <pc:sldMk cId="1243619677" sldId="667"/>
            <ac:spMk id="15" creationId="{8F446C6D-C9A0-403A-BF0C-0AF088C15DE5}"/>
          </ac:spMkLst>
        </pc:spChg>
        <pc:spChg chg="add del mod modVis">
          <ac:chgData name="Matthäus Alberding" userId="89cdd4c9-d044-4ab4-9e6f-8f065e0119c4" providerId="ADAL" clId="{B6745356-B6CF-45AA-ADCC-AC8F740A00DA}" dt="2022-07-21T09:20:33.675" v="6027"/>
          <ac:spMkLst>
            <pc:docMk/>
            <pc:sldMk cId="1243619677" sldId="667"/>
            <ac:spMk id="16" creationId="{62E59A30-4BF9-4B54-8E7F-EB6B8507FADD}"/>
          </ac:spMkLst>
        </pc:spChg>
        <pc:spChg chg="add del mod modVis">
          <ac:chgData name="Matthäus Alberding" userId="89cdd4c9-d044-4ab4-9e6f-8f065e0119c4" providerId="ADAL" clId="{B6745356-B6CF-45AA-ADCC-AC8F740A00DA}" dt="2022-07-21T09:20:35.782" v="6078"/>
          <ac:spMkLst>
            <pc:docMk/>
            <pc:sldMk cId="1243619677" sldId="667"/>
            <ac:spMk id="17" creationId="{DDE779D2-385A-49A7-ACC7-36931079D0F8}"/>
          </ac:spMkLst>
        </pc:spChg>
        <pc:spChg chg="add del mod modVis">
          <ac:chgData name="Matthäus Alberding" userId="89cdd4c9-d044-4ab4-9e6f-8f065e0119c4" providerId="ADAL" clId="{B6745356-B6CF-45AA-ADCC-AC8F740A00DA}" dt="2022-07-21T09:20:43.839" v="6121"/>
          <ac:spMkLst>
            <pc:docMk/>
            <pc:sldMk cId="1243619677" sldId="667"/>
            <ac:spMk id="18" creationId="{CB5EC915-6E81-4ADE-8A9B-5EF2876B964C}"/>
          </ac:spMkLst>
        </pc:spChg>
        <pc:spChg chg="add del mod modVis">
          <ac:chgData name="Matthäus Alberding" userId="89cdd4c9-d044-4ab4-9e6f-8f065e0119c4" providerId="ADAL" clId="{B6745356-B6CF-45AA-ADCC-AC8F740A00DA}" dt="2022-07-21T09:20:46.905" v="6165"/>
          <ac:spMkLst>
            <pc:docMk/>
            <pc:sldMk cId="1243619677" sldId="667"/>
            <ac:spMk id="19" creationId="{F2FE6A91-517A-4DCF-9A17-7A71755C5EA4}"/>
          </ac:spMkLst>
        </pc:spChg>
        <pc:spChg chg="add del mod modVis">
          <ac:chgData name="Matthäus Alberding" userId="89cdd4c9-d044-4ab4-9e6f-8f065e0119c4" providerId="ADAL" clId="{B6745356-B6CF-45AA-ADCC-AC8F740A00DA}" dt="2022-07-21T09:20:48.812" v="6210"/>
          <ac:spMkLst>
            <pc:docMk/>
            <pc:sldMk cId="1243619677" sldId="667"/>
            <ac:spMk id="20" creationId="{068C797D-D8C4-4D39-82B9-974149F9194E}"/>
          </ac:spMkLst>
        </pc:spChg>
        <pc:spChg chg="add del mod modVis">
          <ac:chgData name="Matthäus Alberding" userId="89cdd4c9-d044-4ab4-9e6f-8f065e0119c4" providerId="ADAL" clId="{B6745356-B6CF-45AA-ADCC-AC8F740A00DA}" dt="2022-07-21T09:20:50.334" v="6255"/>
          <ac:spMkLst>
            <pc:docMk/>
            <pc:sldMk cId="1243619677" sldId="667"/>
            <ac:spMk id="21" creationId="{38EA15B4-D47A-4B31-B79F-543F3AB916C5}"/>
          </ac:spMkLst>
        </pc:spChg>
        <pc:spChg chg="add del mod modVis">
          <ac:chgData name="Matthäus Alberding" userId="89cdd4c9-d044-4ab4-9e6f-8f065e0119c4" providerId="ADAL" clId="{B6745356-B6CF-45AA-ADCC-AC8F740A00DA}" dt="2022-07-21T09:20:52.461" v="6306"/>
          <ac:spMkLst>
            <pc:docMk/>
            <pc:sldMk cId="1243619677" sldId="667"/>
            <ac:spMk id="22" creationId="{6BEDE94E-A618-4EF8-A311-EC495B647379}"/>
          </ac:spMkLst>
        </pc:spChg>
        <pc:spChg chg="add del mod modVis">
          <ac:chgData name="Matthäus Alberding" userId="89cdd4c9-d044-4ab4-9e6f-8f065e0119c4" providerId="ADAL" clId="{B6745356-B6CF-45AA-ADCC-AC8F740A00DA}" dt="2022-07-21T09:20:53.797" v="6349"/>
          <ac:spMkLst>
            <pc:docMk/>
            <pc:sldMk cId="1243619677" sldId="667"/>
            <ac:spMk id="23" creationId="{A9675C5D-EA01-4ED3-BE4F-5558A6DF7A3B}"/>
          </ac:spMkLst>
        </pc:spChg>
        <pc:spChg chg="add del mod modVis">
          <ac:chgData name="Matthäus Alberding" userId="89cdd4c9-d044-4ab4-9e6f-8f065e0119c4" providerId="ADAL" clId="{B6745356-B6CF-45AA-ADCC-AC8F740A00DA}" dt="2022-07-21T09:20:54.728" v="6392"/>
          <ac:spMkLst>
            <pc:docMk/>
            <pc:sldMk cId="1243619677" sldId="667"/>
            <ac:spMk id="24" creationId="{B7759D7E-7FCB-465D-B15D-0634AE1F1FB5}"/>
          </ac:spMkLst>
        </pc:spChg>
        <pc:spChg chg="add del mod modVis">
          <ac:chgData name="Matthäus Alberding" userId="89cdd4c9-d044-4ab4-9e6f-8f065e0119c4" providerId="ADAL" clId="{B6745356-B6CF-45AA-ADCC-AC8F740A00DA}" dt="2022-07-21T09:21:18.911" v="6436"/>
          <ac:spMkLst>
            <pc:docMk/>
            <pc:sldMk cId="1243619677" sldId="667"/>
            <ac:spMk id="25" creationId="{08B0846D-3F10-40EE-BE94-E4FD3155AB8C}"/>
          </ac:spMkLst>
        </pc:spChg>
        <pc:spChg chg="add del mod modVis">
          <ac:chgData name="Matthäus Alberding" userId="89cdd4c9-d044-4ab4-9e6f-8f065e0119c4" providerId="ADAL" clId="{B6745356-B6CF-45AA-ADCC-AC8F740A00DA}" dt="2022-07-21T09:21:23.395" v="6496"/>
          <ac:spMkLst>
            <pc:docMk/>
            <pc:sldMk cId="1243619677" sldId="667"/>
            <ac:spMk id="26" creationId="{6BB8B0AD-C2DF-4EE0-B8C8-B0FC9959CB21}"/>
          </ac:spMkLst>
        </pc:spChg>
        <pc:spChg chg="add del mod modVis">
          <ac:chgData name="Matthäus Alberding" userId="89cdd4c9-d044-4ab4-9e6f-8f065e0119c4" providerId="ADAL" clId="{B6745356-B6CF-45AA-ADCC-AC8F740A00DA}" dt="2022-07-21T09:21:31.026" v="6541"/>
          <ac:spMkLst>
            <pc:docMk/>
            <pc:sldMk cId="1243619677" sldId="667"/>
            <ac:spMk id="27" creationId="{50A7791B-42DD-4500-9563-00D4578AA433}"/>
          </ac:spMkLst>
        </pc:spChg>
        <pc:spChg chg="add del mod modVis">
          <ac:chgData name="Matthäus Alberding" userId="89cdd4c9-d044-4ab4-9e6f-8f065e0119c4" providerId="ADAL" clId="{B6745356-B6CF-45AA-ADCC-AC8F740A00DA}" dt="2022-07-21T09:21:31.692" v="6584"/>
          <ac:spMkLst>
            <pc:docMk/>
            <pc:sldMk cId="1243619677" sldId="667"/>
            <ac:spMk id="28" creationId="{FBF19C7E-4E1E-4307-8057-012C76B1B74E}"/>
          </ac:spMkLst>
        </pc:spChg>
        <pc:spChg chg="add del mod modVis">
          <ac:chgData name="Matthäus Alberding" userId="89cdd4c9-d044-4ab4-9e6f-8f065e0119c4" providerId="ADAL" clId="{B6745356-B6CF-45AA-ADCC-AC8F740A00DA}" dt="2022-07-21T09:21:32.338" v="6627"/>
          <ac:spMkLst>
            <pc:docMk/>
            <pc:sldMk cId="1243619677" sldId="667"/>
            <ac:spMk id="29" creationId="{C9705F3A-2CFB-4C9B-980C-C3E1923459E3}"/>
          </ac:spMkLst>
        </pc:spChg>
        <pc:spChg chg="add del mod modVis">
          <ac:chgData name="Matthäus Alberding" userId="89cdd4c9-d044-4ab4-9e6f-8f065e0119c4" providerId="ADAL" clId="{B6745356-B6CF-45AA-ADCC-AC8F740A00DA}" dt="2022-07-21T09:21:33.894" v="6670"/>
          <ac:spMkLst>
            <pc:docMk/>
            <pc:sldMk cId="1243619677" sldId="667"/>
            <ac:spMk id="30" creationId="{F8529A65-DA5A-4BB5-97CD-359B2F203831}"/>
          </ac:spMkLst>
        </pc:spChg>
        <pc:spChg chg="add del mod modVis">
          <ac:chgData name="Matthäus Alberding" userId="89cdd4c9-d044-4ab4-9e6f-8f065e0119c4" providerId="ADAL" clId="{B6745356-B6CF-45AA-ADCC-AC8F740A00DA}" dt="2022-07-21T09:21:36.675" v="6728"/>
          <ac:spMkLst>
            <pc:docMk/>
            <pc:sldMk cId="1243619677" sldId="667"/>
            <ac:spMk id="31" creationId="{A08ECEBE-BD00-4515-BDF8-F1687B945CDD}"/>
          </ac:spMkLst>
        </pc:spChg>
        <pc:spChg chg="add del mod modVis">
          <ac:chgData name="Matthäus Alberding" userId="89cdd4c9-d044-4ab4-9e6f-8f065e0119c4" providerId="ADAL" clId="{B6745356-B6CF-45AA-ADCC-AC8F740A00DA}" dt="2022-07-21T09:21:38.637" v="6773"/>
          <ac:spMkLst>
            <pc:docMk/>
            <pc:sldMk cId="1243619677" sldId="667"/>
            <ac:spMk id="32" creationId="{B418295E-84D2-472E-81BE-05337E96884B}"/>
          </ac:spMkLst>
        </pc:spChg>
        <pc:spChg chg="add del mod modVis">
          <ac:chgData name="Matthäus Alberding" userId="89cdd4c9-d044-4ab4-9e6f-8f065e0119c4" providerId="ADAL" clId="{B6745356-B6CF-45AA-ADCC-AC8F740A00DA}" dt="2022-07-21T09:21:39.167" v="6816"/>
          <ac:spMkLst>
            <pc:docMk/>
            <pc:sldMk cId="1243619677" sldId="667"/>
            <ac:spMk id="33" creationId="{F3D72F8A-75F8-4BE0-AC5E-773B71E4C2C8}"/>
          </ac:spMkLst>
        </pc:spChg>
        <pc:spChg chg="add del mod modVis">
          <ac:chgData name="Matthäus Alberding" userId="89cdd4c9-d044-4ab4-9e6f-8f065e0119c4" providerId="ADAL" clId="{B6745356-B6CF-45AA-ADCC-AC8F740A00DA}" dt="2022-07-21T09:21:42.168" v="6862"/>
          <ac:spMkLst>
            <pc:docMk/>
            <pc:sldMk cId="1243619677" sldId="667"/>
            <ac:spMk id="34" creationId="{A4AA276B-4B2F-487D-A470-D33BD4322795}"/>
          </ac:spMkLst>
        </pc:spChg>
        <pc:spChg chg="add del mod modVis">
          <ac:chgData name="Matthäus Alberding" userId="89cdd4c9-d044-4ab4-9e6f-8f065e0119c4" providerId="ADAL" clId="{B6745356-B6CF-45AA-ADCC-AC8F740A00DA}" dt="2022-07-21T09:21:42.755" v="6905"/>
          <ac:spMkLst>
            <pc:docMk/>
            <pc:sldMk cId="1243619677" sldId="667"/>
            <ac:spMk id="35" creationId="{89A01252-4362-444B-BD40-9640E7D0674A}"/>
          </ac:spMkLst>
        </pc:spChg>
        <pc:spChg chg="add del mod modVis">
          <ac:chgData name="Matthäus Alberding" userId="89cdd4c9-d044-4ab4-9e6f-8f065e0119c4" providerId="ADAL" clId="{B6745356-B6CF-45AA-ADCC-AC8F740A00DA}" dt="2022-07-21T09:21:44.374" v="6948"/>
          <ac:spMkLst>
            <pc:docMk/>
            <pc:sldMk cId="1243619677" sldId="667"/>
            <ac:spMk id="36" creationId="{85E663F0-776C-4960-BCFE-812669D72C96}"/>
          </ac:spMkLst>
        </pc:spChg>
        <pc:spChg chg="add del mod modVis">
          <ac:chgData name="Matthäus Alberding" userId="89cdd4c9-d044-4ab4-9e6f-8f065e0119c4" providerId="ADAL" clId="{B6745356-B6CF-45AA-ADCC-AC8F740A00DA}" dt="2022-07-21T09:21:52.210" v="6991"/>
          <ac:spMkLst>
            <pc:docMk/>
            <pc:sldMk cId="1243619677" sldId="667"/>
            <ac:spMk id="37" creationId="{A87B267C-01DF-45C2-974A-1406A5A0BD97}"/>
          </ac:spMkLst>
        </pc:spChg>
        <pc:spChg chg="add del mod modVis">
          <ac:chgData name="Matthäus Alberding" userId="89cdd4c9-d044-4ab4-9e6f-8f065e0119c4" providerId="ADAL" clId="{B6745356-B6CF-45AA-ADCC-AC8F740A00DA}" dt="2022-07-21T09:21:54.480" v="7034"/>
          <ac:spMkLst>
            <pc:docMk/>
            <pc:sldMk cId="1243619677" sldId="667"/>
            <ac:spMk id="38" creationId="{ACDA69CC-887F-4701-A24E-D0992663BB89}"/>
          </ac:spMkLst>
        </pc:spChg>
        <pc:spChg chg="add del mod modVis">
          <ac:chgData name="Matthäus Alberding" userId="89cdd4c9-d044-4ab4-9e6f-8f065e0119c4" providerId="ADAL" clId="{B6745356-B6CF-45AA-ADCC-AC8F740A00DA}" dt="2022-07-21T09:22:04.226" v="7078"/>
          <ac:spMkLst>
            <pc:docMk/>
            <pc:sldMk cId="1243619677" sldId="667"/>
            <ac:spMk id="39" creationId="{A51A4CF7-3611-43B5-B768-F7855ABF0DCA}"/>
          </ac:spMkLst>
        </pc:spChg>
        <pc:spChg chg="add del mod modVis">
          <ac:chgData name="Matthäus Alberding" userId="89cdd4c9-d044-4ab4-9e6f-8f065e0119c4" providerId="ADAL" clId="{B6745356-B6CF-45AA-ADCC-AC8F740A00DA}" dt="2022-07-21T09:22:06.687" v="7122"/>
          <ac:spMkLst>
            <pc:docMk/>
            <pc:sldMk cId="1243619677" sldId="667"/>
            <ac:spMk id="40" creationId="{1C403858-A715-4A5A-B8D8-94E1A549F270}"/>
          </ac:spMkLst>
        </pc:spChg>
        <pc:spChg chg="add del mod modVis">
          <ac:chgData name="Matthäus Alberding" userId="89cdd4c9-d044-4ab4-9e6f-8f065e0119c4" providerId="ADAL" clId="{B6745356-B6CF-45AA-ADCC-AC8F740A00DA}" dt="2022-07-21T09:22:09.940" v="7165"/>
          <ac:spMkLst>
            <pc:docMk/>
            <pc:sldMk cId="1243619677" sldId="667"/>
            <ac:spMk id="41" creationId="{BEF40CCE-6925-46C6-8576-5F6A7244C1AB}"/>
          </ac:spMkLst>
        </pc:spChg>
        <pc:spChg chg="add del mod modVis">
          <ac:chgData name="Matthäus Alberding" userId="89cdd4c9-d044-4ab4-9e6f-8f065e0119c4" providerId="ADAL" clId="{B6745356-B6CF-45AA-ADCC-AC8F740A00DA}" dt="2022-07-21T09:22:16.176" v="7210"/>
          <ac:spMkLst>
            <pc:docMk/>
            <pc:sldMk cId="1243619677" sldId="667"/>
            <ac:spMk id="42" creationId="{ABA9F2D4-4A31-4D29-B841-70E691636E99}"/>
          </ac:spMkLst>
        </pc:spChg>
        <pc:spChg chg="add del mod modVis">
          <ac:chgData name="Matthäus Alberding" userId="89cdd4c9-d044-4ab4-9e6f-8f065e0119c4" providerId="ADAL" clId="{B6745356-B6CF-45AA-ADCC-AC8F740A00DA}" dt="2022-07-21T09:22:17.064" v="7255"/>
          <ac:spMkLst>
            <pc:docMk/>
            <pc:sldMk cId="1243619677" sldId="667"/>
            <ac:spMk id="43" creationId="{A2E77BD2-D653-4250-B7C2-A88B67A28110}"/>
          </ac:spMkLst>
        </pc:spChg>
        <pc:spChg chg="add del mod modVis">
          <ac:chgData name="Matthäus Alberding" userId="89cdd4c9-d044-4ab4-9e6f-8f065e0119c4" providerId="ADAL" clId="{B6745356-B6CF-45AA-ADCC-AC8F740A00DA}" dt="2022-07-21T09:22:29.369" v="7298"/>
          <ac:spMkLst>
            <pc:docMk/>
            <pc:sldMk cId="1243619677" sldId="667"/>
            <ac:spMk id="44" creationId="{AA8C82D8-8CB4-4620-9617-C51345897EFF}"/>
          </ac:spMkLst>
        </pc:spChg>
        <pc:spChg chg="add del mod modVis">
          <ac:chgData name="Matthäus Alberding" userId="89cdd4c9-d044-4ab4-9e6f-8f065e0119c4" providerId="ADAL" clId="{B6745356-B6CF-45AA-ADCC-AC8F740A00DA}" dt="2022-07-21T09:22:30.911" v="7353"/>
          <ac:spMkLst>
            <pc:docMk/>
            <pc:sldMk cId="1243619677" sldId="667"/>
            <ac:spMk id="45" creationId="{DCD07DB5-6FC5-4D9C-B8E4-E0F4E89BC610}"/>
          </ac:spMkLst>
        </pc:spChg>
        <pc:graphicFrameChg chg="add mod">
          <ac:chgData name="Matthäus Alberding" userId="89cdd4c9-d044-4ab4-9e6f-8f065e0119c4" providerId="ADAL" clId="{B6745356-B6CF-45AA-ADCC-AC8F740A00DA}" dt="2022-07-21T09:20:13.724" v="5863" actId="1076"/>
          <ac:graphicFrameMkLst>
            <pc:docMk/>
            <pc:sldMk cId="1243619677" sldId="667"/>
            <ac:graphicFrameMk id="8" creationId="{A1DAB337-A876-407D-9DC7-F7FA79F02992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1T09:22:30.912" v="7355"/>
          <ac:graphicFrameMkLst>
            <pc:docMk/>
            <pc:sldMk cId="1243619677" sldId="667"/>
            <ac:graphicFrameMk id="13" creationId="{3F7E3248-700B-4B7E-9078-23DA2A017C2D}"/>
          </ac:graphicFrameMkLst>
        </pc:graphicFrameChg>
        <pc:picChg chg="add del mod">
          <ac:chgData name="Matthäus Alberding" userId="89cdd4c9-d044-4ab4-9e6f-8f065e0119c4" providerId="ADAL" clId="{B6745356-B6CF-45AA-ADCC-AC8F740A00DA}" dt="2022-07-21T09:30:33.502" v="7706" actId="478"/>
          <ac:picMkLst>
            <pc:docMk/>
            <pc:sldMk cId="1243619677" sldId="667"/>
            <ac:picMk id="47" creationId="{68425E3B-7FF4-4421-BA03-1E74E298E71F}"/>
          </ac:picMkLst>
        </pc:picChg>
      </pc:sldChg>
      <pc:sldChg chg="addSp delSp modSp new add mod ord">
        <pc:chgData name="Matthäus Alberding" userId="89cdd4c9-d044-4ab4-9e6f-8f065e0119c4" providerId="ADAL" clId="{B6745356-B6CF-45AA-ADCC-AC8F740A00DA}" dt="2022-07-26T13:34:43.348" v="71088"/>
        <pc:sldMkLst>
          <pc:docMk/>
          <pc:sldMk cId="3558978474" sldId="668"/>
        </pc:sldMkLst>
        <pc:spChg chg="mod">
          <ac:chgData name="Matthäus Alberding" userId="89cdd4c9-d044-4ab4-9e6f-8f065e0119c4" providerId="ADAL" clId="{B6745356-B6CF-45AA-ADCC-AC8F740A00DA}" dt="2022-07-21T17:46:10.676" v="35740" actId="948"/>
          <ac:spMkLst>
            <pc:docMk/>
            <pc:sldMk cId="3558978474" sldId="668"/>
            <ac:spMk id="4" creationId="{0231F607-EEA1-45CD-A5BF-229CA5A0E71D}"/>
          </ac:spMkLst>
        </pc:spChg>
        <pc:spChg chg="mod">
          <ac:chgData name="Matthäus Alberding" userId="89cdd4c9-d044-4ab4-9e6f-8f065e0119c4" providerId="ADAL" clId="{B6745356-B6CF-45AA-ADCC-AC8F740A00DA}" dt="2022-07-21T09:38:30.548" v="9466" actId="20577"/>
          <ac:spMkLst>
            <pc:docMk/>
            <pc:sldMk cId="3558978474" sldId="668"/>
            <ac:spMk id="5" creationId="{455C7AA8-A530-4D61-9B98-CEAB9C9AA096}"/>
          </ac:spMkLst>
        </pc:spChg>
        <pc:spChg chg="add mod">
          <ac:chgData name="Matthäus Alberding" userId="89cdd4c9-d044-4ab4-9e6f-8f065e0119c4" providerId="ADAL" clId="{B6745356-B6CF-45AA-ADCC-AC8F740A00DA}" dt="2022-07-21T09:23:45.538" v="7390"/>
          <ac:spMkLst>
            <pc:docMk/>
            <pc:sldMk cId="3558978474" sldId="668"/>
            <ac:spMk id="7" creationId="{88FAF32C-2D89-43A4-A758-6FC7466A1340}"/>
          </ac:spMkLst>
        </pc:spChg>
        <pc:spChg chg="add mod">
          <ac:chgData name="Matthäus Alberding" userId="89cdd4c9-d044-4ab4-9e6f-8f065e0119c4" providerId="ADAL" clId="{B6745356-B6CF-45AA-ADCC-AC8F740A00DA}" dt="2022-07-21T10:44:17.813" v="17491" actId="2711"/>
          <ac:spMkLst>
            <pc:docMk/>
            <pc:sldMk cId="3558978474" sldId="668"/>
            <ac:spMk id="8" creationId="{59E55243-8D92-48F7-AA2E-5D764C879B67}"/>
          </ac:spMkLst>
        </pc:spChg>
        <pc:spChg chg="add del mod modVis">
          <ac:chgData name="Matthäus Alberding" userId="89cdd4c9-d044-4ab4-9e6f-8f065e0119c4" providerId="ADAL" clId="{B6745356-B6CF-45AA-ADCC-AC8F740A00DA}" dt="2022-07-21T16:57:43.373" v="30635"/>
          <ac:spMkLst>
            <pc:docMk/>
            <pc:sldMk cId="3558978474" sldId="668"/>
            <ac:spMk id="9" creationId="{2A8FD866-B856-4A2C-8126-2E50A7E1E2BC}"/>
          </ac:spMkLst>
        </pc:spChg>
        <pc:spChg chg="add del mod modVis">
          <ac:chgData name="Matthäus Alberding" userId="89cdd4c9-d044-4ab4-9e6f-8f065e0119c4" providerId="ADAL" clId="{B6745356-B6CF-45AA-ADCC-AC8F740A00DA}" dt="2022-07-21T09:24:04.287" v="7462"/>
          <ac:spMkLst>
            <pc:docMk/>
            <pc:sldMk cId="3558978474" sldId="668"/>
            <ac:spMk id="9" creationId="{CE03E72B-5FF4-44B7-A446-01C5B8E5D363}"/>
          </ac:spMkLst>
        </pc:spChg>
        <pc:spChg chg="add del mod modVis">
          <ac:chgData name="Matthäus Alberding" userId="89cdd4c9-d044-4ab4-9e6f-8f065e0119c4" providerId="ADAL" clId="{B6745356-B6CF-45AA-ADCC-AC8F740A00DA}" dt="2022-07-21T09:24:14.066" v="7564"/>
          <ac:spMkLst>
            <pc:docMk/>
            <pc:sldMk cId="3558978474" sldId="668"/>
            <ac:spMk id="11" creationId="{354DEA39-C3A2-4586-B7DC-06A55FAFFFA9}"/>
          </ac:spMkLst>
        </pc:spChg>
        <pc:spChg chg="add del mod modVis">
          <ac:chgData name="Matthäus Alberding" userId="89cdd4c9-d044-4ab4-9e6f-8f065e0119c4" providerId="ADAL" clId="{B6745356-B6CF-45AA-ADCC-AC8F740A00DA}" dt="2022-07-21T16:57:44.173" v="30679"/>
          <ac:spMkLst>
            <pc:docMk/>
            <pc:sldMk cId="3558978474" sldId="668"/>
            <ac:spMk id="11" creationId="{D80EFC39-607A-4BF1-8943-7150D47F8985}"/>
          </ac:spMkLst>
        </pc:spChg>
        <pc:spChg chg="add del mod modVis">
          <ac:chgData name="Matthäus Alberding" userId="89cdd4c9-d044-4ab4-9e6f-8f065e0119c4" providerId="ADAL" clId="{B6745356-B6CF-45AA-ADCC-AC8F740A00DA}" dt="2022-07-21T16:57:45.779" v="30722"/>
          <ac:spMkLst>
            <pc:docMk/>
            <pc:sldMk cId="3558978474" sldId="668"/>
            <ac:spMk id="12" creationId="{9259FF2E-BB29-4475-BBB5-1A91C462A794}"/>
          </ac:spMkLst>
        </pc:spChg>
        <pc:spChg chg="add del mod modVis">
          <ac:chgData name="Matthäus Alberding" userId="89cdd4c9-d044-4ab4-9e6f-8f065e0119c4" providerId="ADAL" clId="{B6745356-B6CF-45AA-ADCC-AC8F740A00DA}" dt="2022-07-21T09:24:14.627" v="7607"/>
          <ac:spMkLst>
            <pc:docMk/>
            <pc:sldMk cId="3558978474" sldId="668"/>
            <ac:spMk id="12" creationId="{A3256A9D-EE14-487D-AB6B-2F175516DBE2}"/>
          </ac:spMkLst>
        </pc:spChg>
        <pc:spChg chg="add mod">
          <ac:chgData name="Matthäus Alberding" userId="89cdd4c9-d044-4ab4-9e6f-8f065e0119c4" providerId="ADAL" clId="{B6745356-B6CF-45AA-ADCC-AC8F740A00DA}" dt="2022-07-21T17:05:39.463" v="30760" actId="1076"/>
          <ac:spMkLst>
            <pc:docMk/>
            <pc:sldMk cId="3558978474" sldId="668"/>
            <ac:spMk id="13" creationId="{14EADDD4-9ACE-42B7-9E1A-F4FFF93F584A}"/>
          </ac:spMkLst>
        </pc:spChg>
        <pc:spChg chg="add del mod modVis">
          <ac:chgData name="Matthäus Alberding" userId="89cdd4c9-d044-4ab4-9e6f-8f065e0119c4" providerId="ADAL" clId="{B6745356-B6CF-45AA-ADCC-AC8F740A00DA}" dt="2022-07-21T09:35:44.181" v="9318"/>
          <ac:spMkLst>
            <pc:docMk/>
            <pc:sldMk cId="3558978474" sldId="668"/>
            <ac:spMk id="14" creationId="{85D35E1C-4B4A-4E9C-86BA-E47E1CA7C50F}"/>
          </ac:spMkLst>
        </pc:spChg>
        <pc:spChg chg="add del mod modVis">
          <ac:chgData name="Matthäus Alberding" userId="89cdd4c9-d044-4ab4-9e6f-8f065e0119c4" providerId="ADAL" clId="{B6745356-B6CF-45AA-ADCC-AC8F740A00DA}" dt="2022-07-21T09:35:50.375" v="9362"/>
          <ac:spMkLst>
            <pc:docMk/>
            <pc:sldMk cId="3558978474" sldId="668"/>
            <ac:spMk id="15" creationId="{22C1F18D-BB73-435C-94CB-C2AECB8AFE7B}"/>
          </ac:spMkLst>
        </pc:spChg>
        <pc:spChg chg="add del mod modVis">
          <ac:chgData name="Matthäus Alberding" userId="89cdd4c9-d044-4ab4-9e6f-8f065e0119c4" providerId="ADAL" clId="{B6745356-B6CF-45AA-ADCC-AC8F740A00DA}" dt="2022-07-21T17:06:05.128" v="30802"/>
          <ac:spMkLst>
            <pc:docMk/>
            <pc:sldMk cId="3558978474" sldId="668"/>
            <ac:spMk id="22" creationId="{1023579C-0F1E-4A98-B88B-2633CF9C99E7}"/>
          </ac:spMkLst>
        </pc:spChg>
        <pc:spChg chg="add del mod modVis">
          <ac:chgData name="Matthäus Alberding" userId="89cdd4c9-d044-4ab4-9e6f-8f065e0119c4" providerId="ADAL" clId="{B6745356-B6CF-45AA-ADCC-AC8F740A00DA}" dt="2022-07-21T17:45:47.600" v="35690"/>
          <ac:spMkLst>
            <pc:docMk/>
            <pc:sldMk cId="3558978474" sldId="668"/>
            <ac:spMk id="23" creationId="{0D0177D4-5A98-4803-B65A-55417B72FAFA}"/>
          </ac:spMkLst>
        </pc:spChg>
        <pc:spChg chg="add del mod modVis">
          <ac:chgData name="Matthäus Alberding" userId="89cdd4c9-d044-4ab4-9e6f-8f065e0119c4" providerId="ADAL" clId="{B6745356-B6CF-45AA-ADCC-AC8F740A00DA}" dt="2022-07-21T17:45:56.356" v="35733"/>
          <ac:spMkLst>
            <pc:docMk/>
            <pc:sldMk cId="3558978474" sldId="668"/>
            <ac:spMk id="24" creationId="{57F03881-EA38-4635-AB7C-6C7823602BA2}"/>
          </ac:spMkLst>
        </pc:spChg>
        <pc:spChg chg="add del mod modVis">
          <ac:chgData name="Matthäus Alberding" userId="89cdd4c9-d044-4ab4-9e6f-8f065e0119c4" providerId="ADAL" clId="{B6745356-B6CF-45AA-ADCC-AC8F740A00DA}" dt="2022-07-21T17:46:10.695" v="35779"/>
          <ac:spMkLst>
            <pc:docMk/>
            <pc:sldMk cId="3558978474" sldId="668"/>
            <ac:spMk id="25" creationId="{E26F228B-B98B-4E58-9959-BC79EF42DEA3}"/>
          </ac:spMkLst>
        </pc:spChg>
        <pc:graphicFrameChg chg="add mod">
          <ac:chgData name="Matthäus Alberding" userId="89cdd4c9-d044-4ab4-9e6f-8f065e0119c4" providerId="ADAL" clId="{B6745356-B6CF-45AA-ADCC-AC8F740A00DA}" dt="2022-07-21T17:05:42.037" v="30761" actId="1076"/>
          <ac:graphicFrameMkLst>
            <pc:docMk/>
            <pc:sldMk cId="3558978474" sldId="668"/>
            <ac:graphicFrameMk id="6" creationId="{F65A3612-60C7-49D4-8125-3A86A55EB12E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1T17:46:10.697" v="35781"/>
          <ac:graphicFrameMkLst>
            <pc:docMk/>
            <pc:sldMk cId="3558978474" sldId="668"/>
            <ac:graphicFrameMk id="10" creationId="{C9010167-D4CF-4AFD-9F81-61E401FE72DD}"/>
          </ac:graphicFrameMkLst>
        </pc:graphicFrameChg>
        <pc:picChg chg="add mod modCrop">
          <ac:chgData name="Matthäus Alberding" userId="89cdd4c9-d044-4ab4-9e6f-8f065e0119c4" providerId="ADAL" clId="{B6745356-B6CF-45AA-ADCC-AC8F740A00DA}" dt="2022-07-21T17:05:31.797" v="30759" actId="1037"/>
          <ac:picMkLst>
            <pc:docMk/>
            <pc:sldMk cId="3558978474" sldId="668"/>
            <ac:picMk id="15" creationId="{FE3B8309-2F3F-4B29-B749-FF68819952B5}"/>
          </ac:picMkLst>
        </pc:picChg>
        <pc:picChg chg="add mod modCrop">
          <ac:chgData name="Matthäus Alberding" userId="89cdd4c9-d044-4ab4-9e6f-8f065e0119c4" providerId="ADAL" clId="{B6745356-B6CF-45AA-ADCC-AC8F740A00DA}" dt="2022-07-21T17:05:29.067" v="30758" actId="1076"/>
          <ac:picMkLst>
            <pc:docMk/>
            <pc:sldMk cId="3558978474" sldId="668"/>
            <ac:picMk id="17" creationId="{BEB64B02-0178-4D0A-AFB2-F0E0548D893B}"/>
          </ac:picMkLst>
        </pc:picChg>
        <pc:picChg chg="add mod">
          <ac:chgData name="Matthäus Alberding" userId="89cdd4c9-d044-4ab4-9e6f-8f065e0119c4" providerId="ADAL" clId="{B6745356-B6CF-45AA-ADCC-AC8F740A00DA}" dt="2022-07-21T17:05:29.067" v="30758" actId="1076"/>
          <ac:picMkLst>
            <pc:docMk/>
            <pc:sldMk cId="3558978474" sldId="668"/>
            <ac:picMk id="18" creationId="{9CC25812-3E56-45F8-889D-3E7CE82CAD46}"/>
          </ac:picMkLst>
        </pc:picChg>
        <pc:picChg chg="add mod">
          <ac:chgData name="Matthäus Alberding" userId="89cdd4c9-d044-4ab4-9e6f-8f065e0119c4" providerId="ADAL" clId="{B6745356-B6CF-45AA-ADCC-AC8F740A00DA}" dt="2022-07-21T17:05:29.067" v="30758" actId="1076"/>
          <ac:picMkLst>
            <pc:docMk/>
            <pc:sldMk cId="3558978474" sldId="668"/>
            <ac:picMk id="19" creationId="{9B115AB9-573B-436E-88A6-B47E4306864D}"/>
          </ac:picMkLst>
        </pc:picChg>
        <pc:picChg chg="add mod">
          <ac:chgData name="Matthäus Alberding" userId="89cdd4c9-d044-4ab4-9e6f-8f065e0119c4" providerId="ADAL" clId="{B6745356-B6CF-45AA-ADCC-AC8F740A00DA}" dt="2022-07-21T17:05:29.067" v="30758" actId="1076"/>
          <ac:picMkLst>
            <pc:docMk/>
            <pc:sldMk cId="3558978474" sldId="668"/>
            <ac:picMk id="20" creationId="{700A3F9A-D31A-4E06-A5DE-2BACE7889272}"/>
          </ac:picMkLst>
        </pc:picChg>
        <pc:picChg chg="add mod">
          <ac:chgData name="Matthäus Alberding" userId="89cdd4c9-d044-4ab4-9e6f-8f065e0119c4" providerId="ADAL" clId="{B6745356-B6CF-45AA-ADCC-AC8F740A00DA}" dt="2022-07-21T17:05:29.067" v="30758" actId="1076"/>
          <ac:picMkLst>
            <pc:docMk/>
            <pc:sldMk cId="3558978474" sldId="668"/>
            <ac:picMk id="21" creationId="{4F750BFC-B66B-4564-B556-B3F1F0A09BAA}"/>
          </ac:picMkLst>
        </pc:picChg>
      </pc:sldChg>
      <pc:sldChg chg="addSp delSp modSp new add del mod modClrScheme chgLayout">
        <pc:chgData name="Matthäus Alberding" userId="89cdd4c9-d044-4ab4-9e6f-8f065e0119c4" providerId="ADAL" clId="{B6745356-B6CF-45AA-ADCC-AC8F740A00DA}" dt="2022-07-21T09:32:34.526" v="7720" actId="47"/>
        <pc:sldMkLst>
          <pc:docMk/>
          <pc:sldMk cId="1469064702" sldId="669"/>
        </pc:sldMkLst>
        <pc:spChg chg="mod ord">
          <ac:chgData name="Matthäus Alberding" userId="89cdd4c9-d044-4ab4-9e6f-8f065e0119c4" providerId="ADAL" clId="{B6745356-B6CF-45AA-ADCC-AC8F740A00DA}" dt="2022-07-21T09:27:36.455" v="7633"/>
          <ac:spMkLst>
            <pc:docMk/>
            <pc:sldMk cId="1469064702" sldId="669"/>
            <ac:spMk id="2" creationId="{355AED5A-BF80-477D-860A-4FA49624C332}"/>
          </ac:spMkLst>
        </pc:spChg>
        <pc:spChg chg="mod ord">
          <ac:chgData name="Matthäus Alberding" userId="89cdd4c9-d044-4ab4-9e6f-8f065e0119c4" providerId="ADAL" clId="{B6745356-B6CF-45AA-ADCC-AC8F740A00DA}" dt="2022-07-21T09:27:36.455" v="7633"/>
          <ac:spMkLst>
            <pc:docMk/>
            <pc:sldMk cId="1469064702" sldId="669"/>
            <ac:spMk id="3" creationId="{97B5E91E-B0A6-441C-8181-CFC67E624A74}"/>
          </ac:spMkLst>
        </pc:spChg>
        <pc:spChg chg="del mod ord">
          <ac:chgData name="Matthäus Alberding" userId="89cdd4c9-d044-4ab4-9e6f-8f065e0119c4" providerId="ADAL" clId="{B6745356-B6CF-45AA-ADCC-AC8F740A00DA}" dt="2022-07-21T09:27:36.455" v="7633"/>
          <ac:spMkLst>
            <pc:docMk/>
            <pc:sldMk cId="1469064702" sldId="669"/>
            <ac:spMk id="4" creationId="{D2DA9F00-25ED-4174-A290-3C4514172FBC}"/>
          </ac:spMkLst>
        </pc:spChg>
        <pc:spChg chg="del mod ord">
          <ac:chgData name="Matthäus Alberding" userId="89cdd4c9-d044-4ab4-9e6f-8f065e0119c4" providerId="ADAL" clId="{B6745356-B6CF-45AA-ADCC-AC8F740A00DA}" dt="2022-07-21T09:27:36.455" v="7633"/>
          <ac:spMkLst>
            <pc:docMk/>
            <pc:sldMk cId="1469064702" sldId="669"/>
            <ac:spMk id="5" creationId="{3662C8C9-4619-4DE6-96DB-3EC12A2E7CBC}"/>
          </ac:spMkLst>
        </pc:spChg>
        <pc:spChg chg="add mod ord">
          <ac:chgData name="Matthäus Alberding" userId="89cdd4c9-d044-4ab4-9e6f-8f065e0119c4" providerId="ADAL" clId="{B6745356-B6CF-45AA-ADCC-AC8F740A00DA}" dt="2022-07-21T09:27:36.455" v="7633"/>
          <ac:spMkLst>
            <pc:docMk/>
            <pc:sldMk cId="1469064702" sldId="669"/>
            <ac:spMk id="10" creationId="{420EC9C9-24D6-4F28-82F6-4830D9FE2E17}"/>
          </ac:spMkLst>
        </pc:spChg>
        <pc:spChg chg="add mod ord">
          <ac:chgData name="Matthäus Alberding" userId="89cdd4c9-d044-4ab4-9e6f-8f065e0119c4" providerId="ADAL" clId="{B6745356-B6CF-45AA-ADCC-AC8F740A00DA}" dt="2022-07-21T09:27:36.455" v="7633"/>
          <ac:spMkLst>
            <pc:docMk/>
            <pc:sldMk cId="1469064702" sldId="669"/>
            <ac:spMk id="11" creationId="{48A4C037-819C-4ADC-8D66-F8F3120D6E7A}"/>
          </ac:spMkLst>
        </pc:spChg>
        <pc:spChg chg="add mod ord">
          <ac:chgData name="Matthäus Alberding" userId="89cdd4c9-d044-4ab4-9e6f-8f065e0119c4" providerId="ADAL" clId="{B6745356-B6CF-45AA-ADCC-AC8F740A00DA}" dt="2022-07-21T09:28:34.596" v="7691" actId="20577"/>
          <ac:spMkLst>
            <pc:docMk/>
            <pc:sldMk cId="1469064702" sldId="669"/>
            <ac:spMk id="12" creationId="{17B16DB2-E3ED-40D7-A5D9-26147963CCA9}"/>
          </ac:spMkLst>
        </pc:spChg>
        <pc:spChg chg="add mod ord">
          <ac:chgData name="Matthäus Alberding" userId="89cdd4c9-d044-4ab4-9e6f-8f065e0119c4" providerId="ADAL" clId="{B6745356-B6CF-45AA-ADCC-AC8F740A00DA}" dt="2022-07-21T09:27:36.504" v="7634" actId="27636"/>
          <ac:spMkLst>
            <pc:docMk/>
            <pc:sldMk cId="1469064702" sldId="669"/>
            <ac:spMk id="13" creationId="{A0100191-8EF5-4C33-B41E-C649BB61E7FE}"/>
          </ac:spMkLst>
        </pc:spChg>
        <pc:spChg chg="add mod ord">
          <ac:chgData name="Matthäus Alberding" userId="89cdd4c9-d044-4ab4-9e6f-8f065e0119c4" providerId="ADAL" clId="{B6745356-B6CF-45AA-ADCC-AC8F740A00DA}" dt="2022-07-21T09:27:36.455" v="7633"/>
          <ac:spMkLst>
            <pc:docMk/>
            <pc:sldMk cId="1469064702" sldId="669"/>
            <ac:spMk id="14" creationId="{5C176A6D-6F94-4796-BF37-EF84C17F759B}"/>
          </ac:spMkLst>
        </pc:spChg>
        <pc:spChg chg="add del mod ord">
          <ac:chgData name="Matthäus Alberding" userId="89cdd4c9-d044-4ab4-9e6f-8f065e0119c4" providerId="ADAL" clId="{B6745356-B6CF-45AA-ADCC-AC8F740A00DA}" dt="2022-07-21T09:27:57.841" v="7656" actId="478"/>
          <ac:spMkLst>
            <pc:docMk/>
            <pc:sldMk cId="1469064702" sldId="669"/>
            <ac:spMk id="15" creationId="{208E4D51-49C5-4110-994F-9E9F55A578BD}"/>
          </ac:spMkLst>
        </pc:spChg>
        <pc:spChg chg="add del mod">
          <ac:chgData name="Matthäus Alberding" userId="89cdd4c9-d044-4ab4-9e6f-8f065e0119c4" providerId="ADAL" clId="{B6745356-B6CF-45AA-ADCC-AC8F740A00DA}" dt="2022-07-21T09:28:43.702" v="7701" actId="478"/>
          <ac:spMkLst>
            <pc:docMk/>
            <pc:sldMk cId="1469064702" sldId="669"/>
            <ac:spMk id="17" creationId="{729850E3-18A5-4D7A-9153-7E1E3A478CA0}"/>
          </ac:spMkLst>
        </pc:spChg>
        <pc:graphicFrameChg chg="add mod ord modVis">
          <ac:chgData name="Matthäus Alberding" userId="89cdd4c9-d044-4ab4-9e6f-8f065e0119c4" providerId="ADAL" clId="{B6745356-B6CF-45AA-ADCC-AC8F740A00DA}" dt="2022-07-21T09:27:36.970" v="7649"/>
          <ac:graphicFrameMkLst>
            <pc:docMk/>
            <pc:sldMk cId="1469064702" sldId="669"/>
            <ac:graphicFrameMk id="16" creationId="{61D922D7-8D45-43BE-AC24-302F16A0C413}"/>
          </ac:graphicFrameMkLst>
        </pc:graphicFrameChg>
        <pc:picChg chg="add mod modCrop">
          <ac:chgData name="Matthäus Alberding" userId="89cdd4c9-d044-4ab4-9e6f-8f065e0119c4" providerId="ADAL" clId="{B6745356-B6CF-45AA-ADCC-AC8F740A00DA}" dt="2022-07-21T09:28:17.050" v="7659" actId="732"/>
          <ac:picMkLst>
            <pc:docMk/>
            <pc:sldMk cId="1469064702" sldId="669"/>
            <ac:picMk id="7" creationId="{C6D69705-36E5-40A0-8F52-33A3BDC0C022}"/>
          </ac:picMkLst>
        </pc:picChg>
        <pc:picChg chg="add mod">
          <ac:chgData name="Matthäus Alberding" userId="89cdd4c9-d044-4ab4-9e6f-8f065e0119c4" providerId="ADAL" clId="{B6745356-B6CF-45AA-ADCC-AC8F740A00DA}" dt="2022-07-21T09:28:19.943" v="7660" actId="1076"/>
          <ac:picMkLst>
            <pc:docMk/>
            <pc:sldMk cId="1469064702" sldId="669"/>
            <ac:picMk id="9" creationId="{D6F8DBC4-C748-4E67-9FD1-983A1377F9A3}"/>
          </ac:picMkLst>
        </pc:picChg>
      </pc:sldChg>
      <pc:sldChg chg="addSp delSp modSp new add mod ord">
        <pc:chgData name="Matthäus Alberding" userId="89cdd4c9-d044-4ab4-9e6f-8f065e0119c4" providerId="ADAL" clId="{B6745356-B6CF-45AA-ADCC-AC8F740A00DA}" dt="2022-07-26T13:25:20.857" v="70489" actId="1076"/>
        <pc:sldMkLst>
          <pc:docMk/>
          <pc:sldMk cId="2979490611" sldId="670"/>
        </pc:sldMkLst>
        <pc:spChg chg="mod">
          <ac:chgData name="Matthäus Alberding" userId="89cdd4c9-d044-4ab4-9e6f-8f065e0119c4" providerId="ADAL" clId="{B6745356-B6CF-45AA-ADCC-AC8F740A00DA}" dt="2022-07-21T17:46:58.284" v="35875" actId="948"/>
          <ac:spMkLst>
            <pc:docMk/>
            <pc:sldMk cId="2979490611" sldId="670"/>
            <ac:spMk id="4" creationId="{0C844990-2F91-4420-A6DC-03AE3FEFB64D}"/>
          </ac:spMkLst>
        </pc:spChg>
        <pc:spChg chg="mod">
          <ac:chgData name="Matthäus Alberding" userId="89cdd4c9-d044-4ab4-9e6f-8f065e0119c4" providerId="ADAL" clId="{B6745356-B6CF-45AA-ADCC-AC8F740A00DA}" dt="2022-07-21T09:38:25.132" v="9442" actId="20577"/>
          <ac:spMkLst>
            <pc:docMk/>
            <pc:sldMk cId="2979490611" sldId="670"/>
            <ac:spMk id="5" creationId="{5B445A1E-FE56-4B99-A699-5C91191A1189}"/>
          </ac:spMkLst>
        </pc:spChg>
        <pc:spChg chg="add del mod modVis">
          <ac:chgData name="Matthäus Alberding" userId="89cdd4c9-d044-4ab4-9e6f-8f065e0119c4" providerId="ADAL" clId="{B6745356-B6CF-45AA-ADCC-AC8F740A00DA}" dt="2022-07-21T17:46:55.645" v="35828"/>
          <ac:spMkLst>
            <pc:docMk/>
            <pc:sldMk cId="2979490611" sldId="670"/>
            <ac:spMk id="6" creationId="{31901292-57A7-4D3F-86F9-6D60097CAEE8}"/>
          </ac:spMkLst>
        </pc:spChg>
        <pc:spChg chg="add del mod modVis">
          <ac:chgData name="Matthäus Alberding" userId="89cdd4c9-d044-4ab4-9e6f-8f065e0119c4" providerId="ADAL" clId="{B6745356-B6CF-45AA-ADCC-AC8F740A00DA}" dt="2022-07-21T17:46:56.318" v="35871"/>
          <ac:spMkLst>
            <pc:docMk/>
            <pc:sldMk cId="2979490611" sldId="670"/>
            <ac:spMk id="8" creationId="{2B221653-5B9A-43D5-A8C0-1CD69FF18015}"/>
          </ac:spMkLst>
        </pc:spChg>
        <pc:spChg chg="add del mod modVis">
          <ac:chgData name="Matthäus Alberding" userId="89cdd4c9-d044-4ab4-9e6f-8f065e0119c4" providerId="ADAL" clId="{B6745356-B6CF-45AA-ADCC-AC8F740A00DA}" dt="2022-07-21T17:46:58.303" v="35914"/>
          <ac:spMkLst>
            <pc:docMk/>
            <pc:sldMk cId="2979490611" sldId="670"/>
            <ac:spMk id="9" creationId="{EDA95B0A-B050-458D-8AEF-93109B7101F7}"/>
          </ac:spMkLst>
        </pc:spChg>
        <pc:spChg chg="add del mod modVis">
          <ac:chgData name="Matthäus Alberding" userId="89cdd4c9-d044-4ab4-9e6f-8f065e0119c4" providerId="ADAL" clId="{B6745356-B6CF-45AA-ADCC-AC8F740A00DA}" dt="2022-07-21T09:32:55.034" v="7764"/>
          <ac:spMkLst>
            <pc:docMk/>
            <pc:sldMk cId="2979490611" sldId="670"/>
            <ac:spMk id="10" creationId="{4506EAC9-89F2-46BC-9682-55AAC7D5DF0A}"/>
          </ac:spMkLst>
        </pc:spChg>
        <pc:spChg chg="add del mod modVis">
          <ac:chgData name="Matthäus Alberding" userId="89cdd4c9-d044-4ab4-9e6f-8f065e0119c4" providerId="ADAL" clId="{B6745356-B6CF-45AA-ADCC-AC8F740A00DA}" dt="2022-07-21T09:32:56.856" v="7827"/>
          <ac:spMkLst>
            <pc:docMk/>
            <pc:sldMk cId="2979490611" sldId="670"/>
            <ac:spMk id="12" creationId="{DC5D1031-78DC-4508-AEA0-0E09280D093E}"/>
          </ac:spMkLst>
        </pc:spChg>
        <pc:spChg chg="add del mod modVis">
          <ac:chgData name="Matthäus Alberding" userId="89cdd4c9-d044-4ab4-9e6f-8f065e0119c4" providerId="ADAL" clId="{B6745356-B6CF-45AA-ADCC-AC8F740A00DA}" dt="2022-07-21T09:32:58.855" v="7879"/>
          <ac:spMkLst>
            <pc:docMk/>
            <pc:sldMk cId="2979490611" sldId="670"/>
            <ac:spMk id="13" creationId="{CBAC34D9-C6A6-4BA4-860B-E8806E027818}"/>
          </ac:spMkLst>
        </pc:spChg>
        <pc:spChg chg="add del mod modVis">
          <ac:chgData name="Matthäus Alberding" userId="89cdd4c9-d044-4ab4-9e6f-8f065e0119c4" providerId="ADAL" clId="{B6745356-B6CF-45AA-ADCC-AC8F740A00DA}" dt="2022-07-21T09:33:05.517" v="7951"/>
          <ac:spMkLst>
            <pc:docMk/>
            <pc:sldMk cId="2979490611" sldId="670"/>
            <ac:spMk id="14" creationId="{0FC86092-71E0-45A4-BDDD-E58D623262E8}"/>
          </ac:spMkLst>
        </pc:spChg>
        <pc:spChg chg="add del mod modVis">
          <ac:chgData name="Matthäus Alberding" userId="89cdd4c9-d044-4ab4-9e6f-8f065e0119c4" providerId="ADAL" clId="{B6745356-B6CF-45AA-ADCC-AC8F740A00DA}" dt="2022-07-21T09:33:09.140" v="8002"/>
          <ac:spMkLst>
            <pc:docMk/>
            <pc:sldMk cId="2979490611" sldId="670"/>
            <ac:spMk id="15" creationId="{457C620A-625F-4295-9583-8432CE560718}"/>
          </ac:spMkLst>
        </pc:spChg>
        <pc:spChg chg="add del mod modVis">
          <ac:chgData name="Matthäus Alberding" userId="89cdd4c9-d044-4ab4-9e6f-8f065e0119c4" providerId="ADAL" clId="{B6745356-B6CF-45AA-ADCC-AC8F740A00DA}" dt="2022-07-21T09:33:09.836" v="8045"/>
          <ac:spMkLst>
            <pc:docMk/>
            <pc:sldMk cId="2979490611" sldId="670"/>
            <ac:spMk id="16" creationId="{6FE676DD-7736-4265-A402-2779F908C9B4}"/>
          </ac:spMkLst>
        </pc:spChg>
        <pc:spChg chg="add del mod modVis">
          <ac:chgData name="Matthäus Alberding" userId="89cdd4c9-d044-4ab4-9e6f-8f065e0119c4" providerId="ADAL" clId="{B6745356-B6CF-45AA-ADCC-AC8F740A00DA}" dt="2022-07-21T09:33:10.633" v="8098"/>
          <ac:spMkLst>
            <pc:docMk/>
            <pc:sldMk cId="2979490611" sldId="670"/>
            <ac:spMk id="17" creationId="{651D092B-328C-49A0-ADE6-3E5584EE27E7}"/>
          </ac:spMkLst>
        </pc:spChg>
        <pc:spChg chg="add del mod modVis">
          <ac:chgData name="Matthäus Alberding" userId="89cdd4c9-d044-4ab4-9e6f-8f065e0119c4" providerId="ADAL" clId="{B6745356-B6CF-45AA-ADCC-AC8F740A00DA}" dt="2022-07-21T09:33:11.301" v="8142"/>
          <ac:spMkLst>
            <pc:docMk/>
            <pc:sldMk cId="2979490611" sldId="670"/>
            <ac:spMk id="18" creationId="{146A685D-5E1C-4C23-A068-0C16E1D5A1CA}"/>
          </ac:spMkLst>
        </pc:spChg>
        <pc:spChg chg="add del mod modVis">
          <ac:chgData name="Matthäus Alberding" userId="89cdd4c9-d044-4ab4-9e6f-8f065e0119c4" providerId="ADAL" clId="{B6745356-B6CF-45AA-ADCC-AC8F740A00DA}" dt="2022-07-21T09:33:18.705" v="8187"/>
          <ac:spMkLst>
            <pc:docMk/>
            <pc:sldMk cId="2979490611" sldId="670"/>
            <ac:spMk id="19" creationId="{4D92A3F0-167D-4462-85BA-BAFDC6A91284}"/>
          </ac:spMkLst>
        </pc:spChg>
        <pc:spChg chg="add del mod modVis">
          <ac:chgData name="Matthäus Alberding" userId="89cdd4c9-d044-4ab4-9e6f-8f065e0119c4" providerId="ADAL" clId="{B6745356-B6CF-45AA-ADCC-AC8F740A00DA}" dt="2022-07-21T09:33:19.706" v="8232"/>
          <ac:spMkLst>
            <pc:docMk/>
            <pc:sldMk cId="2979490611" sldId="670"/>
            <ac:spMk id="20" creationId="{82B01555-9748-412F-AFEA-53DD36D9760E}"/>
          </ac:spMkLst>
        </pc:spChg>
        <pc:spChg chg="add del mod modVis">
          <ac:chgData name="Matthäus Alberding" userId="89cdd4c9-d044-4ab4-9e6f-8f065e0119c4" providerId="ADAL" clId="{B6745356-B6CF-45AA-ADCC-AC8F740A00DA}" dt="2022-07-21T09:33:20.489" v="8276"/>
          <ac:spMkLst>
            <pc:docMk/>
            <pc:sldMk cId="2979490611" sldId="670"/>
            <ac:spMk id="21" creationId="{61FC52D0-E946-44B1-83B9-FFA2261A9F79}"/>
          </ac:spMkLst>
        </pc:spChg>
        <pc:spChg chg="add del mod modVis">
          <ac:chgData name="Matthäus Alberding" userId="89cdd4c9-d044-4ab4-9e6f-8f065e0119c4" providerId="ADAL" clId="{B6745356-B6CF-45AA-ADCC-AC8F740A00DA}" dt="2022-07-21T09:33:28.101" v="8325"/>
          <ac:spMkLst>
            <pc:docMk/>
            <pc:sldMk cId="2979490611" sldId="670"/>
            <ac:spMk id="22" creationId="{C44C643D-D3B4-4F26-8D03-D05CB1091E34}"/>
          </ac:spMkLst>
        </pc:spChg>
        <pc:spChg chg="add del mod modVis">
          <ac:chgData name="Matthäus Alberding" userId="89cdd4c9-d044-4ab4-9e6f-8f065e0119c4" providerId="ADAL" clId="{B6745356-B6CF-45AA-ADCC-AC8F740A00DA}" dt="2022-07-21T09:33:32.109" v="8370"/>
          <ac:spMkLst>
            <pc:docMk/>
            <pc:sldMk cId="2979490611" sldId="670"/>
            <ac:spMk id="23" creationId="{8163E242-9D50-4EFD-B73B-210443B05F04}"/>
          </ac:spMkLst>
        </pc:spChg>
        <pc:spChg chg="add del mod modVis">
          <ac:chgData name="Matthäus Alberding" userId="89cdd4c9-d044-4ab4-9e6f-8f065e0119c4" providerId="ADAL" clId="{B6745356-B6CF-45AA-ADCC-AC8F740A00DA}" dt="2022-07-21T09:33:33.545" v="8417"/>
          <ac:spMkLst>
            <pc:docMk/>
            <pc:sldMk cId="2979490611" sldId="670"/>
            <ac:spMk id="24" creationId="{710552F0-0CCF-41E8-A689-5CFCA3B29D92}"/>
          </ac:spMkLst>
        </pc:spChg>
        <pc:spChg chg="add del mod modVis">
          <ac:chgData name="Matthäus Alberding" userId="89cdd4c9-d044-4ab4-9e6f-8f065e0119c4" providerId="ADAL" clId="{B6745356-B6CF-45AA-ADCC-AC8F740A00DA}" dt="2022-07-21T09:33:42.248" v="8479"/>
          <ac:spMkLst>
            <pc:docMk/>
            <pc:sldMk cId="2979490611" sldId="670"/>
            <ac:spMk id="25" creationId="{FE2D0362-CA7D-45B7-9793-3B6FCFC3DD09}"/>
          </ac:spMkLst>
        </pc:spChg>
        <pc:spChg chg="add del mod modVis">
          <ac:chgData name="Matthäus Alberding" userId="89cdd4c9-d044-4ab4-9e6f-8f065e0119c4" providerId="ADAL" clId="{B6745356-B6CF-45AA-ADCC-AC8F740A00DA}" dt="2022-07-21T09:34:08.234" v="8528"/>
          <ac:spMkLst>
            <pc:docMk/>
            <pc:sldMk cId="2979490611" sldId="670"/>
            <ac:spMk id="26" creationId="{CAF38788-7DAE-4E35-A4B5-A959846134EE}"/>
          </ac:spMkLst>
        </pc:spChg>
        <pc:spChg chg="add del mod modVis">
          <ac:chgData name="Matthäus Alberding" userId="89cdd4c9-d044-4ab4-9e6f-8f065e0119c4" providerId="ADAL" clId="{B6745356-B6CF-45AA-ADCC-AC8F740A00DA}" dt="2022-07-21T09:34:09.506" v="8577"/>
          <ac:spMkLst>
            <pc:docMk/>
            <pc:sldMk cId="2979490611" sldId="670"/>
            <ac:spMk id="27" creationId="{693CE01D-3A6E-40D4-8F02-1E68C525544B}"/>
          </ac:spMkLst>
        </pc:spChg>
        <pc:spChg chg="add del mod modVis">
          <ac:chgData name="Matthäus Alberding" userId="89cdd4c9-d044-4ab4-9e6f-8f065e0119c4" providerId="ADAL" clId="{B6745356-B6CF-45AA-ADCC-AC8F740A00DA}" dt="2022-07-21T09:34:14.849" v="8641"/>
          <ac:spMkLst>
            <pc:docMk/>
            <pc:sldMk cId="2979490611" sldId="670"/>
            <ac:spMk id="28" creationId="{5F420E77-D723-4ED0-B18E-4BC7EF1D6507}"/>
          </ac:spMkLst>
        </pc:spChg>
        <pc:spChg chg="add del mod modVis">
          <ac:chgData name="Matthäus Alberding" userId="89cdd4c9-d044-4ab4-9e6f-8f065e0119c4" providerId="ADAL" clId="{B6745356-B6CF-45AA-ADCC-AC8F740A00DA}" dt="2022-07-21T09:34:17.219" v="8694"/>
          <ac:spMkLst>
            <pc:docMk/>
            <pc:sldMk cId="2979490611" sldId="670"/>
            <ac:spMk id="29" creationId="{DE546A92-D012-4E5F-B066-3F3C6E42749D}"/>
          </ac:spMkLst>
        </pc:spChg>
        <pc:spChg chg="add del mod modVis">
          <ac:chgData name="Matthäus Alberding" userId="89cdd4c9-d044-4ab4-9e6f-8f065e0119c4" providerId="ADAL" clId="{B6745356-B6CF-45AA-ADCC-AC8F740A00DA}" dt="2022-07-21T09:34:18.646" v="8742"/>
          <ac:spMkLst>
            <pc:docMk/>
            <pc:sldMk cId="2979490611" sldId="670"/>
            <ac:spMk id="30" creationId="{CA20E291-FCF6-4669-BE28-AF33CAA69EB8}"/>
          </ac:spMkLst>
        </pc:spChg>
        <pc:spChg chg="add del mod modVis">
          <ac:chgData name="Matthäus Alberding" userId="89cdd4c9-d044-4ab4-9e6f-8f065e0119c4" providerId="ADAL" clId="{B6745356-B6CF-45AA-ADCC-AC8F740A00DA}" dt="2022-07-21T09:34:20.779" v="8796"/>
          <ac:spMkLst>
            <pc:docMk/>
            <pc:sldMk cId="2979490611" sldId="670"/>
            <ac:spMk id="31" creationId="{D11D5067-CA4D-4FB5-9253-D5992D24CDAA}"/>
          </ac:spMkLst>
        </pc:spChg>
        <pc:spChg chg="add del mod modVis">
          <ac:chgData name="Matthäus Alberding" userId="89cdd4c9-d044-4ab4-9e6f-8f065e0119c4" providerId="ADAL" clId="{B6745356-B6CF-45AA-ADCC-AC8F740A00DA}" dt="2022-07-21T09:34:21.613" v="8842"/>
          <ac:spMkLst>
            <pc:docMk/>
            <pc:sldMk cId="2979490611" sldId="670"/>
            <ac:spMk id="32" creationId="{4F6BE33F-90DD-41E0-B5B2-CA6FAD3001D1}"/>
          </ac:spMkLst>
        </pc:spChg>
        <pc:spChg chg="add del mod modVis">
          <ac:chgData name="Matthäus Alberding" userId="89cdd4c9-d044-4ab4-9e6f-8f065e0119c4" providerId="ADAL" clId="{B6745356-B6CF-45AA-ADCC-AC8F740A00DA}" dt="2022-07-21T09:34:23.164" v="8892"/>
          <ac:spMkLst>
            <pc:docMk/>
            <pc:sldMk cId="2979490611" sldId="670"/>
            <ac:spMk id="33" creationId="{092B94FC-153E-4FAC-AB56-A4EB9813FDDE}"/>
          </ac:spMkLst>
        </pc:spChg>
        <pc:spChg chg="add del mod modVis">
          <ac:chgData name="Matthäus Alberding" userId="89cdd4c9-d044-4ab4-9e6f-8f065e0119c4" providerId="ADAL" clId="{B6745356-B6CF-45AA-ADCC-AC8F740A00DA}" dt="2022-07-21T09:34:24.485" v="8938"/>
          <ac:spMkLst>
            <pc:docMk/>
            <pc:sldMk cId="2979490611" sldId="670"/>
            <ac:spMk id="34" creationId="{26DE8731-71AE-448D-A4AF-6AF47602CA7A}"/>
          </ac:spMkLst>
        </pc:spChg>
        <pc:spChg chg="add del mod modVis">
          <ac:chgData name="Matthäus Alberding" userId="89cdd4c9-d044-4ab4-9e6f-8f065e0119c4" providerId="ADAL" clId="{B6745356-B6CF-45AA-ADCC-AC8F740A00DA}" dt="2022-07-21T09:34:25.304" v="8983"/>
          <ac:spMkLst>
            <pc:docMk/>
            <pc:sldMk cId="2979490611" sldId="670"/>
            <ac:spMk id="35" creationId="{B895207E-1B43-4558-91F1-D14741F98AE2}"/>
          </ac:spMkLst>
        </pc:spChg>
        <pc:spChg chg="add del mod modVis">
          <ac:chgData name="Matthäus Alberding" userId="89cdd4c9-d044-4ab4-9e6f-8f065e0119c4" providerId="ADAL" clId="{B6745356-B6CF-45AA-ADCC-AC8F740A00DA}" dt="2022-07-21T09:34:28.315" v="9027"/>
          <ac:spMkLst>
            <pc:docMk/>
            <pc:sldMk cId="2979490611" sldId="670"/>
            <ac:spMk id="36" creationId="{2B60A89A-33F6-47FD-AA5C-185B6DF563A0}"/>
          </ac:spMkLst>
        </pc:spChg>
        <pc:spChg chg="add del mod modVis">
          <ac:chgData name="Matthäus Alberding" userId="89cdd4c9-d044-4ab4-9e6f-8f065e0119c4" providerId="ADAL" clId="{B6745356-B6CF-45AA-ADCC-AC8F740A00DA}" dt="2022-07-21T09:34:30.348" v="9077"/>
          <ac:spMkLst>
            <pc:docMk/>
            <pc:sldMk cId="2979490611" sldId="670"/>
            <ac:spMk id="37" creationId="{A491C236-4F8B-4D55-B057-5CD6840D04B4}"/>
          </ac:spMkLst>
        </pc:spChg>
        <pc:spChg chg="add del mod modVis">
          <ac:chgData name="Matthäus Alberding" userId="89cdd4c9-d044-4ab4-9e6f-8f065e0119c4" providerId="ADAL" clId="{B6745356-B6CF-45AA-ADCC-AC8F740A00DA}" dt="2022-07-21T09:34:33.485" v="9125"/>
          <ac:spMkLst>
            <pc:docMk/>
            <pc:sldMk cId="2979490611" sldId="670"/>
            <ac:spMk id="38" creationId="{5C2F6BDC-B545-4063-BD07-E107D026EEE2}"/>
          </ac:spMkLst>
        </pc:spChg>
        <pc:spChg chg="add del mod modVis">
          <ac:chgData name="Matthäus Alberding" userId="89cdd4c9-d044-4ab4-9e6f-8f065e0119c4" providerId="ADAL" clId="{B6745356-B6CF-45AA-ADCC-AC8F740A00DA}" dt="2022-07-21T09:34:35.606" v="9175"/>
          <ac:spMkLst>
            <pc:docMk/>
            <pc:sldMk cId="2979490611" sldId="670"/>
            <ac:spMk id="39" creationId="{91C6E462-D889-4A3D-AC39-8ED6CA6263C1}"/>
          </ac:spMkLst>
        </pc:spChg>
        <pc:spChg chg="del mod modVis">
          <ac:chgData name="Matthäus Alberding" userId="89cdd4c9-d044-4ab4-9e6f-8f065e0119c4" providerId="ADAL" clId="{B6745356-B6CF-45AA-ADCC-AC8F740A00DA}" dt="2022-07-21T09:34:39.189" v="9214" actId="478"/>
          <ac:spMkLst>
            <pc:docMk/>
            <pc:sldMk cId="2979490611" sldId="670"/>
            <ac:spMk id="40" creationId="{0ED0B566-9980-4EC0-95AB-8FA88DE942A5}"/>
          </ac:spMkLst>
        </pc:spChg>
        <pc:spChg chg="add del mod modVis">
          <ac:chgData name="Matthäus Alberding" userId="89cdd4c9-d044-4ab4-9e6f-8f065e0119c4" providerId="ADAL" clId="{B6745356-B6CF-45AA-ADCC-AC8F740A00DA}" dt="2022-07-21T09:34:42.684" v="9256"/>
          <ac:spMkLst>
            <pc:docMk/>
            <pc:sldMk cId="2979490611" sldId="670"/>
            <ac:spMk id="41" creationId="{238612BA-05EE-4217-BDEC-4DEC3E3BE2D8}"/>
          </ac:spMkLst>
        </pc:spChg>
        <pc:spChg chg="add del mod modVis">
          <ac:chgData name="Matthäus Alberding" userId="89cdd4c9-d044-4ab4-9e6f-8f065e0119c4" providerId="ADAL" clId="{B6745356-B6CF-45AA-ADCC-AC8F740A00DA}" dt="2022-07-21T09:36:35.897" v="9405"/>
          <ac:spMkLst>
            <pc:docMk/>
            <pc:sldMk cId="2979490611" sldId="670"/>
            <ac:spMk id="44" creationId="{47982822-5379-4BE9-8FB3-620971432B6F}"/>
          </ac:spMkLst>
        </pc:spChg>
        <pc:spChg chg="add del mod modVis">
          <ac:chgData name="Matthäus Alberding" userId="89cdd4c9-d044-4ab4-9e6f-8f065e0119c4" providerId="ADAL" clId="{B6745356-B6CF-45AA-ADCC-AC8F740A00DA}" dt="2022-07-21T09:46:31.541" v="9547"/>
          <ac:spMkLst>
            <pc:docMk/>
            <pc:sldMk cId="2979490611" sldId="670"/>
            <ac:spMk id="49" creationId="{6115B5E4-63CF-4298-A24B-314FCDA85FC4}"/>
          </ac:spMkLst>
        </pc:spChg>
        <pc:spChg chg="add del mod modVis">
          <ac:chgData name="Matthäus Alberding" userId="89cdd4c9-d044-4ab4-9e6f-8f065e0119c4" providerId="ADAL" clId="{B6745356-B6CF-45AA-ADCC-AC8F740A00DA}" dt="2022-07-21T09:46:32.833" v="9596"/>
          <ac:spMkLst>
            <pc:docMk/>
            <pc:sldMk cId="2979490611" sldId="670"/>
            <ac:spMk id="50" creationId="{201B752D-A446-4FA2-B0B7-ACFBAC7146E6}"/>
          </ac:spMkLst>
        </pc:spChg>
        <pc:spChg chg="add del mod modVis">
          <ac:chgData name="Matthäus Alberding" userId="89cdd4c9-d044-4ab4-9e6f-8f065e0119c4" providerId="ADAL" clId="{B6745356-B6CF-45AA-ADCC-AC8F740A00DA}" dt="2022-07-21T12:23:45.232" v="21706"/>
          <ac:spMkLst>
            <pc:docMk/>
            <pc:sldMk cId="2979490611" sldId="670"/>
            <ac:spMk id="51" creationId="{46BFDA08-6A1E-4361-831A-C92A7232F658}"/>
          </ac:spMkLst>
        </pc:spChg>
        <pc:graphicFrameChg chg="add mod ord modVis">
          <ac:chgData name="Matthäus Alberding" userId="89cdd4c9-d044-4ab4-9e6f-8f065e0119c4" providerId="ADAL" clId="{B6745356-B6CF-45AA-ADCC-AC8F740A00DA}" dt="2022-07-21T17:46:58.304" v="35916"/>
          <ac:graphicFrameMkLst>
            <pc:docMk/>
            <pc:sldMk cId="2979490611" sldId="670"/>
            <ac:graphicFrameMk id="11" creationId="{3BF17923-14BD-4B39-B6C3-28651EDCD8A8}"/>
          </ac:graphicFrameMkLst>
        </pc:graphicFrameChg>
        <pc:picChg chg="add mod">
          <ac:chgData name="Matthäus Alberding" userId="89cdd4c9-d044-4ab4-9e6f-8f065e0119c4" providerId="ADAL" clId="{B6745356-B6CF-45AA-ADCC-AC8F740A00DA}" dt="2022-07-21T09:35:16.413" v="9264" actId="1076"/>
          <ac:picMkLst>
            <pc:docMk/>
            <pc:sldMk cId="2979490611" sldId="670"/>
            <ac:picMk id="7" creationId="{93389EF0-6C14-4D32-A137-D41B74EB969A}"/>
          </ac:picMkLst>
        </pc:picChg>
        <pc:picChg chg="add del mod">
          <ac:chgData name="Matthäus Alberding" userId="89cdd4c9-d044-4ab4-9e6f-8f065e0119c4" providerId="ADAL" clId="{B6745356-B6CF-45AA-ADCC-AC8F740A00DA}" dt="2022-07-21T09:37:36.788" v="9408" actId="478"/>
          <ac:picMkLst>
            <pc:docMk/>
            <pc:sldMk cId="2979490611" sldId="670"/>
            <ac:picMk id="9" creationId="{95255C0F-2011-426B-B5C7-9130CECF0FBA}"/>
          </ac:picMkLst>
        </pc:picChg>
        <pc:picChg chg="add mod">
          <ac:chgData name="Matthäus Alberding" userId="89cdd4c9-d044-4ab4-9e6f-8f065e0119c4" providerId="ADAL" clId="{B6745356-B6CF-45AA-ADCC-AC8F740A00DA}" dt="2022-07-26T13:25:20.857" v="70489" actId="1076"/>
          <ac:picMkLst>
            <pc:docMk/>
            <pc:sldMk cId="2979490611" sldId="670"/>
            <ac:picMk id="12" creationId="{1553CD8B-E91A-41FC-9F49-039C92E04F39}"/>
          </ac:picMkLst>
        </pc:picChg>
        <pc:picChg chg="add mod">
          <ac:chgData name="Matthäus Alberding" userId="89cdd4c9-d044-4ab4-9e6f-8f065e0119c4" providerId="ADAL" clId="{B6745356-B6CF-45AA-ADCC-AC8F740A00DA}" dt="2022-07-21T09:35:15.520" v="9263" actId="1076"/>
          <ac:picMkLst>
            <pc:docMk/>
            <pc:sldMk cId="2979490611" sldId="670"/>
            <ac:picMk id="43" creationId="{A873969E-4A15-4E76-A267-2015376B5407}"/>
          </ac:picMkLst>
        </pc:picChg>
        <pc:picChg chg="add mod modCrop">
          <ac:chgData name="Matthäus Alberding" userId="89cdd4c9-d044-4ab4-9e6f-8f065e0119c4" providerId="ADAL" clId="{B6745356-B6CF-45AA-ADCC-AC8F740A00DA}" dt="2022-07-21T09:37:57.138" v="9418" actId="14100"/>
          <ac:picMkLst>
            <pc:docMk/>
            <pc:sldMk cId="2979490611" sldId="670"/>
            <ac:picMk id="46" creationId="{7CBEBAA4-A572-4878-B55A-7E883AF7DA5D}"/>
          </ac:picMkLst>
        </pc:picChg>
        <pc:picChg chg="add mod">
          <ac:chgData name="Matthäus Alberding" userId="89cdd4c9-d044-4ab4-9e6f-8f065e0119c4" providerId="ADAL" clId="{B6745356-B6CF-45AA-ADCC-AC8F740A00DA}" dt="2022-07-21T09:43:02.287" v="9491" actId="1076"/>
          <ac:picMkLst>
            <pc:docMk/>
            <pc:sldMk cId="2979490611" sldId="670"/>
            <ac:picMk id="48" creationId="{67F327CD-5FFF-4960-84A1-A9EC7740D15A}"/>
          </ac:picMkLst>
        </pc:picChg>
      </pc:sldChg>
      <pc:sldChg chg="addSp delSp modSp new add mod ord">
        <pc:chgData name="Matthäus Alberding" userId="89cdd4c9-d044-4ab4-9e6f-8f065e0119c4" providerId="ADAL" clId="{B6745356-B6CF-45AA-ADCC-AC8F740A00DA}" dt="2022-07-21T10:42:25.981" v="17470" actId="2711"/>
        <pc:sldMkLst>
          <pc:docMk/>
          <pc:sldMk cId="2217449999" sldId="671"/>
        </pc:sldMkLst>
        <pc:spChg chg="mod">
          <ac:chgData name="Matthäus Alberding" userId="89cdd4c9-d044-4ab4-9e6f-8f065e0119c4" providerId="ADAL" clId="{B6745356-B6CF-45AA-ADCC-AC8F740A00DA}" dt="2022-07-21T09:56:36.757" v="11303" actId="948"/>
          <ac:spMkLst>
            <pc:docMk/>
            <pc:sldMk cId="2217449999" sldId="671"/>
            <ac:spMk id="4" creationId="{8662C247-FD78-4858-B450-7A81C67F2DA1}"/>
          </ac:spMkLst>
        </pc:spChg>
        <pc:spChg chg="mod">
          <ac:chgData name="Matthäus Alberding" userId="89cdd4c9-d044-4ab4-9e6f-8f065e0119c4" providerId="ADAL" clId="{B6745356-B6CF-45AA-ADCC-AC8F740A00DA}" dt="2022-07-21T10:18:23.299" v="15608"/>
          <ac:spMkLst>
            <pc:docMk/>
            <pc:sldMk cId="2217449999" sldId="671"/>
            <ac:spMk id="5" creationId="{43432D92-85FC-42C3-96E7-DBF87614A9A6}"/>
          </ac:spMkLst>
        </pc:spChg>
        <pc:spChg chg="add mod">
          <ac:chgData name="Matthäus Alberding" userId="89cdd4c9-d044-4ab4-9e6f-8f065e0119c4" providerId="ADAL" clId="{B6745356-B6CF-45AA-ADCC-AC8F740A00DA}" dt="2022-07-21T09:52:39.436" v="9605" actId="21"/>
          <ac:spMkLst>
            <pc:docMk/>
            <pc:sldMk cId="2217449999" sldId="671"/>
            <ac:spMk id="6" creationId="{69B5C0E9-06B6-4627-AE22-EE9654F4B87E}"/>
          </ac:spMkLst>
        </pc:spChg>
        <pc:spChg chg="add mod">
          <ac:chgData name="Matthäus Alberding" userId="89cdd4c9-d044-4ab4-9e6f-8f065e0119c4" providerId="ADAL" clId="{B6745356-B6CF-45AA-ADCC-AC8F740A00DA}" dt="2022-07-21T10:41:31.894" v="17448" actId="403"/>
          <ac:spMkLst>
            <pc:docMk/>
            <pc:sldMk cId="2217449999" sldId="671"/>
            <ac:spMk id="8" creationId="{B04BE87D-86A4-49DF-91C6-42CDC2E7465D}"/>
          </ac:spMkLst>
        </pc:spChg>
        <pc:spChg chg="add mod">
          <ac:chgData name="Matthäus Alberding" userId="89cdd4c9-d044-4ab4-9e6f-8f065e0119c4" providerId="ADAL" clId="{B6745356-B6CF-45AA-ADCC-AC8F740A00DA}" dt="2022-07-21T10:42:25.981" v="17470" actId="2711"/>
          <ac:spMkLst>
            <pc:docMk/>
            <pc:sldMk cId="2217449999" sldId="671"/>
            <ac:spMk id="9" creationId="{BA534108-E713-4528-995E-6091AA530264}"/>
          </ac:spMkLst>
        </pc:spChg>
        <pc:spChg chg="add mod">
          <ac:chgData name="Matthäus Alberding" userId="89cdd4c9-d044-4ab4-9e6f-8f065e0119c4" providerId="ADAL" clId="{B6745356-B6CF-45AA-ADCC-AC8F740A00DA}" dt="2022-07-21T09:52:48.659" v="9607"/>
          <ac:spMkLst>
            <pc:docMk/>
            <pc:sldMk cId="2217449999" sldId="671"/>
            <ac:spMk id="10" creationId="{8354FC2F-D2FF-465F-853A-2D5562CB5264}"/>
          </ac:spMkLst>
        </pc:spChg>
        <pc:spChg chg="add del mod modVis">
          <ac:chgData name="Matthäus Alberding" userId="89cdd4c9-d044-4ab4-9e6f-8f065e0119c4" providerId="ADAL" clId="{B6745356-B6CF-45AA-ADCC-AC8F740A00DA}" dt="2022-07-21T09:53:03.330" v="9670"/>
          <ac:spMkLst>
            <pc:docMk/>
            <pc:sldMk cId="2217449999" sldId="671"/>
            <ac:spMk id="12" creationId="{A67B7F5B-3F3C-4BA8-AB06-1C96B9B7AE19}"/>
          </ac:spMkLst>
        </pc:spChg>
        <pc:spChg chg="add del mod modVis">
          <ac:chgData name="Matthäus Alberding" userId="89cdd4c9-d044-4ab4-9e6f-8f065e0119c4" providerId="ADAL" clId="{B6745356-B6CF-45AA-ADCC-AC8F740A00DA}" dt="2022-07-21T09:53:07.981" v="9738"/>
          <ac:spMkLst>
            <pc:docMk/>
            <pc:sldMk cId="2217449999" sldId="671"/>
            <ac:spMk id="13" creationId="{CC51F1ED-E820-4819-A56E-2E36661FF9C7}"/>
          </ac:spMkLst>
        </pc:spChg>
        <pc:spChg chg="add del mod modVis">
          <ac:chgData name="Matthäus Alberding" userId="89cdd4c9-d044-4ab4-9e6f-8f065e0119c4" providerId="ADAL" clId="{B6745356-B6CF-45AA-ADCC-AC8F740A00DA}" dt="2022-07-21T09:53:11.952" v="9799"/>
          <ac:spMkLst>
            <pc:docMk/>
            <pc:sldMk cId="2217449999" sldId="671"/>
            <ac:spMk id="14" creationId="{E17FA7BD-D1CD-4D16-94B6-79F86A76F747}"/>
          </ac:spMkLst>
        </pc:spChg>
        <pc:spChg chg="add del mod modVis">
          <ac:chgData name="Matthäus Alberding" userId="89cdd4c9-d044-4ab4-9e6f-8f065e0119c4" providerId="ADAL" clId="{B6745356-B6CF-45AA-ADCC-AC8F740A00DA}" dt="2022-07-21T09:53:13.398" v="9845"/>
          <ac:spMkLst>
            <pc:docMk/>
            <pc:sldMk cId="2217449999" sldId="671"/>
            <ac:spMk id="15" creationId="{0133258F-F8CD-4908-995A-94D3A8C2948C}"/>
          </ac:spMkLst>
        </pc:spChg>
        <pc:spChg chg="add del mod modVis">
          <ac:chgData name="Matthäus Alberding" userId="89cdd4c9-d044-4ab4-9e6f-8f065e0119c4" providerId="ADAL" clId="{B6745356-B6CF-45AA-ADCC-AC8F740A00DA}" dt="2022-07-21T09:53:17.692" v="9896"/>
          <ac:spMkLst>
            <pc:docMk/>
            <pc:sldMk cId="2217449999" sldId="671"/>
            <ac:spMk id="16" creationId="{FE61C2A2-729B-4C1F-8FD6-8BAB86CCADD6}"/>
          </ac:spMkLst>
        </pc:spChg>
        <pc:spChg chg="add del mod modVis">
          <ac:chgData name="Matthäus Alberding" userId="89cdd4c9-d044-4ab4-9e6f-8f065e0119c4" providerId="ADAL" clId="{B6745356-B6CF-45AA-ADCC-AC8F740A00DA}" dt="2022-07-21T09:53:18.692" v="9940"/>
          <ac:spMkLst>
            <pc:docMk/>
            <pc:sldMk cId="2217449999" sldId="671"/>
            <ac:spMk id="17" creationId="{D44527E4-914A-4C12-8E29-3DB26CBE1757}"/>
          </ac:spMkLst>
        </pc:spChg>
        <pc:spChg chg="add del mod modVis">
          <ac:chgData name="Matthäus Alberding" userId="89cdd4c9-d044-4ab4-9e6f-8f065e0119c4" providerId="ADAL" clId="{B6745356-B6CF-45AA-ADCC-AC8F740A00DA}" dt="2022-07-21T09:53:19.542" v="9983"/>
          <ac:spMkLst>
            <pc:docMk/>
            <pc:sldMk cId="2217449999" sldId="671"/>
            <ac:spMk id="18" creationId="{94EC1D1C-2A0B-4141-898B-F31E166A0BD6}"/>
          </ac:spMkLst>
        </pc:spChg>
        <pc:spChg chg="add del mod modVis">
          <ac:chgData name="Matthäus Alberding" userId="89cdd4c9-d044-4ab4-9e6f-8f065e0119c4" providerId="ADAL" clId="{B6745356-B6CF-45AA-ADCC-AC8F740A00DA}" dt="2022-07-21T09:54:50.278" v="10036"/>
          <ac:spMkLst>
            <pc:docMk/>
            <pc:sldMk cId="2217449999" sldId="671"/>
            <ac:spMk id="21" creationId="{92839B17-9C35-4BD5-AC25-EFBA2997C657}"/>
          </ac:spMkLst>
        </pc:spChg>
        <pc:spChg chg="add del mod modVis">
          <ac:chgData name="Matthäus Alberding" userId="89cdd4c9-d044-4ab4-9e6f-8f065e0119c4" providerId="ADAL" clId="{B6745356-B6CF-45AA-ADCC-AC8F740A00DA}" dt="2022-07-21T09:54:53.667" v="10097"/>
          <ac:spMkLst>
            <pc:docMk/>
            <pc:sldMk cId="2217449999" sldId="671"/>
            <ac:spMk id="22" creationId="{194646AD-4AAB-4381-AB89-2E629DEF72A3}"/>
          </ac:spMkLst>
        </pc:spChg>
        <pc:spChg chg="add del mod modVis">
          <ac:chgData name="Matthäus Alberding" userId="89cdd4c9-d044-4ab4-9e6f-8f065e0119c4" providerId="ADAL" clId="{B6745356-B6CF-45AA-ADCC-AC8F740A00DA}" dt="2022-07-21T09:54:55.314" v="10143"/>
          <ac:spMkLst>
            <pc:docMk/>
            <pc:sldMk cId="2217449999" sldId="671"/>
            <ac:spMk id="23" creationId="{1BEAD2F2-C971-490C-8FC3-6459CED054CB}"/>
          </ac:spMkLst>
        </pc:spChg>
        <pc:spChg chg="add del mod modVis">
          <ac:chgData name="Matthäus Alberding" userId="89cdd4c9-d044-4ab4-9e6f-8f065e0119c4" providerId="ADAL" clId="{B6745356-B6CF-45AA-ADCC-AC8F740A00DA}" dt="2022-07-21T09:54:56.489" v="10188"/>
          <ac:spMkLst>
            <pc:docMk/>
            <pc:sldMk cId="2217449999" sldId="671"/>
            <ac:spMk id="24" creationId="{002A2C84-6561-4492-B7A2-D1903C87288C}"/>
          </ac:spMkLst>
        </pc:spChg>
        <pc:spChg chg="add del mod modVis">
          <ac:chgData name="Matthäus Alberding" userId="89cdd4c9-d044-4ab4-9e6f-8f065e0119c4" providerId="ADAL" clId="{B6745356-B6CF-45AA-ADCC-AC8F740A00DA}" dt="2022-07-21T09:54:58.826" v="10238"/>
          <ac:spMkLst>
            <pc:docMk/>
            <pc:sldMk cId="2217449999" sldId="671"/>
            <ac:spMk id="25" creationId="{75E41777-07DC-43FD-AA6D-CE5626135EFD}"/>
          </ac:spMkLst>
        </pc:spChg>
        <pc:spChg chg="add del mod modVis">
          <ac:chgData name="Matthäus Alberding" userId="89cdd4c9-d044-4ab4-9e6f-8f065e0119c4" providerId="ADAL" clId="{B6745356-B6CF-45AA-ADCC-AC8F740A00DA}" dt="2022-07-21T09:55:00.614" v="10289"/>
          <ac:spMkLst>
            <pc:docMk/>
            <pc:sldMk cId="2217449999" sldId="671"/>
            <ac:spMk id="26" creationId="{2C3594A8-44FD-48CB-9014-7DA057999F1F}"/>
          </ac:spMkLst>
        </pc:spChg>
        <pc:spChg chg="add del mod modVis">
          <ac:chgData name="Matthäus Alberding" userId="89cdd4c9-d044-4ab4-9e6f-8f065e0119c4" providerId="ADAL" clId="{B6745356-B6CF-45AA-ADCC-AC8F740A00DA}" dt="2022-07-21T09:55:02.927" v="10355"/>
          <ac:spMkLst>
            <pc:docMk/>
            <pc:sldMk cId="2217449999" sldId="671"/>
            <ac:spMk id="27" creationId="{33276BB8-A0D3-4813-8508-A12F0AF2434C}"/>
          </ac:spMkLst>
        </pc:spChg>
        <pc:spChg chg="add del mod modVis">
          <ac:chgData name="Matthäus Alberding" userId="89cdd4c9-d044-4ab4-9e6f-8f065e0119c4" providerId="ADAL" clId="{B6745356-B6CF-45AA-ADCC-AC8F740A00DA}" dt="2022-07-21T09:55:05.352" v="10404"/>
          <ac:spMkLst>
            <pc:docMk/>
            <pc:sldMk cId="2217449999" sldId="671"/>
            <ac:spMk id="28" creationId="{1417617E-1EFE-40DB-89DD-77D1E726A7E5}"/>
          </ac:spMkLst>
        </pc:spChg>
        <pc:spChg chg="add del mod modVis">
          <ac:chgData name="Matthäus Alberding" userId="89cdd4c9-d044-4ab4-9e6f-8f065e0119c4" providerId="ADAL" clId="{B6745356-B6CF-45AA-ADCC-AC8F740A00DA}" dt="2022-07-21T09:55:07.986" v="10451"/>
          <ac:spMkLst>
            <pc:docMk/>
            <pc:sldMk cId="2217449999" sldId="671"/>
            <ac:spMk id="29" creationId="{7FD6FBCA-130A-4A49-86DC-A633B1B07B87}"/>
          </ac:spMkLst>
        </pc:spChg>
        <pc:spChg chg="add del mod modVis">
          <ac:chgData name="Matthäus Alberding" userId="89cdd4c9-d044-4ab4-9e6f-8f065e0119c4" providerId="ADAL" clId="{B6745356-B6CF-45AA-ADCC-AC8F740A00DA}" dt="2022-07-21T09:55:09.199" v="10500"/>
          <ac:spMkLst>
            <pc:docMk/>
            <pc:sldMk cId="2217449999" sldId="671"/>
            <ac:spMk id="30" creationId="{DFBFF77F-8DA6-4CEA-9311-53669120AB6F}"/>
          </ac:spMkLst>
        </pc:spChg>
        <pc:spChg chg="add del mod modVis">
          <ac:chgData name="Matthäus Alberding" userId="89cdd4c9-d044-4ab4-9e6f-8f065e0119c4" providerId="ADAL" clId="{B6745356-B6CF-45AA-ADCC-AC8F740A00DA}" dt="2022-07-21T09:55:12.744" v="10563"/>
          <ac:spMkLst>
            <pc:docMk/>
            <pc:sldMk cId="2217449999" sldId="671"/>
            <ac:spMk id="31" creationId="{402849CF-8D5A-49CC-ABBD-84AD6A442DC0}"/>
          </ac:spMkLst>
        </pc:spChg>
        <pc:spChg chg="add del mod modVis">
          <ac:chgData name="Matthäus Alberding" userId="89cdd4c9-d044-4ab4-9e6f-8f065e0119c4" providerId="ADAL" clId="{B6745356-B6CF-45AA-ADCC-AC8F740A00DA}" dt="2022-07-21T09:55:14.389" v="10616"/>
          <ac:spMkLst>
            <pc:docMk/>
            <pc:sldMk cId="2217449999" sldId="671"/>
            <ac:spMk id="32" creationId="{9DAFFFE8-308D-4B67-982C-1E7BAA1D7635}"/>
          </ac:spMkLst>
        </pc:spChg>
        <pc:spChg chg="add del mod modVis">
          <ac:chgData name="Matthäus Alberding" userId="89cdd4c9-d044-4ab4-9e6f-8f065e0119c4" providerId="ADAL" clId="{B6745356-B6CF-45AA-ADCC-AC8F740A00DA}" dt="2022-07-21T09:55:16.258" v="10667"/>
          <ac:spMkLst>
            <pc:docMk/>
            <pc:sldMk cId="2217449999" sldId="671"/>
            <ac:spMk id="33" creationId="{AE2FF01D-5B7F-4769-8B07-4340D7487BEA}"/>
          </ac:spMkLst>
        </pc:spChg>
        <pc:spChg chg="add del mod modVis">
          <ac:chgData name="Matthäus Alberding" userId="89cdd4c9-d044-4ab4-9e6f-8f065e0119c4" providerId="ADAL" clId="{B6745356-B6CF-45AA-ADCC-AC8F740A00DA}" dt="2022-07-21T09:55:18.948" v="10721"/>
          <ac:spMkLst>
            <pc:docMk/>
            <pc:sldMk cId="2217449999" sldId="671"/>
            <ac:spMk id="34" creationId="{1F7E6744-9E8B-48D0-A16B-5CBB7B69CBF3}"/>
          </ac:spMkLst>
        </pc:spChg>
        <pc:spChg chg="add del mod modVis">
          <ac:chgData name="Matthäus Alberding" userId="89cdd4c9-d044-4ab4-9e6f-8f065e0119c4" providerId="ADAL" clId="{B6745356-B6CF-45AA-ADCC-AC8F740A00DA}" dt="2022-07-21T09:55:19.942" v="10765"/>
          <ac:spMkLst>
            <pc:docMk/>
            <pc:sldMk cId="2217449999" sldId="671"/>
            <ac:spMk id="35" creationId="{CC0B0B70-8AC7-40F4-9559-540EBA89ACA2}"/>
          </ac:spMkLst>
        </pc:spChg>
        <pc:spChg chg="del mod modVis">
          <ac:chgData name="Matthäus Alberding" userId="89cdd4c9-d044-4ab4-9e6f-8f065e0119c4" providerId="ADAL" clId="{B6745356-B6CF-45AA-ADCC-AC8F740A00DA}" dt="2022-07-21T09:55:24.823" v="10804" actId="478"/>
          <ac:spMkLst>
            <pc:docMk/>
            <pc:sldMk cId="2217449999" sldId="671"/>
            <ac:spMk id="36" creationId="{19D3F0AD-D62F-4A7B-A517-786F70379E4D}"/>
          </ac:spMkLst>
        </pc:spChg>
        <pc:spChg chg="add del mod modVis">
          <ac:chgData name="Matthäus Alberding" userId="89cdd4c9-d044-4ab4-9e6f-8f065e0119c4" providerId="ADAL" clId="{B6745356-B6CF-45AA-ADCC-AC8F740A00DA}" dt="2022-07-21T09:55:27.112" v="10846"/>
          <ac:spMkLst>
            <pc:docMk/>
            <pc:sldMk cId="2217449999" sldId="671"/>
            <ac:spMk id="37" creationId="{063B9340-810F-4691-9B52-A13E2B6DC8EF}"/>
          </ac:spMkLst>
        </pc:spChg>
        <pc:spChg chg="add del mod modVis">
          <ac:chgData name="Matthäus Alberding" userId="89cdd4c9-d044-4ab4-9e6f-8f065e0119c4" providerId="ADAL" clId="{B6745356-B6CF-45AA-ADCC-AC8F740A00DA}" dt="2022-07-21T09:55:33.645" v="10904"/>
          <ac:spMkLst>
            <pc:docMk/>
            <pc:sldMk cId="2217449999" sldId="671"/>
            <ac:spMk id="38" creationId="{AFA76852-95D7-445B-A9DD-93BF21ED3280}"/>
          </ac:spMkLst>
        </pc:spChg>
        <pc:spChg chg="add del mod modVis">
          <ac:chgData name="Matthäus Alberding" userId="89cdd4c9-d044-4ab4-9e6f-8f065e0119c4" providerId="ADAL" clId="{B6745356-B6CF-45AA-ADCC-AC8F740A00DA}" dt="2022-07-21T09:55:36.550" v="10968"/>
          <ac:spMkLst>
            <pc:docMk/>
            <pc:sldMk cId="2217449999" sldId="671"/>
            <ac:spMk id="39" creationId="{3B89420B-31ED-42D6-B732-50FF12502F88}"/>
          </ac:spMkLst>
        </pc:spChg>
        <pc:spChg chg="add del mod modVis">
          <ac:chgData name="Matthäus Alberding" userId="89cdd4c9-d044-4ab4-9e6f-8f065e0119c4" providerId="ADAL" clId="{B6745356-B6CF-45AA-ADCC-AC8F740A00DA}" dt="2022-07-21T09:55:42.559" v="11011"/>
          <ac:spMkLst>
            <pc:docMk/>
            <pc:sldMk cId="2217449999" sldId="671"/>
            <ac:spMk id="40" creationId="{CCB9CA54-919E-4405-B1BD-3D50BEBB8C23}"/>
          </ac:spMkLst>
        </pc:spChg>
        <pc:spChg chg="add del mod modVis">
          <ac:chgData name="Matthäus Alberding" userId="89cdd4c9-d044-4ab4-9e6f-8f065e0119c4" providerId="ADAL" clId="{B6745356-B6CF-45AA-ADCC-AC8F740A00DA}" dt="2022-07-21T09:55:46.937" v="11055"/>
          <ac:spMkLst>
            <pc:docMk/>
            <pc:sldMk cId="2217449999" sldId="671"/>
            <ac:spMk id="41" creationId="{E8BFB8BF-A3E4-490E-827D-F22CBAF15365}"/>
          </ac:spMkLst>
        </pc:spChg>
        <pc:spChg chg="add del mod modVis">
          <ac:chgData name="Matthäus Alberding" userId="89cdd4c9-d044-4ab4-9e6f-8f065e0119c4" providerId="ADAL" clId="{B6745356-B6CF-45AA-ADCC-AC8F740A00DA}" dt="2022-07-21T09:56:17.148" v="11107"/>
          <ac:spMkLst>
            <pc:docMk/>
            <pc:sldMk cId="2217449999" sldId="671"/>
            <ac:spMk id="42" creationId="{5A198F31-EFCE-40BD-8BB2-605099A0F3CE}"/>
          </ac:spMkLst>
        </pc:spChg>
        <pc:spChg chg="add del mod modVis">
          <ac:chgData name="Matthäus Alberding" userId="89cdd4c9-d044-4ab4-9e6f-8f065e0119c4" providerId="ADAL" clId="{B6745356-B6CF-45AA-ADCC-AC8F740A00DA}" dt="2022-07-21T09:56:18.100" v="11154"/>
          <ac:spMkLst>
            <pc:docMk/>
            <pc:sldMk cId="2217449999" sldId="671"/>
            <ac:spMk id="43" creationId="{5C43A574-7CB8-45FD-AA88-E0F00D4C70A8}"/>
          </ac:spMkLst>
        </pc:spChg>
        <pc:spChg chg="add del mod modVis">
          <ac:chgData name="Matthäus Alberding" userId="89cdd4c9-d044-4ab4-9e6f-8f065e0119c4" providerId="ADAL" clId="{B6745356-B6CF-45AA-ADCC-AC8F740A00DA}" dt="2022-07-21T09:56:20.118" v="11197"/>
          <ac:spMkLst>
            <pc:docMk/>
            <pc:sldMk cId="2217449999" sldId="671"/>
            <ac:spMk id="44" creationId="{832E21CC-CA75-4C86-AD61-5AD5D72CF06E}"/>
          </ac:spMkLst>
        </pc:spChg>
        <pc:spChg chg="add del mod modVis">
          <ac:chgData name="Matthäus Alberding" userId="89cdd4c9-d044-4ab4-9e6f-8f065e0119c4" providerId="ADAL" clId="{B6745356-B6CF-45AA-ADCC-AC8F740A00DA}" dt="2022-07-21T09:56:28.841" v="11246"/>
          <ac:spMkLst>
            <pc:docMk/>
            <pc:sldMk cId="2217449999" sldId="671"/>
            <ac:spMk id="45" creationId="{BFFE02EC-B316-4EE3-B51F-81ADD67CD753}"/>
          </ac:spMkLst>
        </pc:spChg>
        <pc:spChg chg="add del mod modVis">
          <ac:chgData name="Matthäus Alberding" userId="89cdd4c9-d044-4ab4-9e6f-8f065e0119c4" providerId="ADAL" clId="{B6745356-B6CF-45AA-ADCC-AC8F740A00DA}" dt="2022-07-21T09:56:31.654" v="11291"/>
          <ac:spMkLst>
            <pc:docMk/>
            <pc:sldMk cId="2217449999" sldId="671"/>
            <ac:spMk id="46" creationId="{30A451E6-7616-4B7D-855F-D1E4C7AB6A99}"/>
          </ac:spMkLst>
        </pc:spChg>
        <pc:spChg chg="add del mod modVis">
          <ac:chgData name="Matthäus Alberding" userId="89cdd4c9-d044-4ab4-9e6f-8f065e0119c4" providerId="ADAL" clId="{B6745356-B6CF-45AA-ADCC-AC8F740A00DA}" dt="2022-07-21T09:56:36.775" v="11342"/>
          <ac:spMkLst>
            <pc:docMk/>
            <pc:sldMk cId="2217449999" sldId="671"/>
            <ac:spMk id="47" creationId="{E96922D5-0D3F-440E-B3A9-34CEA1B242F4}"/>
          </ac:spMkLst>
        </pc:spChg>
        <pc:graphicFrameChg chg="add mod">
          <ac:chgData name="Matthäus Alberding" userId="89cdd4c9-d044-4ab4-9e6f-8f065e0119c4" providerId="ADAL" clId="{B6745356-B6CF-45AA-ADCC-AC8F740A00DA}" dt="2022-07-21T10:39:59.381" v="17395"/>
          <ac:graphicFrameMkLst>
            <pc:docMk/>
            <pc:sldMk cId="2217449999" sldId="671"/>
            <ac:graphicFrameMk id="7" creationId="{53BD9F6B-1DAC-4933-ADB5-92DE11D73270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1T09:56:36.776" v="11344"/>
          <ac:graphicFrameMkLst>
            <pc:docMk/>
            <pc:sldMk cId="2217449999" sldId="671"/>
            <ac:graphicFrameMk id="11" creationId="{22C152FB-143A-43AD-87E6-61DC6744934E}"/>
          </ac:graphicFrameMkLst>
        </pc:graphicFrameChg>
        <pc:picChg chg="add mod">
          <ac:chgData name="Matthäus Alberding" userId="89cdd4c9-d044-4ab4-9e6f-8f065e0119c4" providerId="ADAL" clId="{B6745356-B6CF-45AA-ADCC-AC8F740A00DA}" dt="2022-07-21T10:41:20.646" v="17447" actId="14100"/>
          <ac:picMkLst>
            <pc:docMk/>
            <pc:sldMk cId="2217449999" sldId="671"/>
            <ac:picMk id="20" creationId="{066EB6E1-FB1A-4539-9B7A-46C6778373E7}"/>
          </ac:picMkLst>
        </pc:picChg>
      </pc:sldChg>
      <pc:sldChg chg="addSp delSp modSp new add del mod ord modTransition modShow">
        <pc:chgData name="Matthäus Alberding" userId="89cdd4c9-d044-4ab4-9e6f-8f065e0119c4" providerId="ADAL" clId="{B6745356-B6CF-45AA-ADCC-AC8F740A00DA}" dt="2022-07-21T13:20:33.695" v="25770" actId="47"/>
        <pc:sldMkLst>
          <pc:docMk/>
          <pc:sldMk cId="2123050171" sldId="672"/>
        </pc:sldMkLst>
        <pc:spChg chg="mod">
          <ac:chgData name="Matthäus Alberding" userId="89cdd4c9-d044-4ab4-9e6f-8f065e0119c4" providerId="ADAL" clId="{B6745356-B6CF-45AA-ADCC-AC8F740A00DA}" dt="2022-07-21T10:21:00.329" v="15918" actId="948"/>
          <ac:spMkLst>
            <pc:docMk/>
            <pc:sldMk cId="2123050171" sldId="672"/>
            <ac:spMk id="4" creationId="{1C939C05-1BB3-42A8-A79F-146D36FFD52D}"/>
          </ac:spMkLst>
        </pc:spChg>
        <pc:spChg chg="mod">
          <ac:chgData name="Matthäus Alberding" userId="89cdd4c9-d044-4ab4-9e6f-8f065e0119c4" providerId="ADAL" clId="{B6745356-B6CF-45AA-ADCC-AC8F740A00DA}" dt="2022-07-21T10:18:32.329" v="15611"/>
          <ac:spMkLst>
            <pc:docMk/>
            <pc:sldMk cId="2123050171" sldId="672"/>
            <ac:spMk id="5" creationId="{5A90B5FF-C32D-4F57-BF68-EC672DE17E79}"/>
          </ac:spMkLst>
        </pc:spChg>
        <pc:spChg chg="add del mod">
          <ac:chgData name="Matthäus Alberding" userId="89cdd4c9-d044-4ab4-9e6f-8f065e0119c4" providerId="ADAL" clId="{B6745356-B6CF-45AA-ADCC-AC8F740A00DA}" dt="2022-07-21T09:59:23.626" v="12689" actId="478"/>
          <ac:spMkLst>
            <pc:docMk/>
            <pc:sldMk cId="2123050171" sldId="672"/>
            <ac:spMk id="6" creationId="{25F4BE1E-7CA9-4AF9-879B-5ED861C80B99}"/>
          </ac:spMkLst>
        </pc:spChg>
        <pc:spChg chg="add mod">
          <ac:chgData name="Matthäus Alberding" userId="89cdd4c9-d044-4ab4-9e6f-8f065e0119c4" providerId="ADAL" clId="{B6745356-B6CF-45AA-ADCC-AC8F740A00DA}" dt="2022-07-21T09:59:29.013" v="12691" actId="1076"/>
          <ac:spMkLst>
            <pc:docMk/>
            <pc:sldMk cId="2123050171" sldId="672"/>
            <ac:spMk id="8" creationId="{28D0FA0B-7C02-4F94-99C0-AEFE37D374FC}"/>
          </ac:spMkLst>
        </pc:spChg>
        <pc:spChg chg="add del mod modVis">
          <ac:chgData name="Matthäus Alberding" userId="89cdd4c9-d044-4ab4-9e6f-8f065e0119c4" providerId="ADAL" clId="{B6745356-B6CF-45AA-ADCC-AC8F740A00DA}" dt="2022-07-21T09:59:36.031" v="12771"/>
          <ac:spMkLst>
            <pc:docMk/>
            <pc:sldMk cId="2123050171" sldId="672"/>
            <ac:spMk id="10" creationId="{4A856EC8-647C-4D46-84F5-ED3C229F1734}"/>
          </ac:spMkLst>
        </pc:spChg>
        <pc:spChg chg="add del mod modVis">
          <ac:chgData name="Matthäus Alberding" userId="89cdd4c9-d044-4ab4-9e6f-8f065e0119c4" providerId="ADAL" clId="{B6745356-B6CF-45AA-ADCC-AC8F740A00DA}" dt="2022-07-21T09:59:39.108" v="12837"/>
          <ac:spMkLst>
            <pc:docMk/>
            <pc:sldMk cId="2123050171" sldId="672"/>
            <ac:spMk id="11" creationId="{B1DB5356-F7A7-434C-B41C-28451C87946F}"/>
          </ac:spMkLst>
        </pc:spChg>
        <pc:spChg chg="add del mod modVis">
          <ac:chgData name="Matthäus Alberding" userId="89cdd4c9-d044-4ab4-9e6f-8f065e0119c4" providerId="ADAL" clId="{B6745356-B6CF-45AA-ADCC-AC8F740A00DA}" dt="2022-07-21T10:00:04.091" v="12917"/>
          <ac:spMkLst>
            <pc:docMk/>
            <pc:sldMk cId="2123050171" sldId="672"/>
            <ac:spMk id="12" creationId="{9E81D669-9B0A-4D5C-AA15-1BC0018D28B2}"/>
          </ac:spMkLst>
        </pc:spChg>
        <pc:spChg chg="add del mod modVis">
          <ac:chgData name="Matthäus Alberding" userId="89cdd4c9-d044-4ab4-9e6f-8f065e0119c4" providerId="ADAL" clId="{B6745356-B6CF-45AA-ADCC-AC8F740A00DA}" dt="2022-07-21T10:00:06.927" v="12968"/>
          <ac:spMkLst>
            <pc:docMk/>
            <pc:sldMk cId="2123050171" sldId="672"/>
            <ac:spMk id="13" creationId="{CA759055-BE1A-48BC-A8F1-7A4CBAFAABA4}"/>
          </ac:spMkLst>
        </pc:spChg>
        <pc:spChg chg="del mod modVis">
          <ac:chgData name="Matthäus Alberding" userId="89cdd4c9-d044-4ab4-9e6f-8f065e0119c4" providerId="ADAL" clId="{B6745356-B6CF-45AA-ADCC-AC8F740A00DA}" dt="2022-07-21T10:00:11.070" v="13007" actId="478"/>
          <ac:spMkLst>
            <pc:docMk/>
            <pc:sldMk cId="2123050171" sldId="672"/>
            <ac:spMk id="14" creationId="{ECDEB506-A443-48D7-BD63-33AB8796A81E}"/>
          </ac:spMkLst>
        </pc:spChg>
        <pc:spChg chg="add del mod modVis">
          <ac:chgData name="Matthäus Alberding" userId="89cdd4c9-d044-4ab4-9e6f-8f065e0119c4" providerId="ADAL" clId="{B6745356-B6CF-45AA-ADCC-AC8F740A00DA}" dt="2022-07-21T10:00:13.499" v="13049"/>
          <ac:spMkLst>
            <pc:docMk/>
            <pc:sldMk cId="2123050171" sldId="672"/>
            <ac:spMk id="15" creationId="{5CEC62DB-380D-4B9B-A009-8B86DD0AF5C9}"/>
          </ac:spMkLst>
        </pc:spChg>
        <pc:spChg chg="add del mod modVis">
          <ac:chgData name="Matthäus Alberding" userId="89cdd4c9-d044-4ab4-9e6f-8f065e0119c4" providerId="ADAL" clId="{B6745356-B6CF-45AA-ADCC-AC8F740A00DA}" dt="2022-07-21T10:00:26.566" v="13128"/>
          <ac:spMkLst>
            <pc:docMk/>
            <pc:sldMk cId="2123050171" sldId="672"/>
            <ac:spMk id="16" creationId="{E1222B9A-CF29-4F23-956A-8D0513BB27CF}"/>
          </ac:spMkLst>
        </pc:spChg>
        <pc:spChg chg="add del mod modVis">
          <ac:chgData name="Matthäus Alberding" userId="89cdd4c9-d044-4ab4-9e6f-8f065e0119c4" providerId="ADAL" clId="{B6745356-B6CF-45AA-ADCC-AC8F740A00DA}" dt="2022-07-21T10:00:29.887" v="13179"/>
          <ac:spMkLst>
            <pc:docMk/>
            <pc:sldMk cId="2123050171" sldId="672"/>
            <ac:spMk id="17" creationId="{B64E6ED6-DB01-4B38-B0DF-C9345D734F05}"/>
          </ac:spMkLst>
        </pc:spChg>
        <pc:spChg chg="add del mod modVis">
          <ac:chgData name="Matthäus Alberding" userId="89cdd4c9-d044-4ab4-9e6f-8f065e0119c4" providerId="ADAL" clId="{B6745356-B6CF-45AA-ADCC-AC8F740A00DA}" dt="2022-07-21T10:01:29.061" v="13226"/>
          <ac:spMkLst>
            <pc:docMk/>
            <pc:sldMk cId="2123050171" sldId="672"/>
            <ac:spMk id="18" creationId="{444CBA65-2353-42B6-96C5-1FAF11D9A50B}"/>
          </ac:spMkLst>
        </pc:spChg>
        <pc:spChg chg="add del mod modVis">
          <ac:chgData name="Matthäus Alberding" userId="89cdd4c9-d044-4ab4-9e6f-8f065e0119c4" providerId="ADAL" clId="{B6745356-B6CF-45AA-ADCC-AC8F740A00DA}" dt="2022-07-21T10:01:35.873" v="13325"/>
          <ac:spMkLst>
            <pc:docMk/>
            <pc:sldMk cId="2123050171" sldId="672"/>
            <ac:spMk id="19" creationId="{AE1524B7-97D1-463C-8813-544582A15F8F}"/>
          </ac:spMkLst>
        </pc:spChg>
        <pc:spChg chg="add del mod modVis">
          <ac:chgData name="Matthäus Alberding" userId="89cdd4c9-d044-4ab4-9e6f-8f065e0119c4" providerId="ADAL" clId="{B6745356-B6CF-45AA-ADCC-AC8F740A00DA}" dt="2022-07-21T10:01:37.318" v="13368"/>
          <ac:spMkLst>
            <pc:docMk/>
            <pc:sldMk cId="2123050171" sldId="672"/>
            <ac:spMk id="20" creationId="{B7D6F8D5-D6D4-41A6-9890-0D454C0D48B6}"/>
          </ac:spMkLst>
        </pc:spChg>
        <pc:spChg chg="add del mod modVis">
          <ac:chgData name="Matthäus Alberding" userId="89cdd4c9-d044-4ab4-9e6f-8f065e0119c4" providerId="ADAL" clId="{B6745356-B6CF-45AA-ADCC-AC8F740A00DA}" dt="2022-07-21T10:01:38.825" v="13415"/>
          <ac:spMkLst>
            <pc:docMk/>
            <pc:sldMk cId="2123050171" sldId="672"/>
            <ac:spMk id="21" creationId="{0F478968-5259-4029-A60D-C558C24C872A}"/>
          </ac:spMkLst>
        </pc:spChg>
        <pc:spChg chg="add del mod modVis">
          <ac:chgData name="Matthäus Alberding" userId="89cdd4c9-d044-4ab4-9e6f-8f065e0119c4" providerId="ADAL" clId="{B6745356-B6CF-45AA-ADCC-AC8F740A00DA}" dt="2022-07-21T10:01:44.644" v="13485"/>
          <ac:spMkLst>
            <pc:docMk/>
            <pc:sldMk cId="2123050171" sldId="672"/>
            <ac:spMk id="22" creationId="{799A0F10-FD1B-4497-838B-3FB4489BC1C2}"/>
          </ac:spMkLst>
        </pc:spChg>
        <pc:spChg chg="add del mod modVis">
          <ac:chgData name="Matthäus Alberding" userId="89cdd4c9-d044-4ab4-9e6f-8f065e0119c4" providerId="ADAL" clId="{B6745356-B6CF-45AA-ADCC-AC8F740A00DA}" dt="2022-07-21T10:01:45.308" v="13528"/>
          <ac:spMkLst>
            <pc:docMk/>
            <pc:sldMk cId="2123050171" sldId="672"/>
            <ac:spMk id="23" creationId="{033B306F-3B44-4D60-89E5-D15CB40D71D6}"/>
          </ac:spMkLst>
        </pc:spChg>
        <pc:spChg chg="add del mod modVis">
          <ac:chgData name="Matthäus Alberding" userId="89cdd4c9-d044-4ab4-9e6f-8f065e0119c4" providerId="ADAL" clId="{B6745356-B6CF-45AA-ADCC-AC8F740A00DA}" dt="2022-07-21T10:01:46.934" v="13605"/>
          <ac:spMkLst>
            <pc:docMk/>
            <pc:sldMk cId="2123050171" sldId="672"/>
            <ac:spMk id="24" creationId="{BA62557D-C691-4236-978D-1D9A043529B6}"/>
          </ac:spMkLst>
        </pc:spChg>
        <pc:spChg chg="add del mod modVis">
          <ac:chgData name="Matthäus Alberding" userId="89cdd4c9-d044-4ab4-9e6f-8f065e0119c4" providerId="ADAL" clId="{B6745356-B6CF-45AA-ADCC-AC8F740A00DA}" dt="2022-07-21T10:01:49.060" v="13667"/>
          <ac:spMkLst>
            <pc:docMk/>
            <pc:sldMk cId="2123050171" sldId="672"/>
            <ac:spMk id="25" creationId="{F644AF85-DD81-4F1F-973C-D5C62B506D1E}"/>
          </ac:spMkLst>
        </pc:spChg>
        <pc:spChg chg="add del mod modVis">
          <ac:chgData name="Matthäus Alberding" userId="89cdd4c9-d044-4ab4-9e6f-8f065e0119c4" providerId="ADAL" clId="{B6745356-B6CF-45AA-ADCC-AC8F740A00DA}" dt="2022-07-21T10:01:50.463" v="13710"/>
          <ac:spMkLst>
            <pc:docMk/>
            <pc:sldMk cId="2123050171" sldId="672"/>
            <ac:spMk id="26" creationId="{DDCC2336-8A73-41DA-BE5E-D214BF550D25}"/>
          </ac:spMkLst>
        </pc:spChg>
        <pc:spChg chg="add del mod modVis">
          <ac:chgData name="Matthäus Alberding" userId="89cdd4c9-d044-4ab4-9e6f-8f065e0119c4" providerId="ADAL" clId="{B6745356-B6CF-45AA-ADCC-AC8F740A00DA}" dt="2022-07-21T10:02:19.911" v="13768"/>
          <ac:spMkLst>
            <pc:docMk/>
            <pc:sldMk cId="2123050171" sldId="672"/>
            <ac:spMk id="27" creationId="{5C740041-7FA9-4036-9EDD-3B0985E50AC3}"/>
          </ac:spMkLst>
        </pc:spChg>
        <pc:spChg chg="add del mod modVis">
          <ac:chgData name="Matthäus Alberding" userId="89cdd4c9-d044-4ab4-9e6f-8f065e0119c4" providerId="ADAL" clId="{B6745356-B6CF-45AA-ADCC-AC8F740A00DA}" dt="2022-07-21T10:02:22.287" v="13821"/>
          <ac:spMkLst>
            <pc:docMk/>
            <pc:sldMk cId="2123050171" sldId="672"/>
            <ac:spMk id="28" creationId="{505E735E-BBDF-44E8-82D3-8516E06E8239}"/>
          </ac:spMkLst>
        </pc:spChg>
        <pc:spChg chg="add del mod modVis">
          <ac:chgData name="Matthäus Alberding" userId="89cdd4c9-d044-4ab4-9e6f-8f065e0119c4" providerId="ADAL" clId="{B6745356-B6CF-45AA-ADCC-AC8F740A00DA}" dt="2022-07-21T10:02:23.282" v="13866"/>
          <ac:spMkLst>
            <pc:docMk/>
            <pc:sldMk cId="2123050171" sldId="672"/>
            <ac:spMk id="29" creationId="{0939CFAB-754C-4E52-A653-6AE190020A9D}"/>
          </ac:spMkLst>
        </pc:spChg>
        <pc:spChg chg="add del mod modVis">
          <ac:chgData name="Matthäus Alberding" userId="89cdd4c9-d044-4ab4-9e6f-8f065e0119c4" providerId="ADAL" clId="{B6745356-B6CF-45AA-ADCC-AC8F740A00DA}" dt="2022-07-21T10:02:25.722" v="13919"/>
          <ac:spMkLst>
            <pc:docMk/>
            <pc:sldMk cId="2123050171" sldId="672"/>
            <ac:spMk id="30" creationId="{ED4DE16B-8A61-4BC5-AA70-06797259C2A8}"/>
          </ac:spMkLst>
        </pc:spChg>
        <pc:spChg chg="add del mod modVis">
          <ac:chgData name="Matthäus Alberding" userId="89cdd4c9-d044-4ab4-9e6f-8f065e0119c4" providerId="ADAL" clId="{B6745356-B6CF-45AA-ADCC-AC8F740A00DA}" dt="2022-07-21T10:02:27.155" v="13966"/>
          <ac:spMkLst>
            <pc:docMk/>
            <pc:sldMk cId="2123050171" sldId="672"/>
            <ac:spMk id="31" creationId="{E1FBAA77-6EB6-4E2C-8CF6-14EA129AB69A}"/>
          </ac:spMkLst>
        </pc:spChg>
        <pc:spChg chg="add del mod modVis">
          <ac:chgData name="Matthäus Alberding" userId="89cdd4c9-d044-4ab4-9e6f-8f065e0119c4" providerId="ADAL" clId="{B6745356-B6CF-45AA-ADCC-AC8F740A00DA}" dt="2022-07-21T10:02:32.738" v="14048"/>
          <ac:spMkLst>
            <pc:docMk/>
            <pc:sldMk cId="2123050171" sldId="672"/>
            <ac:spMk id="32" creationId="{82F45204-333D-4BD8-BEE7-300A0A5321B0}"/>
          </ac:spMkLst>
        </pc:spChg>
        <pc:spChg chg="add del mod modVis">
          <ac:chgData name="Matthäus Alberding" userId="89cdd4c9-d044-4ab4-9e6f-8f065e0119c4" providerId="ADAL" clId="{B6745356-B6CF-45AA-ADCC-AC8F740A00DA}" dt="2022-07-21T10:02:38.041" v="14091"/>
          <ac:spMkLst>
            <pc:docMk/>
            <pc:sldMk cId="2123050171" sldId="672"/>
            <ac:spMk id="33" creationId="{3C307DE4-79E6-4BBC-93C0-940AD9476AF9}"/>
          </ac:spMkLst>
        </pc:spChg>
        <pc:spChg chg="add del mod modVis">
          <ac:chgData name="Matthäus Alberding" userId="89cdd4c9-d044-4ab4-9e6f-8f065e0119c4" providerId="ADAL" clId="{B6745356-B6CF-45AA-ADCC-AC8F740A00DA}" dt="2022-07-21T10:02:46.791" v="14134"/>
          <ac:spMkLst>
            <pc:docMk/>
            <pc:sldMk cId="2123050171" sldId="672"/>
            <ac:spMk id="34" creationId="{1D18BF99-C290-45A6-ACD7-6F8BD0EDBD08}"/>
          </ac:spMkLst>
        </pc:spChg>
        <pc:spChg chg="add del mod modVis">
          <ac:chgData name="Matthäus Alberding" userId="89cdd4c9-d044-4ab4-9e6f-8f065e0119c4" providerId="ADAL" clId="{B6745356-B6CF-45AA-ADCC-AC8F740A00DA}" dt="2022-07-21T10:02:49.040" v="14181"/>
          <ac:spMkLst>
            <pc:docMk/>
            <pc:sldMk cId="2123050171" sldId="672"/>
            <ac:spMk id="35" creationId="{5283E70E-81FE-4C9D-94B7-01A03BD420B8}"/>
          </ac:spMkLst>
        </pc:spChg>
        <pc:spChg chg="add del mod modVis">
          <ac:chgData name="Matthäus Alberding" userId="89cdd4c9-d044-4ab4-9e6f-8f065e0119c4" providerId="ADAL" clId="{B6745356-B6CF-45AA-ADCC-AC8F740A00DA}" dt="2022-07-21T10:02:54.738" v="14240"/>
          <ac:spMkLst>
            <pc:docMk/>
            <pc:sldMk cId="2123050171" sldId="672"/>
            <ac:spMk id="36" creationId="{99D0173C-639D-4ED6-8D1C-D3D33B901712}"/>
          </ac:spMkLst>
        </pc:spChg>
        <pc:spChg chg="add del mod modVis">
          <ac:chgData name="Matthäus Alberding" userId="89cdd4c9-d044-4ab4-9e6f-8f065e0119c4" providerId="ADAL" clId="{B6745356-B6CF-45AA-ADCC-AC8F740A00DA}" dt="2022-07-21T10:03:01.882" v="14318"/>
          <ac:spMkLst>
            <pc:docMk/>
            <pc:sldMk cId="2123050171" sldId="672"/>
            <ac:spMk id="37" creationId="{5EC59B62-C6DF-4FD6-B129-BC081C743355}"/>
          </ac:spMkLst>
        </pc:spChg>
        <pc:spChg chg="add mod">
          <ac:chgData name="Matthäus Alberding" userId="89cdd4c9-d044-4ab4-9e6f-8f065e0119c4" providerId="ADAL" clId="{B6745356-B6CF-45AA-ADCC-AC8F740A00DA}" dt="2022-07-21T10:03:42.758" v="14321"/>
          <ac:spMkLst>
            <pc:docMk/>
            <pc:sldMk cId="2123050171" sldId="672"/>
            <ac:spMk id="38" creationId="{ACA059F8-932B-4F7A-AF4E-6B0BEE41AB91}"/>
          </ac:spMkLst>
        </pc:spChg>
        <pc:spChg chg="add mod">
          <ac:chgData name="Matthäus Alberding" userId="89cdd4c9-d044-4ab4-9e6f-8f065e0119c4" providerId="ADAL" clId="{B6745356-B6CF-45AA-ADCC-AC8F740A00DA}" dt="2022-07-21T10:04:02.429" v="14322"/>
          <ac:spMkLst>
            <pc:docMk/>
            <pc:sldMk cId="2123050171" sldId="672"/>
            <ac:spMk id="39" creationId="{BFFF6026-3A0C-4D0D-8D91-CE308F7D74B4}"/>
          </ac:spMkLst>
        </pc:spChg>
        <pc:spChg chg="add del mod modVis">
          <ac:chgData name="Matthäus Alberding" userId="89cdd4c9-d044-4ab4-9e6f-8f065e0119c4" providerId="ADAL" clId="{B6745356-B6CF-45AA-ADCC-AC8F740A00DA}" dt="2022-07-21T10:17:17.947" v="15309"/>
          <ac:spMkLst>
            <pc:docMk/>
            <pc:sldMk cId="2123050171" sldId="672"/>
            <ac:spMk id="40" creationId="{62AF371B-5628-454B-8A2C-893B01F4AAE0}"/>
          </ac:spMkLst>
        </pc:spChg>
        <pc:spChg chg="add del mod modVis">
          <ac:chgData name="Matthäus Alberding" userId="89cdd4c9-d044-4ab4-9e6f-8f065e0119c4" providerId="ADAL" clId="{B6745356-B6CF-45AA-ADCC-AC8F740A00DA}" dt="2022-07-21T10:17:19.746" v="15367"/>
          <ac:spMkLst>
            <pc:docMk/>
            <pc:sldMk cId="2123050171" sldId="672"/>
            <ac:spMk id="41" creationId="{47CAFE4D-7634-4F43-9709-693D497AFA06}"/>
          </ac:spMkLst>
        </pc:spChg>
        <pc:spChg chg="add del mod modVis">
          <ac:chgData name="Matthäus Alberding" userId="89cdd4c9-d044-4ab4-9e6f-8f065e0119c4" providerId="ADAL" clId="{B6745356-B6CF-45AA-ADCC-AC8F740A00DA}" dt="2022-07-21T10:17:25.571" v="15443"/>
          <ac:spMkLst>
            <pc:docMk/>
            <pc:sldMk cId="2123050171" sldId="672"/>
            <ac:spMk id="42" creationId="{420E8B88-399F-45D5-94EE-22FB09346E05}"/>
          </ac:spMkLst>
        </pc:spChg>
        <pc:spChg chg="add del mod modVis">
          <ac:chgData name="Matthäus Alberding" userId="89cdd4c9-d044-4ab4-9e6f-8f065e0119c4" providerId="ADAL" clId="{B6745356-B6CF-45AA-ADCC-AC8F740A00DA}" dt="2022-07-21T10:17:37.759" v="15487"/>
          <ac:spMkLst>
            <pc:docMk/>
            <pc:sldMk cId="2123050171" sldId="672"/>
            <ac:spMk id="43" creationId="{5AD55E1B-5432-428A-8338-7CFB35C83797}"/>
          </ac:spMkLst>
        </pc:spChg>
        <pc:spChg chg="add del mod modVis">
          <ac:chgData name="Matthäus Alberding" userId="89cdd4c9-d044-4ab4-9e6f-8f065e0119c4" providerId="ADAL" clId="{B6745356-B6CF-45AA-ADCC-AC8F740A00DA}" dt="2022-07-21T10:17:38.942" v="15534"/>
          <ac:spMkLst>
            <pc:docMk/>
            <pc:sldMk cId="2123050171" sldId="672"/>
            <ac:spMk id="44" creationId="{29B18A73-51C9-4AB4-A726-77B79ECC8BD8}"/>
          </ac:spMkLst>
        </pc:spChg>
        <pc:spChg chg="add del mod modVis">
          <ac:chgData name="Matthäus Alberding" userId="89cdd4c9-d044-4ab4-9e6f-8f065e0119c4" providerId="ADAL" clId="{B6745356-B6CF-45AA-ADCC-AC8F740A00DA}" dt="2022-07-21T10:17:40.513" v="15583"/>
          <ac:spMkLst>
            <pc:docMk/>
            <pc:sldMk cId="2123050171" sldId="672"/>
            <ac:spMk id="45" creationId="{8CDBA5A4-C288-4496-9367-CF6951A3F4AB}"/>
          </ac:spMkLst>
        </pc:spChg>
        <pc:spChg chg="add del mod modVis">
          <ac:chgData name="Matthäus Alberding" userId="89cdd4c9-d044-4ab4-9e6f-8f065e0119c4" providerId="ADAL" clId="{B6745356-B6CF-45AA-ADCC-AC8F740A00DA}" dt="2022-07-21T10:20:39.030" v="15766"/>
          <ac:spMkLst>
            <pc:docMk/>
            <pc:sldMk cId="2123050171" sldId="672"/>
            <ac:spMk id="46" creationId="{4DA3C545-9F2F-4623-A5A0-F5F5C8612CD0}"/>
          </ac:spMkLst>
        </pc:spChg>
        <pc:spChg chg="add del mod modVis">
          <ac:chgData name="Matthäus Alberding" userId="89cdd4c9-d044-4ab4-9e6f-8f065e0119c4" providerId="ADAL" clId="{B6745356-B6CF-45AA-ADCC-AC8F740A00DA}" dt="2022-07-21T10:20:49.007" v="15809"/>
          <ac:spMkLst>
            <pc:docMk/>
            <pc:sldMk cId="2123050171" sldId="672"/>
            <ac:spMk id="47" creationId="{779CBD99-28C2-4F43-834C-37FE3EE7EF49}"/>
          </ac:spMkLst>
        </pc:spChg>
        <pc:spChg chg="add del mod modVis">
          <ac:chgData name="Matthäus Alberding" userId="89cdd4c9-d044-4ab4-9e6f-8f065e0119c4" providerId="ADAL" clId="{B6745356-B6CF-45AA-ADCC-AC8F740A00DA}" dt="2022-07-21T10:20:58.843" v="15862"/>
          <ac:spMkLst>
            <pc:docMk/>
            <pc:sldMk cId="2123050171" sldId="672"/>
            <ac:spMk id="48" creationId="{C9E1B594-8EFF-48E1-B22D-4CC610E1EB00}"/>
          </ac:spMkLst>
        </pc:spChg>
        <pc:spChg chg="add del mod modVis">
          <ac:chgData name="Matthäus Alberding" userId="89cdd4c9-d044-4ab4-9e6f-8f065e0119c4" providerId="ADAL" clId="{B6745356-B6CF-45AA-ADCC-AC8F740A00DA}" dt="2022-07-21T10:20:59.526" v="15905"/>
          <ac:spMkLst>
            <pc:docMk/>
            <pc:sldMk cId="2123050171" sldId="672"/>
            <ac:spMk id="49" creationId="{A247560E-5541-405E-A67C-87BBE11CC205}"/>
          </ac:spMkLst>
        </pc:spChg>
        <pc:spChg chg="add del mod modVis">
          <ac:chgData name="Matthäus Alberding" userId="89cdd4c9-d044-4ab4-9e6f-8f065e0119c4" providerId="ADAL" clId="{B6745356-B6CF-45AA-ADCC-AC8F740A00DA}" dt="2022-07-21T10:21:00.348" v="15957"/>
          <ac:spMkLst>
            <pc:docMk/>
            <pc:sldMk cId="2123050171" sldId="672"/>
            <ac:spMk id="50" creationId="{3735AFD5-5FE5-4C70-8D1E-D65DE7D757E7}"/>
          </ac:spMkLst>
        </pc:spChg>
        <pc:graphicFrameChg chg="add mod">
          <ac:chgData name="Matthäus Alberding" userId="89cdd4c9-d044-4ab4-9e6f-8f065e0119c4" providerId="ADAL" clId="{B6745356-B6CF-45AA-ADCC-AC8F740A00DA}" dt="2022-07-21T09:59:25.992" v="12690" actId="1076"/>
          <ac:graphicFrameMkLst>
            <pc:docMk/>
            <pc:sldMk cId="2123050171" sldId="672"/>
            <ac:graphicFrameMk id="7" creationId="{E17EB054-DFFB-469F-8E48-FFA99FB8F210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1T10:21:00.350" v="15959"/>
          <ac:graphicFrameMkLst>
            <pc:docMk/>
            <pc:sldMk cId="2123050171" sldId="672"/>
            <ac:graphicFrameMk id="9" creationId="{53518C81-7135-49AE-839C-CD662979F55E}"/>
          </ac:graphicFrameMkLst>
        </pc:graphicFrameChg>
      </pc:sldChg>
      <pc:sldChg chg="addSp delSp modSp new add mod">
        <pc:chgData name="Matthäus Alberding" userId="89cdd4c9-d044-4ab4-9e6f-8f065e0119c4" providerId="ADAL" clId="{B6745356-B6CF-45AA-ADCC-AC8F740A00DA}" dt="2022-07-21T10:42:19.884" v="17467" actId="2711"/>
        <pc:sldMkLst>
          <pc:docMk/>
          <pc:sldMk cId="2793668927" sldId="673"/>
        </pc:sldMkLst>
        <pc:spChg chg="mod">
          <ac:chgData name="Matthäus Alberding" userId="89cdd4c9-d044-4ab4-9e6f-8f065e0119c4" providerId="ADAL" clId="{B6745356-B6CF-45AA-ADCC-AC8F740A00DA}" dt="2022-07-21T10:09:36.888" v="14628" actId="948"/>
          <ac:spMkLst>
            <pc:docMk/>
            <pc:sldMk cId="2793668927" sldId="673"/>
            <ac:spMk id="4" creationId="{78BC0A3C-59C5-4C35-88A0-23BE122C0423}"/>
          </ac:spMkLst>
        </pc:spChg>
        <pc:spChg chg="mod">
          <ac:chgData name="Matthäus Alberding" userId="89cdd4c9-d044-4ab4-9e6f-8f065e0119c4" providerId="ADAL" clId="{B6745356-B6CF-45AA-ADCC-AC8F740A00DA}" dt="2022-07-21T10:18:26.812" v="15609"/>
          <ac:spMkLst>
            <pc:docMk/>
            <pc:sldMk cId="2793668927" sldId="673"/>
            <ac:spMk id="5" creationId="{3652648C-ABB6-403E-8752-DD33409CA2EC}"/>
          </ac:spMkLst>
        </pc:spChg>
        <pc:spChg chg="add del mod">
          <ac:chgData name="Matthäus Alberding" userId="89cdd4c9-d044-4ab4-9e6f-8f065e0119c4" providerId="ADAL" clId="{B6745356-B6CF-45AA-ADCC-AC8F740A00DA}" dt="2022-07-21T10:08:27.781" v="14340" actId="478"/>
          <ac:spMkLst>
            <pc:docMk/>
            <pc:sldMk cId="2793668927" sldId="673"/>
            <ac:spMk id="7" creationId="{818DC1DC-DDEA-427B-83B4-F5A658649F5B}"/>
          </ac:spMkLst>
        </pc:spChg>
        <pc:spChg chg="add del mod">
          <ac:chgData name="Matthäus Alberding" userId="89cdd4c9-d044-4ab4-9e6f-8f065e0119c4" providerId="ADAL" clId="{B6745356-B6CF-45AA-ADCC-AC8F740A00DA}" dt="2022-07-21T10:08:28.517" v="14341" actId="478"/>
          <ac:spMkLst>
            <pc:docMk/>
            <pc:sldMk cId="2793668927" sldId="673"/>
            <ac:spMk id="8" creationId="{A4D1E7CE-04A4-430C-83B9-6D5A2B29ECC1}"/>
          </ac:spMkLst>
        </pc:spChg>
        <pc:spChg chg="add mod">
          <ac:chgData name="Matthäus Alberding" userId="89cdd4c9-d044-4ab4-9e6f-8f065e0119c4" providerId="ADAL" clId="{B6745356-B6CF-45AA-ADCC-AC8F740A00DA}" dt="2022-07-21T10:42:19.884" v="17467" actId="2711"/>
          <ac:spMkLst>
            <pc:docMk/>
            <pc:sldMk cId="2793668927" sldId="673"/>
            <ac:spMk id="9" creationId="{6B6ED3C0-1CBC-43E0-AE3D-9DFB3F9FDAFD}"/>
          </ac:spMkLst>
        </pc:spChg>
        <pc:spChg chg="add mod">
          <ac:chgData name="Matthäus Alberding" userId="89cdd4c9-d044-4ab4-9e6f-8f065e0119c4" providerId="ADAL" clId="{B6745356-B6CF-45AA-ADCC-AC8F740A00DA}" dt="2022-07-21T10:08:49.748" v="14344"/>
          <ac:spMkLst>
            <pc:docMk/>
            <pc:sldMk cId="2793668927" sldId="673"/>
            <ac:spMk id="10" creationId="{42C50756-CBD6-4617-9901-C8ADBE1D9E6C}"/>
          </ac:spMkLst>
        </pc:spChg>
        <pc:spChg chg="add mod">
          <ac:chgData name="Matthäus Alberding" userId="89cdd4c9-d044-4ab4-9e6f-8f065e0119c4" providerId="ADAL" clId="{B6745356-B6CF-45AA-ADCC-AC8F740A00DA}" dt="2022-07-21T10:41:35.261" v="17449" actId="403"/>
          <ac:spMkLst>
            <pc:docMk/>
            <pc:sldMk cId="2793668927" sldId="673"/>
            <ac:spMk id="11" creationId="{529B7FB7-4EC9-4350-A7FC-AC09EE4DEA66}"/>
          </ac:spMkLst>
        </pc:spChg>
        <pc:spChg chg="add del mod modVis">
          <ac:chgData name="Matthäus Alberding" userId="89cdd4c9-d044-4ab4-9e6f-8f065e0119c4" providerId="ADAL" clId="{B6745356-B6CF-45AA-ADCC-AC8F740A00DA}" dt="2022-07-21T10:09:12.682" v="14434"/>
          <ac:spMkLst>
            <pc:docMk/>
            <pc:sldMk cId="2793668927" sldId="673"/>
            <ac:spMk id="12" creationId="{69C888C7-74E2-4767-89B4-65FEA3A708A9}"/>
          </ac:spMkLst>
        </pc:spChg>
        <pc:spChg chg="add del mod modVis">
          <ac:chgData name="Matthäus Alberding" userId="89cdd4c9-d044-4ab4-9e6f-8f065e0119c4" providerId="ADAL" clId="{B6745356-B6CF-45AA-ADCC-AC8F740A00DA}" dt="2022-07-21T10:09:17.042" v="14490"/>
          <ac:spMkLst>
            <pc:docMk/>
            <pc:sldMk cId="2793668927" sldId="673"/>
            <ac:spMk id="14" creationId="{83770F6C-AD1E-472E-B3DC-7EECF5F4D5A4}"/>
          </ac:spMkLst>
        </pc:spChg>
        <pc:spChg chg="add del mod modVis">
          <ac:chgData name="Matthäus Alberding" userId="89cdd4c9-d044-4ab4-9e6f-8f065e0119c4" providerId="ADAL" clId="{B6745356-B6CF-45AA-ADCC-AC8F740A00DA}" dt="2022-07-21T10:09:18.857" v="14537"/>
          <ac:spMkLst>
            <pc:docMk/>
            <pc:sldMk cId="2793668927" sldId="673"/>
            <ac:spMk id="15" creationId="{515E2135-4342-4299-9B11-BD9CE92480B9}"/>
          </ac:spMkLst>
        </pc:spChg>
        <pc:spChg chg="add del mod modVis">
          <ac:chgData name="Matthäus Alberding" userId="89cdd4c9-d044-4ab4-9e6f-8f065e0119c4" providerId="ADAL" clId="{B6745356-B6CF-45AA-ADCC-AC8F740A00DA}" dt="2022-07-21T10:09:25.519" v="14622"/>
          <ac:spMkLst>
            <pc:docMk/>
            <pc:sldMk cId="2793668927" sldId="673"/>
            <ac:spMk id="16" creationId="{2B7CBA12-2AD6-4DAB-834E-A8357E3324CE}"/>
          </ac:spMkLst>
        </pc:spChg>
        <pc:spChg chg="add del mod modVis">
          <ac:chgData name="Matthäus Alberding" userId="89cdd4c9-d044-4ab4-9e6f-8f065e0119c4" providerId="ADAL" clId="{B6745356-B6CF-45AA-ADCC-AC8F740A00DA}" dt="2022-07-21T10:09:36.907" v="14667"/>
          <ac:spMkLst>
            <pc:docMk/>
            <pc:sldMk cId="2793668927" sldId="673"/>
            <ac:spMk id="17" creationId="{8A0031A4-7AAC-428A-A845-7527AD7AC53A}"/>
          </ac:spMkLst>
        </pc:spChg>
        <pc:graphicFrameChg chg="add mod">
          <ac:chgData name="Matthäus Alberding" userId="89cdd4c9-d044-4ab4-9e6f-8f065e0119c4" providerId="ADAL" clId="{B6745356-B6CF-45AA-ADCC-AC8F740A00DA}" dt="2022-07-21T10:40:04.606" v="17396"/>
          <ac:graphicFrameMkLst>
            <pc:docMk/>
            <pc:sldMk cId="2793668927" sldId="673"/>
            <ac:graphicFrameMk id="6" creationId="{C49772FD-4BEC-480A-B6ED-B46D1000AA1C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1T10:09:36.908" v="14669"/>
          <ac:graphicFrameMkLst>
            <pc:docMk/>
            <pc:sldMk cId="2793668927" sldId="673"/>
            <ac:graphicFrameMk id="13" creationId="{799B3A89-D303-4F41-9DB1-6569113ACACE}"/>
          </ac:graphicFrameMkLst>
        </pc:graphicFrameChg>
      </pc:sldChg>
      <pc:sldChg chg="addSp delSp modSp new add mod ord">
        <pc:chgData name="Matthäus Alberding" userId="89cdd4c9-d044-4ab4-9e6f-8f065e0119c4" providerId="ADAL" clId="{B6745356-B6CF-45AA-ADCC-AC8F740A00DA}" dt="2022-07-29T09:02:35.161" v="103753"/>
        <pc:sldMkLst>
          <pc:docMk/>
          <pc:sldMk cId="3524991255" sldId="674"/>
        </pc:sldMkLst>
        <pc:spChg chg="mod ord">
          <ac:chgData name="Matthäus Alberding" userId="89cdd4c9-d044-4ab4-9e6f-8f065e0119c4" providerId="ADAL" clId="{B6745356-B6CF-45AA-ADCC-AC8F740A00DA}" dt="2022-07-21T10:33:15.556" v="16953"/>
          <ac:spMkLst>
            <pc:docMk/>
            <pc:sldMk cId="3524991255" sldId="674"/>
            <ac:spMk id="2" creationId="{635579E4-6DB0-48A8-889A-7449D63CED4C}"/>
          </ac:spMkLst>
        </pc:spChg>
        <pc:spChg chg="mod ord">
          <ac:chgData name="Matthäus Alberding" userId="89cdd4c9-d044-4ab4-9e6f-8f065e0119c4" providerId="ADAL" clId="{B6745356-B6CF-45AA-ADCC-AC8F740A00DA}" dt="2022-07-21T10:33:15.557" v="16955"/>
          <ac:spMkLst>
            <pc:docMk/>
            <pc:sldMk cId="3524991255" sldId="674"/>
            <ac:spMk id="3" creationId="{A5E6113D-211F-4AE9-9D40-ED3A471A3E56}"/>
          </ac:spMkLst>
        </pc:spChg>
        <pc:spChg chg="mod ord">
          <ac:chgData name="Matthäus Alberding" userId="89cdd4c9-d044-4ab4-9e6f-8f065e0119c4" providerId="ADAL" clId="{B6745356-B6CF-45AA-ADCC-AC8F740A00DA}" dt="2022-07-29T09:02:35.136" v="103712" actId="948"/>
          <ac:spMkLst>
            <pc:docMk/>
            <pc:sldMk cId="3524991255" sldId="674"/>
            <ac:spMk id="4" creationId="{AD0FAC96-6629-419E-B4D1-CAC716CBEDD9}"/>
          </ac:spMkLst>
        </pc:spChg>
        <pc:spChg chg="mod ord">
          <ac:chgData name="Matthäus Alberding" userId="89cdd4c9-d044-4ab4-9e6f-8f065e0119c4" providerId="ADAL" clId="{B6745356-B6CF-45AA-ADCC-AC8F740A00DA}" dt="2022-07-29T09:01:22.991" v="103305"/>
          <ac:spMkLst>
            <pc:docMk/>
            <pc:sldMk cId="3524991255" sldId="674"/>
            <ac:spMk id="5" creationId="{10A004DA-EED9-49A0-9181-173C98FE5A45}"/>
          </ac:spMkLst>
        </pc:spChg>
        <pc:spChg chg="add del mod modVis">
          <ac:chgData name="Matthäus Alberding" userId="89cdd4c9-d044-4ab4-9e6f-8f065e0119c4" providerId="ADAL" clId="{B6745356-B6CF-45AA-ADCC-AC8F740A00DA}" dt="2022-07-26T12:34:38.320" v="65004"/>
          <ac:spMkLst>
            <pc:docMk/>
            <pc:sldMk cId="3524991255" sldId="674"/>
            <ac:spMk id="6" creationId="{08B609C9-C2C6-4602-980A-631F2C1A51B7}"/>
          </ac:spMkLst>
        </pc:spChg>
        <pc:spChg chg="add del mod modVis">
          <ac:chgData name="Matthäus Alberding" userId="89cdd4c9-d044-4ab4-9e6f-8f065e0119c4" providerId="ADAL" clId="{B6745356-B6CF-45AA-ADCC-AC8F740A00DA}" dt="2022-07-29T09:00:21.104" v="102734"/>
          <ac:spMkLst>
            <pc:docMk/>
            <pc:sldMk cId="3524991255" sldId="674"/>
            <ac:spMk id="6" creationId="{90E18311-FC74-4DF0-AA09-3217C4B8396E}"/>
          </ac:spMkLst>
        </pc:spChg>
        <pc:spChg chg="add mod ord">
          <ac:chgData name="Matthäus Alberding" userId="89cdd4c9-d044-4ab4-9e6f-8f065e0119c4" providerId="ADAL" clId="{B6745356-B6CF-45AA-ADCC-AC8F740A00DA}" dt="2022-07-21T10:40:22.415" v="17414" actId="1038"/>
          <ac:spMkLst>
            <pc:docMk/>
            <pc:sldMk cId="3524991255" sldId="674"/>
            <ac:spMk id="7" creationId="{5CF61BC3-034D-4D27-BD8F-BEC28B606ED1}"/>
          </ac:spMkLst>
        </pc:spChg>
        <pc:spChg chg="add del mod modVis">
          <ac:chgData name="Matthäus Alberding" userId="89cdd4c9-d044-4ab4-9e6f-8f065e0119c4" providerId="ADAL" clId="{B6745356-B6CF-45AA-ADCC-AC8F740A00DA}" dt="2022-07-29T09:00:22.458" v="102780"/>
          <ac:spMkLst>
            <pc:docMk/>
            <pc:sldMk cId="3524991255" sldId="674"/>
            <ac:spMk id="8" creationId="{0087E9D8-F554-4E30-99DB-C0D8A864544F}"/>
          </ac:spMkLst>
        </pc:spChg>
        <pc:spChg chg="add del mod modVis">
          <ac:chgData name="Matthäus Alberding" userId="89cdd4c9-d044-4ab4-9e6f-8f065e0119c4" providerId="ADAL" clId="{B6745356-B6CF-45AA-ADCC-AC8F740A00DA}" dt="2022-07-26T12:34:39.049" v="65047"/>
          <ac:spMkLst>
            <pc:docMk/>
            <pc:sldMk cId="3524991255" sldId="674"/>
            <ac:spMk id="8" creationId="{42F60A9F-F60D-4B80-9873-F023FCB9F056}"/>
          </ac:spMkLst>
        </pc:spChg>
        <pc:spChg chg="add del mod modVis">
          <ac:chgData name="Matthäus Alberding" userId="89cdd4c9-d044-4ab4-9e6f-8f065e0119c4" providerId="ADAL" clId="{B6745356-B6CF-45AA-ADCC-AC8F740A00DA}" dt="2022-07-21T10:15:34.192" v="14729"/>
          <ac:spMkLst>
            <pc:docMk/>
            <pc:sldMk cId="3524991255" sldId="674"/>
            <ac:spMk id="8" creationId="{667A3F31-F94C-4393-AAEE-45CFC2E4D207}"/>
          </ac:spMkLst>
        </pc:spChg>
        <pc:spChg chg="add del mod modVis">
          <ac:chgData name="Matthäus Alberding" userId="89cdd4c9-d044-4ab4-9e6f-8f065e0119c4" providerId="ADAL" clId="{B6745356-B6CF-45AA-ADCC-AC8F740A00DA}" dt="2022-07-29T09:00:25.235" v="102832"/>
          <ac:spMkLst>
            <pc:docMk/>
            <pc:sldMk cId="3524991255" sldId="674"/>
            <ac:spMk id="10" creationId="{3D663B65-5FE1-4FEB-9F39-0F83E879EEA0}"/>
          </ac:spMkLst>
        </pc:spChg>
        <pc:spChg chg="add del mod modVis">
          <ac:chgData name="Matthäus Alberding" userId="89cdd4c9-d044-4ab4-9e6f-8f065e0119c4" providerId="ADAL" clId="{B6745356-B6CF-45AA-ADCC-AC8F740A00DA}" dt="2022-07-21T10:15:40.082" v="14823"/>
          <ac:spMkLst>
            <pc:docMk/>
            <pc:sldMk cId="3524991255" sldId="674"/>
            <ac:spMk id="10" creationId="{F2D05456-502D-4876-8A00-ADF4097A1C4E}"/>
          </ac:spMkLst>
        </pc:spChg>
        <pc:spChg chg="add del mod modVis">
          <ac:chgData name="Matthäus Alberding" userId="89cdd4c9-d044-4ab4-9e6f-8f065e0119c4" providerId="ADAL" clId="{B6745356-B6CF-45AA-ADCC-AC8F740A00DA}" dt="2022-07-21T10:15:41.712" v="14871"/>
          <ac:spMkLst>
            <pc:docMk/>
            <pc:sldMk cId="3524991255" sldId="674"/>
            <ac:spMk id="11" creationId="{41398C8A-EEF2-4A37-A173-8AFE4D75D5F8}"/>
          </ac:spMkLst>
        </pc:spChg>
        <pc:spChg chg="add del mod modVis">
          <ac:chgData name="Matthäus Alberding" userId="89cdd4c9-d044-4ab4-9e6f-8f065e0119c4" providerId="ADAL" clId="{B6745356-B6CF-45AA-ADCC-AC8F740A00DA}" dt="2022-07-29T09:00:26.631" v="102876"/>
          <ac:spMkLst>
            <pc:docMk/>
            <pc:sldMk cId="3524991255" sldId="674"/>
            <ac:spMk id="11" creationId="{D0041BC2-4321-42C2-B537-0BF338EA944F}"/>
          </ac:spMkLst>
        </pc:spChg>
        <pc:spChg chg="add del mod modVis">
          <ac:chgData name="Matthäus Alberding" userId="89cdd4c9-d044-4ab4-9e6f-8f065e0119c4" providerId="ADAL" clId="{B6745356-B6CF-45AA-ADCC-AC8F740A00DA}" dt="2022-07-21T10:15:43.244" v="14921"/>
          <ac:spMkLst>
            <pc:docMk/>
            <pc:sldMk cId="3524991255" sldId="674"/>
            <ac:spMk id="12" creationId="{26F49F38-D1BB-42A9-B422-E9604DC4589E}"/>
          </ac:spMkLst>
        </pc:spChg>
        <pc:spChg chg="add del mod modVis">
          <ac:chgData name="Matthäus Alberding" userId="89cdd4c9-d044-4ab4-9e6f-8f065e0119c4" providerId="ADAL" clId="{B6745356-B6CF-45AA-ADCC-AC8F740A00DA}" dt="2022-07-29T09:00:32.138" v="102954"/>
          <ac:spMkLst>
            <pc:docMk/>
            <pc:sldMk cId="3524991255" sldId="674"/>
            <ac:spMk id="12" creationId="{AE9D0BDC-F8FD-4A20-8338-A061D2EEDC30}"/>
          </ac:spMkLst>
        </pc:spChg>
        <pc:spChg chg="add del mod modVis">
          <ac:chgData name="Matthäus Alberding" userId="89cdd4c9-d044-4ab4-9e6f-8f065e0119c4" providerId="ADAL" clId="{B6745356-B6CF-45AA-ADCC-AC8F740A00DA}" dt="2022-07-29T09:00:33.089" v="102997"/>
          <ac:spMkLst>
            <pc:docMk/>
            <pc:sldMk cId="3524991255" sldId="674"/>
            <ac:spMk id="13" creationId="{E604691B-5178-401A-ACB7-881C15C25F19}"/>
          </ac:spMkLst>
        </pc:spChg>
        <pc:spChg chg="add del mod modVis">
          <ac:chgData name="Matthäus Alberding" userId="89cdd4c9-d044-4ab4-9e6f-8f065e0119c4" providerId="ADAL" clId="{B6745356-B6CF-45AA-ADCC-AC8F740A00DA}" dt="2022-07-21T10:15:49.105" v="14989"/>
          <ac:spMkLst>
            <pc:docMk/>
            <pc:sldMk cId="3524991255" sldId="674"/>
            <ac:spMk id="13" creationId="{F01011A3-B892-4074-97C7-CA748848C5F3}"/>
          </ac:spMkLst>
        </pc:spChg>
        <pc:spChg chg="add del mod modVis">
          <ac:chgData name="Matthäus Alberding" userId="89cdd4c9-d044-4ab4-9e6f-8f065e0119c4" providerId="ADAL" clId="{B6745356-B6CF-45AA-ADCC-AC8F740A00DA}" dt="2022-07-29T09:00:35.996" v="103054"/>
          <ac:spMkLst>
            <pc:docMk/>
            <pc:sldMk cId="3524991255" sldId="674"/>
            <ac:spMk id="14" creationId="{2BDFEC61-0F01-47AD-97F0-13E06FB90CA5}"/>
          </ac:spMkLst>
        </pc:spChg>
        <pc:spChg chg="add del mod modVis">
          <ac:chgData name="Matthäus Alberding" userId="89cdd4c9-d044-4ab4-9e6f-8f065e0119c4" providerId="ADAL" clId="{B6745356-B6CF-45AA-ADCC-AC8F740A00DA}" dt="2022-07-21T10:15:50.558" v="15041"/>
          <ac:spMkLst>
            <pc:docMk/>
            <pc:sldMk cId="3524991255" sldId="674"/>
            <ac:spMk id="14" creationId="{F78344E6-6480-41A3-A0FF-F45BAC50F971}"/>
          </ac:spMkLst>
        </pc:spChg>
        <pc:spChg chg="add del mod modVis">
          <ac:chgData name="Matthäus Alberding" userId="89cdd4c9-d044-4ab4-9e6f-8f065e0119c4" providerId="ADAL" clId="{B6745356-B6CF-45AA-ADCC-AC8F740A00DA}" dt="2022-07-21T10:15:53.484" v="15101"/>
          <ac:spMkLst>
            <pc:docMk/>
            <pc:sldMk cId="3524991255" sldId="674"/>
            <ac:spMk id="15" creationId="{03E9256B-A71E-4558-8DA5-B56A04A6AE77}"/>
          </ac:spMkLst>
        </pc:spChg>
        <pc:spChg chg="add del mod modVis">
          <ac:chgData name="Matthäus Alberding" userId="89cdd4c9-d044-4ab4-9e6f-8f065e0119c4" providerId="ADAL" clId="{B6745356-B6CF-45AA-ADCC-AC8F740A00DA}" dt="2022-07-29T09:00:39.941" v="103109"/>
          <ac:spMkLst>
            <pc:docMk/>
            <pc:sldMk cId="3524991255" sldId="674"/>
            <ac:spMk id="15" creationId="{3FAF3ADC-B1F7-4E18-94EE-2F56865A4EF5}"/>
          </ac:spMkLst>
        </pc:spChg>
        <pc:spChg chg="add del mod modVis">
          <ac:chgData name="Matthäus Alberding" userId="89cdd4c9-d044-4ab4-9e6f-8f065e0119c4" providerId="ADAL" clId="{B6745356-B6CF-45AA-ADCC-AC8F740A00DA}" dt="2022-07-29T09:00:42.072" v="103153"/>
          <ac:spMkLst>
            <pc:docMk/>
            <pc:sldMk cId="3524991255" sldId="674"/>
            <ac:spMk id="16" creationId="{ABAE8D96-3056-43EF-9CA2-5D4E75C8323C}"/>
          </ac:spMkLst>
        </pc:spChg>
        <pc:spChg chg="add del mod modVis">
          <ac:chgData name="Matthäus Alberding" userId="89cdd4c9-d044-4ab4-9e6f-8f065e0119c4" providerId="ADAL" clId="{B6745356-B6CF-45AA-ADCC-AC8F740A00DA}" dt="2022-07-21T10:15:54.146" v="15144"/>
          <ac:spMkLst>
            <pc:docMk/>
            <pc:sldMk cId="3524991255" sldId="674"/>
            <ac:spMk id="16" creationId="{D6681028-F01A-4270-81DA-6CBD5F473C6D}"/>
          </ac:spMkLst>
        </pc:spChg>
        <pc:spChg chg="del mod modVis">
          <ac:chgData name="Matthäus Alberding" userId="89cdd4c9-d044-4ab4-9e6f-8f065e0119c4" providerId="ADAL" clId="{B6745356-B6CF-45AA-ADCC-AC8F740A00DA}" dt="2022-07-21T10:15:58.882" v="15183" actId="478"/>
          <ac:spMkLst>
            <pc:docMk/>
            <pc:sldMk cId="3524991255" sldId="674"/>
            <ac:spMk id="17" creationId="{43EACF17-174D-4190-A499-6FC539110108}"/>
          </ac:spMkLst>
        </pc:spChg>
        <pc:spChg chg="add del mod modVis">
          <ac:chgData name="Matthäus Alberding" userId="89cdd4c9-d044-4ab4-9e6f-8f065e0119c4" providerId="ADAL" clId="{B6745356-B6CF-45AA-ADCC-AC8F740A00DA}" dt="2022-07-29T09:00:45.993" v="103196"/>
          <ac:spMkLst>
            <pc:docMk/>
            <pc:sldMk cId="3524991255" sldId="674"/>
            <ac:spMk id="17" creationId="{8B7EDAA3-DF64-44FE-AB39-286F2861A847}"/>
          </ac:spMkLst>
        </pc:spChg>
        <pc:spChg chg="add del mod modVis">
          <ac:chgData name="Matthäus Alberding" userId="89cdd4c9-d044-4ab4-9e6f-8f065e0119c4" providerId="ADAL" clId="{B6745356-B6CF-45AA-ADCC-AC8F740A00DA}" dt="2022-07-21T10:16:00.759" v="15225"/>
          <ac:spMkLst>
            <pc:docMk/>
            <pc:sldMk cId="3524991255" sldId="674"/>
            <ac:spMk id="18" creationId="{2F724CB1-BB93-49B2-A95A-D5D9856E44FF}"/>
          </ac:spMkLst>
        </pc:spChg>
        <pc:spChg chg="add del mod modVis">
          <ac:chgData name="Matthäus Alberding" userId="89cdd4c9-d044-4ab4-9e6f-8f065e0119c4" providerId="ADAL" clId="{B6745356-B6CF-45AA-ADCC-AC8F740A00DA}" dt="2022-07-29T09:00:48.864" v="103253"/>
          <ac:spMkLst>
            <pc:docMk/>
            <pc:sldMk cId="3524991255" sldId="674"/>
            <ac:spMk id="18" creationId="{A471B577-5483-4824-A2D2-3A48A3E5647E}"/>
          </ac:spMkLst>
        </pc:spChg>
        <pc:spChg chg="add mod ord">
          <ac:chgData name="Matthäus Alberding" userId="89cdd4c9-d044-4ab4-9e6f-8f065e0119c4" providerId="ADAL" clId="{B6745356-B6CF-45AA-ADCC-AC8F740A00DA}" dt="2022-07-21T10:33:15.558" v="16961"/>
          <ac:spMkLst>
            <pc:docMk/>
            <pc:sldMk cId="3524991255" sldId="674"/>
            <ac:spMk id="19" creationId="{82823C9A-2D5F-413E-AC90-7C0B10FACA37}"/>
          </ac:spMkLst>
        </pc:spChg>
        <pc:spChg chg="add del mod modVis">
          <ac:chgData name="Matthäus Alberding" userId="89cdd4c9-d044-4ab4-9e6f-8f065e0119c4" providerId="ADAL" clId="{B6745356-B6CF-45AA-ADCC-AC8F740A00DA}" dt="2022-07-21T10:19:59.905" v="15670"/>
          <ac:spMkLst>
            <pc:docMk/>
            <pc:sldMk cId="3524991255" sldId="674"/>
            <ac:spMk id="20" creationId="{11B97F6D-6C1A-4088-BA68-8E1DDD2DCA56}"/>
          </ac:spMkLst>
        </pc:spChg>
        <pc:spChg chg="add del mod modVis">
          <ac:chgData name="Matthäus Alberding" userId="89cdd4c9-d044-4ab4-9e6f-8f065e0119c4" providerId="ADAL" clId="{B6745356-B6CF-45AA-ADCC-AC8F740A00DA}" dt="2022-07-29T09:00:49.936" v="103300"/>
          <ac:spMkLst>
            <pc:docMk/>
            <pc:sldMk cId="3524991255" sldId="674"/>
            <ac:spMk id="20" creationId="{3B06C69D-9C06-452B-8DAE-338A861A25D6}"/>
          </ac:spMkLst>
        </pc:spChg>
        <pc:spChg chg="add del mod modVis">
          <ac:chgData name="Matthäus Alberding" userId="89cdd4c9-d044-4ab4-9e6f-8f065e0119c4" providerId="ADAL" clId="{B6745356-B6CF-45AA-ADCC-AC8F740A00DA}" dt="2022-07-29T09:01:53.865" v="103353"/>
          <ac:spMkLst>
            <pc:docMk/>
            <pc:sldMk cId="3524991255" sldId="674"/>
            <ac:spMk id="21" creationId="{05851343-95E4-408D-BF30-54C1F1093F2C}"/>
          </ac:spMkLst>
        </pc:spChg>
        <pc:spChg chg="add del mod modVis">
          <ac:chgData name="Matthäus Alberding" userId="89cdd4c9-d044-4ab4-9e6f-8f065e0119c4" providerId="ADAL" clId="{B6745356-B6CF-45AA-ADCC-AC8F740A00DA}" dt="2022-07-21T10:20:00.678" v="15714"/>
          <ac:spMkLst>
            <pc:docMk/>
            <pc:sldMk cId="3524991255" sldId="674"/>
            <ac:spMk id="21" creationId="{3F9C866E-668B-4205-B013-9C7060FEA22E}"/>
          </ac:spMkLst>
        </pc:spChg>
        <pc:spChg chg="add mod ord">
          <ac:chgData name="Matthäus Alberding" userId="89cdd4c9-d044-4ab4-9e6f-8f065e0119c4" providerId="ADAL" clId="{B6745356-B6CF-45AA-ADCC-AC8F740A00DA}" dt="2022-07-21T10:41:43.361" v="17452" actId="403"/>
          <ac:spMkLst>
            <pc:docMk/>
            <pc:sldMk cId="3524991255" sldId="674"/>
            <ac:spMk id="22" creationId="{FA76B1A0-8F3F-48C7-B9A4-CB61B649CEE8}"/>
          </ac:spMkLst>
        </pc:spChg>
        <pc:spChg chg="add del mod modVis">
          <ac:chgData name="Matthäus Alberding" userId="89cdd4c9-d044-4ab4-9e6f-8f065e0119c4" providerId="ADAL" clId="{B6745356-B6CF-45AA-ADCC-AC8F740A00DA}" dt="2022-07-29T09:01:54.923" v="103396"/>
          <ac:spMkLst>
            <pc:docMk/>
            <pc:sldMk cId="3524991255" sldId="674"/>
            <ac:spMk id="24" creationId="{3EE634AB-B50D-4F12-A166-039755F41C0C}"/>
          </ac:spMkLst>
        </pc:spChg>
        <pc:spChg chg="add del mod modVis">
          <ac:chgData name="Matthäus Alberding" userId="89cdd4c9-d044-4ab4-9e6f-8f065e0119c4" providerId="ADAL" clId="{B6745356-B6CF-45AA-ADCC-AC8F740A00DA}" dt="2022-07-21T10:32:36.871" v="16894" actId="962"/>
          <ac:spMkLst>
            <pc:docMk/>
            <pc:sldMk cId="3524991255" sldId="674"/>
            <ac:spMk id="24" creationId="{B285F026-F582-4FFC-A880-57399F6C84F6}"/>
          </ac:spMkLst>
        </pc:spChg>
        <pc:spChg chg="add del mod modVis">
          <ac:chgData name="Matthäus Alberding" userId="89cdd4c9-d044-4ab4-9e6f-8f065e0119c4" providerId="ADAL" clId="{B6745356-B6CF-45AA-ADCC-AC8F740A00DA}" dt="2022-07-29T09:01:56.670" v="103445"/>
          <ac:spMkLst>
            <pc:docMk/>
            <pc:sldMk cId="3524991255" sldId="674"/>
            <ac:spMk id="25" creationId="{1DA732C9-1D07-4466-8972-65827208E6C7}"/>
          </ac:spMkLst>
        </pc:spChg>
        <pc:spChg chg="add del mod modVis">
          <ac:chgData name="Matthäus Alberding" userId="89cdd4c9-d044-4ab4-9e6f-8f065e0119c4" providerId="ADAL" clId="{B6745356-B6CF-45AA-ADCC-AC8F740A00DA}" dt="2022-07-21T10:32:41.025" v="16942"/>
          <ac:spMkLst>
            <pc:docMk/>
            <pc:sldMk cId="3524991255" sldId="674"/>
            <ac:spMk id="25" creationId="{EE1D6D3E-C314-4FA7-AEE6-615B5F7CB688}"/>
          </ac:spMkLst>
        </pc:spChg>
        <pc:spChg chg="add del mod modVis">
          <ac:chgData name="Matthäus Alberding" userId="89cdd4c9-d044-4ab4-9e6f-8f065e0119c4" providerId="ADAL" clId="{B6745356-B6CF-45AA-ADCC-AC8F740A00DA}" dt="2022-07-29T09:02:00.332" v="103498"/>
          <ac:spMkLst>
            <pc:docMk/>
            <pc:sldMk cId="3524991255" sldId="674"/>
            <ac:spMk id="26" creationId="{1360FF0D-B9C1-4018-ACF5-FC3F39478B6B}"/>
          </ac:spMkLst>
        </pc:spChg>
        <pc:spChg chg="add del mod">
          <ac:chgData name="Matthäus Alberding" userId="89cdd4c9-d044-4ab4-9e6f-8f065e0119c4" providerId="ADAL" clId="{B6745356-B6CF-45AA-ADCC-AC8F740A00DA}" dt="2022-07-21T10:34:13.249" v="17200" actId="478"/>
          <ac:spMkLst>
            <pc:docMk/>
            <pc:sldMk cId="3524991255" sldId="674"/>
            <ac:spMk id="26" creationId="{9674433C-4ADD-47D7-B35F-72525C6AD39A}"/>
          </ac:spMkLst>
        </pc:spChg>
        <pc:spChg chg="add mod">
          <ac:chgData name="Matthäus Alberding" userId="89cdd4c9-d044-4ab4-9e6f-8f065e0119c4" providerId="ADAL" clId="{B6745356-B6CF-45AA-ADCC-AC8F740A00DA}" dt="2022-07-21T10:42:00.263" v="17458" actId="255"/>
          <ac:spMkLst>
            <pc:docMk/>
            <pc:sldMk cId="3524991255" sldId="674"/>
            <ac:spMk id="27" creationId="{B9FA5CBE-CC73-4C2C-974D-EF992164B666}"/>
          </ac:spMkLst>
        </pc:spChg>
        <pc:spChg chg="add mod">
          <ac:chgData name="Matthäus Alberding" userId="89cdd4c9-d044-4ab4-9e6f-8f065e0119c4" providerId="ADAL" clId="{B6745356-B6CF-45AA-ADCC-AC8F740A00DA}" dt="2022-07-21T10:40:26.391" v="17427" actId="1038"/>
          <ac:spMkLst>
            <pc:docMk/>
            <pc:sldMk cId="3524991255" sldId="674"/>
            <ac:spMk id="28" creationId="{1F9126D2-25F5-4531-8C20-37CF31FCF2B6}"/>
          </ac:spMkLst>
        </pc:spChg>
        <pc:spChg chg="add del mod modVis">
          <ac:chgData name="Matthäus Alberding" userId="89cdd4c9-d044-4ab4-9e6f-8f065e0119c4" providerId="ADAL" clId="{B6745356-B6CF-45AA-ADCC-AC8F740A00DA}" dt="2022-07-29T09:02:08.191" v="103577"/>
          <ac:spMkLst>
            <pc:docMk/>
            <pc:sldMk cId="3524991255" sldId="674"/>
            <ac:spMk id="29" creationId="{43BD9762-7922-4177-B9FC-A0E0B7EA95B9}"/>
          </ac:spMkLst>
        </pc:spChg>
        <pc:spChg chg="add del mod modVis">
          <ac:chgData name="Matthäus Alberding" userId="89cdd4c9-d044-4ab4-9e6f-8f065e0119c4" providerId="ADAL" clId="{B6745356-B6CF-45AA-ADCC-AC8F740A00DA}" dt="2022-07-29T09:02:14.082" v="103659"/>
          <ac:spMkLst>
            <pc:docMk/>
            <pc:sldMk cId="3524991255" sldId="674"/>
            <ac:spMk id="30" creationId="{AE5B62AE-79AB-4DD6-9AB3-AFD98BA2B61B}"/>
          </ac:spMkLst>
        </pc:spChg>
        <pc:spChg chg="add del mod modVis">
          <ac:chgData name="Matthäus Alberding" userId="89cdd4c9-d044-4ab4-9e6f-8f065e0119c4" providerId="ADAL" clId="{B6745356-B6CF-45AA-ADCC-AC8F740A00DA}" dt="2022-07-29T09:02:29.847" v="103705"/>
          <ac:spMkLst>
            <pc:docMk/>
            <pc:sldMk cId="3524991255" sldId="674"/>
            <ac:spMk id="31" creationId="{1133D1BD-DC32-4E9F-9032-DA7CBE7CAAB7}"/>
          </ac:spMkLst>
        </pc:spChg>
        <pc:spChg chg="add del mod modVis">
          <ac:chgData name="Matthäus Alberding" userId="89cdd4c9-d044-4ab4-9e6f-8f065e0119c4" providerId="ADAL" clId="{B6745356-B6CF-45AA-ADCC-AC8F740A00DA}" dt="2022-07-29T09:02:35.160" v="103751"/>
          <ac:spMkLst>
            <pc:docMk/>
            <pc:sldMk cId="3524991255" sldId="674"/>
            <ac:spMk id="32" creationId="{8337E973-4360-414B-9B1D-27E1EEA05D1A}"/>
          </ac:spMkLst>
        </pc:spChg>
        <pc:graphicFrameChg chg="add del mod">
          <ac:chgData name="Matthäus Alberding" userId="89cdd4c9-d044-4ab4-9e6f-8f065e0119c4" providerId="ADAL" clId="{B6745356-B6CF-45AA-ADCC-AC8F740A00DA}" dt="2022-07-21T10:32:20.685" v="16808" actId="478"/>
          <ac:graphicFrameMkLst>
            <pc:docMk/>
            <pc:sldMk cId="3524991255" sldId="674"/>
            <ac:graphicFrameMk id="6" creationId="{66B2E4EB-17A2-46E9-9611-BF3AA69C6F3B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9T09:02:35.161" v="103753"/>
          <ac:graphicFrameMkLst>
            <pc:docMk/>
            <pc:sldMk cId="3524991255" sldId="674"/>
            <ac:graphicFrameMk id="9" creationId="{74ADF1BC-4F7D-4A9B-AB89-39ADD2059F6C}"/>
          </ac:graphicFrameMkLst>
        </pc:graphicFrameChg>
        <pc:graphicFrameChg chg="add mod">
          <ac:chgData name="Matthäus Alberding" userId="89cdd4c9-d044-4ab4-9e6f-8f065e0119c4" providerId="ADAL" clId="{B6745356-B6CF-45AA-ADCC-AC8F740A00DA}" dt="2022-07-21T10:40:15.128" v="17399"/>
          <ac:graphicFrameMkLst>
            <pc:docMk/>
            <pc:sldMk cId="3524991255" sldId="674"/>
            <ac:graphicFrameMk id="23" creationId="{1A669388-935B-412B-946B-DE47F7EDD543}"/>
          </ac:graphicFrameMkLst>
        </pc:graphicFrameChg>
      </pc:sldChg>
      <pc:sldChg chg="addSp delSp modSp new add mod">
        <pc:chgData name="Matthäus Alberding" userId="89cdd4c9-d044-4ab4-9e6f-8f065e0119c4" providerId="ADAL" clId="{B6745356-B6CF-45AA-ADCC-AC8F740A00DA}" dt="2022-07-29T08:58:55.551" v="102564"/>
        <pc:sldMkLst>
          <pc:docMk/>
          <pc:sldMk cId="3993630635" sldId="675"/>
        </pc:sldMkLst>
        <pc:spChg chg="mod">
          <ac:chgData name="Matthäus Alberding" userId="89cdd4c9-d044-4ab4-9e6f-8f065e0119c4" providerId="ADAL" clId="{B6745356-B6CF-45AA-ADCC-AC8F740A00DA}" dt="2022-07-29T08:58:55.517" v="102523" actId="948"/>
          <ac:spMkLst>
            <pc:docMk/>
            <pc:sldMk cId="3993630635" sldId="675"/>
            <ac:spMk id="4" creationId="{EFB48300-A203-4A12-92D2-8418006DC21C}"/>
          </ac:spMkLst>
        </pc:spChg>
        <pc:spChg chg="mod">
          <ac:chgData name="Matthäus Alberding" userId="89cdd4c9-d044-4ab4-9e6f-8f065e0119c4" providerId="ADAL" clId="{B6745356-B6CF-45AA-ADCC-AC8F740A00DA}" dt="2022-07-21T10:23:52.472" v="16201" actId="20577"/>
          <ac:spMkLst>
            <pc:docMk/>
            <pc:sldMk cId="3993630635" sldId="675"/>
            <ac:spMk id="5" creationId="{12E84D3B-C0A1-42B2-B638-C17E252E259E}"/>
          </ac:spMkLst>
        </pc:spChg>
        <pc:spChg chg="add del mod modVis">
          <ac:chgData name="Matthäus Alberding" userId="89cdd4c9-d044-4ab4-9e6f-8f065e0119c4" providerId="ADAL" clId="{B6745356-B6CF-45AA-ADCC-AC8F740A00DA}" dt="2022-07-29T08:56:18.854" v="101358"/>
          <ac:spMkLst>
            <pc:docMk/>
            <pc:sldMk cId="3993630635" sldId="675"/>
            <ac:spMk id="6" creationId="{EFF3D584-7F2E-4AB5-ACC3-BFAD76F71C22}"/>
          </ac:spMkLst>
        </pc:spChg>
        <pc:spChg chg="add mod">
          <ac:chgData name="Matthäus Alberding" userId="89cdd4c9-d044-4ab4-9e6f-8f065e0119c4" providerId="ADAL" clId="{B6745356-B6CF-45AA-ADCC-AC8F740A00DA}" dt="2022-07-21T10:41:38.037" v="17450" actId="403"/>
          <ac:spMkLst>
            <pc:docMk/>
            <pc:sldMk cId="3993630635" sldId="675"/>
            <ac:spMk id="7" creationId="{C4FC4BAF-BFE3-4667-B15E-66DFB8BE9E7F}"/>
          </ac:spMkLst>
        </pc:spChg>
        <pc:spChg chg="add mod">
          <ac:chgData name="Matthäus Alberding" userId="89cdd4c9-d044-4ab4-9e6f-8f065e0119c4" providerId="ADAL" clId="{B6745356-B6CF-45AA-ADCC-AC8F740A00DA}" dt="2022-07-21T10:23:03.099" v="15984"/>
          <ac:spMkLst>
            <pc:docMk/>
            <pc:sldMk cId="3993630635" sldId="675"/>
            <ac:spMk id="8" creationId="{3CBDBE2C-46C8-4E33-BAD0-6B1F2570D56E}"/>
          </ac:spMkLst>
        </pc:spChg>
        <pc:spChg chg="add del mod modVis">
          <ac:chgData name="Matthäus Alberding" userId="89cdd4c9-d044-4ab4-9e6f-8f065e0119c4" providerId="ADAL" clId="{B6745356-B6CF-45AA-ADCC-AC8F740A00DA}" dt="2022-07-21T10:23:38.562" v="16059"/>
          <ac:spMkLst>
            <pc:docMk/>
            <pc:sldMk cId="3993630635" sldId="675"/>
            <ac:spMk id="10" creationId="{A8FC330A-F046-4308-A723-55881EBA9BF7}"/>
          </ac:spMkLst>
        </pc:spChg>
        <pc:spChg chg="add del mod modVis">
          <ac:chgData name="Matthäus Alberding" userId="89cdd4c9-d044-4ab4-9e6f-8f065e0119c4" providerId="ADAL" clId="{B6745356-B6CF-45AA-ADCC-AC8F740A00DA}" dt="2022-07-29T08:56:20.167" v="101405"/>
          <ac:spMkLst>
            <pc:docMk/>
            <pc:sldMk cId="3993630635" sldId="675"/>
            <ac:spMk id="10" creationId="{FDA5497C-FAF5-4FF7-B37E-6722119634F7}"/>
          </ac:spMkLst>
        </pc:spChg>
        <pc:spChg chg="add del mod modVis">
          <ac:chgData name="Matthäus Alberding" userId="89cdd4c9-d044-4ab4-9e6f-8f065e0119c4" providerId="ADAL" clId="{B6745356-B6CF-45AA-ADCC-AC8F740A00DA}" dt="2022-07-21T10:23:41.509" v="16119"/>
          <ac:spMkLst>
            <pc:docMk/>
            <pc:sldMk cId="3993630635" sldId="675"/>
            <ac:spMk id="11" creationId="{1233FD7F-8A85-4690-9C91-D89DEB03DC08}"/>
          </ac:spMkLst>
        </pc:spChg>
        <pc:spChg chg="add del mod modVis">
          <ac:chgData name="Matthäus Alberding" userId="89cdd4c9-d044-4ab4-9e6f-8f065e0119c4" providerId="ADAL" clId="{B6745356-B6CF-45AA-ADCC-AC8F740A00DA}" dt="2022-07-29T08:56:31.260" v="101484"/>
          <ac:spMkLst>
            <pc:docMk/>
            <pc:sldMk cId="3993630635" sldId="675"/>
            <ac:spMk id="11" creationId="{A05AD855-A176-49E3-BE00-DBC0CE3F46B1}"/>
          </ac:spMkLst>
        </pc:spChg>
        <pc:spChg chg="add del mod modVis">
          <ac:chgData name="Matthäus Alberding" userId="89cdd4c9-d044-4ab4-9e6f-8f065e0119c4" providerId="ADAL" clId="{B6745356-B6CF-45AA-ADCC-AC8F740A00DA}" dt="2022-07-29T08:56:36.093" v="101566"/>
          <ac:spMkLst>
            <pc:docMk/>
            <pc:sldMk cId="3993630635" sldId="675"/>
            <ac:spMk id="12" creationId="{17E19968-83C1-4953-A462-535D5D4874CA}"/>
          </ac:spMkLst>
        </pc:spChg>
        <pc:spChg chg="add del mod modVis">
          <ac:chgData name="Matthäus Alberding" userId="89cdd4c9-d044-4ab4-9e6f-8f065e0119c4" providerId="ADAL" clId="{B6745356-B6CF-45AA-ADCC-AC8F740A00DA}" dt="2022-07-21T10:23:45.615" v="16197"/>
          <ac:spMkLst>
            <pc:docMk/>
            <pc:sldMk cId="3993630635" sldId="675"/>
            <ac:spMk id="12" creationId="{7D2AA25B-78B7-4221-BDEA-56210EF386C8}"/>
          </ac:spMkLst>
        </pc:spChg>
        <pc:spChg chg="add del mod modVis">
          <ac:chgData name="Matthäus Alberding" userId="89cdd4c9-d044-4ab4-9e6f-8f065e0119c4" providerId="ADAL" clId="{B6745356-B6CF-45AA-ADCC-AC8F740A00DA}" dt="2022-07-29T08:57:13.025" v="101616"/>
          <ac:spMkLst>
            <pc:docMk/>
            <pc:sldMk cId="3993630635" sldId="675"/>
            <ac:spMk id="13" creationId="{26C75574-2147-4539-AEEE-707C709A43AC}"/>
          </ac:spMkLst>
        </pc:spChg>
        <pc:spChg chg="add del mod modVis">
          <ac:chgData name="Matthäus Alberding" userId="89cdd4c9-d044-4ab4-9e6f-8f065e0119c4" providerId="ADAL" clId="{B6745356-B6CF-45AA-ADCC-AC8F740A00DA}" dt="2022-07-21T10:23:54.181" v="16242"/>
          <ac:spMkLst>
            <pc:docMk/>
            <pc:sldMk cId="3993630635" sldId="675"/>
            <ac:spMk id="13" creationId="{3A0E5A44-8F42-4BE9-ACE8-C2A0E5C9BBD6}"/>
          </ac:spMkLst>
        </pc:spChg>
        <pc:spChg chg="add del mod modVis">
          <ac:chgData name="Matthäus Alberding" userId="89cdd4c9-d044-4ab4-9e6f-8f065e0119c4" providerId="ADAL" clId="{B6745356-B6CF-45AA-ADCC-AC8F740A00DA}" dt="2022-07-21T10:23:55.701" v="16291"/>
          <ac:spMkLst>
            <pc:docMk/>
            <pc:sldMk cId="3993630635" sldId="675"/>
            <ac:spMk id="14" creationId="{106C181E-66D8-4748-BD1F-2F895683EC3B}"/>
          </ac:spMkLst>
        </pc:spChg>
        <pc:spChg chg="add del mod modVis">
          <ac:chgData name="Matthäus Alberding" userId="89cdd4c9-d044-4ab4-9e6f-8f065e0119c4" providerId="ADAL" clId="{B6745356-B6CF-45AA-ADCC-AC8F740A00DA}" dt="2022-07-29T08:57:16.939" v="101678"/>
          <ac:spMkLst>
            <pc:docMk/>
            <pc:sldMk cId="3993630635" sldId="675"/>
            <ac:spMk id="14" creationId="{543184E4-FE9D-40A9-87C2-7C34B818FD0C}"/>
          </ac:spMkLst>
        </pc:spChg>
        <pc:spChg chg="add del mod modVis">
          <ac:chgData name="Matthäus Alberding" userId="89cdd4c9-d044-4ab4-9e6f-8f065e0119c4" providerId="ADAL" clId="{B6745356-B6CF-45AA-ADCC-AC8F740A00DA}" dt="2022-07-29T08:57:21.080" v="101741"/>
          <ac:spMkLst>
            <pc:docMk/>
            <pc:sldMk cId="3993630635" sldId="675"/>
            <ac:spMk id="15" creationId="{7FBEE6F9-6904-4886-8A4D-0BEECADB2F82}"/>
          </ac:spMkLst>
        </pc:spChg>
        <pc:spChg chg="add del mod modVis">
          <ac:chgData name="Matthäus Alberding" userId="89cdd4c9-d044-4ab4-9e6f-8f065e0119c4" providerId="ADAL" clId="{B6745356-B6CF-45AA-ADCC-AC8F740A00DA}" dt="2022-07-21T10:23:57.232" v="16346"/>
          <ac:spMkLst>
            <pc:docMk/>
            <pc:sldMk cId="3993630635" sldId="675"/>
            <ac:spMk id="15" creationId="{AC947AAA-D2F4-4A45-8C3F-7B88CE00579A}"/>
          </ac:spMkLst>
        </pc:spChg>
        <pc:spChg chg="add del mod modVis">
          <ac:chgData name="Matthäus Alberding" userId="89cdd4c9-d044-4ab4-9e6f-8f065e0119c4" providerId="ADAL" clId="{B6745356-B6CF-45AA-ADCC-AC8F740A00DA}" dt="2022-07-29T08:57:22.917" v="101789"/>
          <ac:spMkLst>
            <pc:docMk/>
            <pc:sldMk cId="3993630635" sldId="675"/>
            <ac:spMk id="16" creationId="{4DB217D4-C3BC-4E83-86A7-123AD0424A1A}"/>
          </ac:spMkLst>
        </pc:spChg>
        <pc:spChg chg="add del mod modVis">
          <ac:chgData name="Matthäus Alberding" userId="89cdd4c9-d044-4ab4-9e6f-8f065e0119c4" providerId="ADAL" clId="{B6745356-B6CF-45AA-ADCC-AC8F740A00DA}" dt="2022-07-21T10:23:58.794" v="16389"/>
          <ac:spMkLst>
            <pc:docMk/>
            <pc:sldMk cId="3993630635" sldId="675"/>
            <ac:spMk id="16" creationId="{9CB30F6B-8F0C-41D4-8A0E-CFA9D51B613E}"/>
          </ac:spMkLst>
        </pc:spChg>
        <pc:spChg chg="add del mod modVis">
          <ac:chgData name="Matthäus Alberding" userId="89cdd4c9-d044-4ab4-9e6f-8f065e0119c4" providerId="ADAL" clId="{B6745356-B6CF-45AA-ADCC-AC8F740A00DA}" dt="2022-07-29T08:57:26.447" v="101854"/>
          <ac:spMkLst>
            <pc:docMk/>
            <pc:sldMk cId="3993630635" sldId="675"/>
            <ac:spMk id="17" creationId="{05FABE83-4E23-4D02-B78B-AB3EAC397875}"/>
          </ac:spMkLst>
        </pc:spChg>
        <pc:spChg chg="add del mod modVis">
          <ac:chgData name="Matthäus Alberding" userId="89cdd4c9-d044-4ab4-9e6f-8f065e0119c4" providerId="ADAL" clId="{B6745356-B6CF-45AA-ADCC-AC8F740A00DA}" dt="2022-07-21T10:24:00.491" v="16444"/>
          <ac:spMkLst>
            <pc:docMk/>
            <pc:sldMk cId="3993630635" sldId="675"/>
            <ac:spMk id="17" creationId="{1B35D7A9-966A-4780-8B53-5015CC11B06D}"/>
          </ac:spMkLst>
        </pc:spChg>
        <pc:spChg chg="add del mod modVis">
          <ac:chgData name="Matthäus Alberding" userId="89cdd4c9-d044-4ab4-9e6f-8f065e0119c4" providerId="ADAL" clId="{B6745356-B6CF-45AA-ADCC-AC8F740A00DA}" dt="2022-07-29T08:57:30.116" v="101897"/>
          <ac:spMkLst>
            <pc:docMk/>
            <pc:sldMk cId="3993630635" sldId="675"/>
            <ac:spMk id="18" creationId="{0BBEAF6B-1BB6-4CCB-936D-D8AC95845090}"/>
          </ac:spMkLst>
        </pc:spChg>
        <pc:spChg chg="add del mod modVis">
          <ac:chgData name="Matthäus Alberding" userId="89cdd4c9-d044-4ab4-9e6f-8f065e0119c4" providerId="ADAL" clId="{B6745356-B6CF-45AA-ADCC-AC8F740A00DA}" dt="2022-07-21T10:24:01.690" v="16487"/>
          <ac:spMkLst>
            <pc:docMk/>
            <pc:sldMk cId="3993630635" sldId="675"/>
            <ac:spMk id="18" creationId="{FDFB1F97-DD89-43A4-999A-5BD27B1F4EF5}"/>
          </ac:spMkLst>
        </pc:spChg>
        <pc:spChg chg="add del mod modVis">
          <ac:chgData name="Matthäus Alberding" userId="89cdd4c9-d044-4ab4-9e6f-8f065e0119c4" providerId="ADAL" clId="{B6745356-B6CF-45AA-ADCC-AC8F740A00DA}" dt="2022-07-21T10:25:32.412" v="16598"/>
          <ac:spMkLst>
            <pc:docMk/>
            <pc:sldMk cId="3993630635" sldId="675"/>
            <ac:spMk id="20" creationId="{0D964A4C-4E9A-4EC1-9891-1E7C82F8F598}"/>
          </ac:spMkLst>
        </pc:spChg>
        <pc:spChg chg="add del mod modVis">
          <ac:chgData name="Matthäus Alberding" userId="89cdd4c9-d044-4ab4-9e6f-8f065e0119c4" providerId="ADAL" clId="{B6745356-B6CF-45AA-ADCC-AC8F740A00DA}" dt="2022-07-29T08:57:58.545" v="101949"/>
          <ac:spMkLst>
            <pc:docMk/>
            <pc:sldMk cId="3993630635" sldId="675"/>
            <ac:spMk id="20" creationId="{D30A7BB4-6C32-4ECD-B7FD-40E2B62249CE}"/>
          </ac:spMkLst>
        </pc:spChg>
        <pc:spChg chg="add del mod modVis">
          <ac:chgData name="Matthäus Alberding" userId="89cdd4c9-d044-4ab4-9e6f-8f065e0119c4" providerId="ADAL" clId="{B6745356-B6CF-45AA-ADCC-AC8F740A00DA}" dt="2022-07-29T08:57:59.553" v="101992"/>
          <ac:spMkLst>
            <pc:docMk/>
            <pc:sldMk cId="3993630635" sldId="675"/>
            <ac:spMk id="21" creationId="{06CD68AB-0CAA-4B22-9DBF-F231C15F7F9C}"/>
          </ac:spMkLst>
        </pc:spChg>
        <pc:spChg chg="add del mod modVis">
          <ac:chgData name="Matthäus Alberding" userId="89cdd4c9-d044-4ab4-9e6f-8f065e0119c4" providerId="ADAL" clId="{B6745356-B6CF-45AA-ADCC-AC8F740A00DA}" dt="2022-07-21T10:25:38.859" v="16643"/>
          <ac:spMkLst>
            <pc:docMk/>
            <pc:sldMk cId="3993630635" sldId="675"/>
            <ac:spMk id="21" creationId="{BDB5EAEC-DB90-46B8-A0BC-C2FC8658C0D2}"/>
          </ac:spMkLst>
        </pc:spChg>
        <pc:spChg chg="add del mod modVis">
          <ac:chgData name="Matthäus Alberding" userId="89cdd4c9-d044-4ab4-9e6f-8f065e0119c4" providerId="ADAL" clId="{B6745356-B6CF-45AA-ADCC-AC8F740A00DA}" dt="2022-07-21T10:25:39.810" v="16688"/>
          <ac:spMkLst>
            <pc:docMk/>
            <pc:sldMk cId="3993630635" sldId="675"/>
            <ac:spMk id="22" creationId="{1BA5023F-A9DE-4C40-80CE-EC94FA0AB8C1}"/>
          </ac:spMkLst>
        </pc:spChg>
        <pc:spChg chg="add del mod modVis">
          <ac:chgData name="Matthäus Alberding" userId="89cdd4c9-d044-4ab4-9e6f-8f065e0119c4" providerId="ADAL" clId="{B6745356-B6CF-45AA-ADCC-AC8F740A00DA}" dt="2022-07-29T08:58:00.966" v="102036"/>
          <ac:spMkLst>
            <pc:docMk/>
            <pc:sldMk cId="3993630635" sldId="675"/>
            <ac:spMk id="22" creationId="{CA162CB4-C54D-4533-B90A-E64035EEA402}"/>
          </ac:spMkLst>
        </pc:spChg>
        <pc:spChg chg="add del mod modVis">
          <ac:chgData name="Matthäus Alberding" userId="89cdd4c9-d044-4ab4-9e6f-8f065e0119c4" providerId="ADAL" clId="{B6745356-B6CF-45AA-ADCC-AC8F740A00DA}" dt="2022-07-21T10:25:41.018" v="16732"/>
          <ac:spMkLst>
            <pc:docMk/>
            <pc:sldMk cId="3993630635" sldId="675"/>
            <ac:spMk id="23" creationId="{67C98E46-9895-4623-B41E-ACDED2B056DD}"/>
          </ac:spMkLst>
        </pc:spChg>
        <pc:spChg chg="add del mod modVis">
          <ac:chgData name="Matthäus Alberding" userId="89cdd4c9-d044-4ab4-9e6f-8f065e0119c4" providerId="ADAL" clId="{B6745356-B6CF-45AA-ADCC-AC8F740A00DA}" dt="2022-07-29T08:58:02.136" v="102088"/>
          <ac:spMkLst>
            <pc:docMk/>
            <pc:sldMk cId="3993630635" sldId="675"/>
            <ac:spMk id="23" creationId="{B0D22D2A-0F1C-4301-B3F8-58304DB1AEB1}"/>
          </ac:spMkLst>
        </pc:spChg>
        <pc:spChg chg="add del mod modVis">
          <ac:chgData name="Matthäus Alberding" userId="89cdd4c9-d044-4ab4-9e6f-8f065e0119c4" providerId="ADAL" clId="{B6745356-B6CF-45AA-ADCC-AC8F740A00DA}" dt="2022-07-21T10:25:44.012" v="16783"/>
          <ac:spMkLst>
            <pc:docMk/>
            <pc:sldMk cId="3993630635" sldId="675"/>
            <ac:spMk id="24" creationId="{C8639A49-9AAB-483A-8DA2-C2EB714625CA}"/>
          </ac:spMkLst>
        </pc:spChg>
        <pc:spChg chg="add del mod modVis">
          <ac:chgData name="Matthäus Alberding" userId="89cdd4c9-d044-4ab4-9e6f-8f065e0119c4" providerId="ADAL" clId="{B6745356-B6CF-45AA-ADCC-AC8F740A00DA}" dt="2022-07-29T08:58:10.030" v="102145"/>
          <ac:spMkLst>
            <pc:docMk/>
            <pc:sldMk cId="3993630635" sldId="675"/>
            <ac:spMk id="24" creationId="{E42917D1-345C-42B6-8C4E-95C8E1FE13EA}"/>
          </ac:spMkLst>
        </pc:spChg>
        <pc:spChg chg="add mod">
          <ac:chgData name="Matthäus Alberding" userId="89cdd4c9-d044-4ab4-9e6f-8f065e0119c4" providerId="ADAL" clId="{B6745356-B6CF-45AA-ADCC-AC8F740A00DA}" dt="2022-07-21T10:37:09.594" v="17230" actId="21"/>
          <ac:spMkLst>
            <pc:docMk/>
            <pc:sldMk cId="3993630635" sldId="675"/>
            <ac:spMk id="25" creationId="{22A3809B-E850-4B8A-A723-A5C425DF9178}"/>
          </ac:spMkLst>
        </pc:spChg>
        <pc:spChg chg="add mod">
          <ac:chgData name="Matthäus Alberding" userId="89cdd4c9-d044-4ab4-9e6f-8f065e0119c4" providerId="ADAL" clId="{B6745356-B6CF-45AA-ADCC-AC8F740A00DA}" dt="2022-07-21T10:42:13.261" v="17464" actId="2711"/>
          <ac:spMkLst>
            <pc:docMk/>
            <pc:sldMk cId="3993630635" sldId="675"/>
            <ac:spMk id="26" creationId="{161CF2C3-BAB4-42A9-B830-223D4F0B0EB3}"/>
          </ac:spMkLst>
        </pc:spChg>
        <pc:spChg chg="add del mod modVis">
          <ac:chgData name="Matthäus Alberding" userId="89cdd4c9-d044-4ab4-9e6f-8f065e0119c4" providerId="ADAL" clId="{B6745356-B6CF-45AA-ADCC-AC8F740A00DA}" dt="2022-07-29T08:58:14.416" v="102209"/>
          <ac:spMkLst>
            <pc:docMk/>
            <pc:sldMk cId="3993630635" sldId="675"/>
            <ac:spMk id="27" creationId="{F4B1D983-5235-41CE-A017-1B2EB71FA5D0}"/>
          </ac:spMkLst>
        </pc:spChg>
        <pc:spChg chg="add del mod modVis">
          <ac:chgData name="Matthäus Alberding" userId="89cdd4c9-d044-4ab4-9e6f-8f065e0119c4" providerId="ADAL" clId="{B6745356-B6CF-45AA-ADCC-AC8F740A00DA}" dt="2022-07-29T08:58:17.205" v="102278"/>
          <ac:spMkLst>
            <pc:docMk/>
            <pc:sldMk cId="3993630635" sldId="675"/>
            <ac:spMk id="28" creationId="{C79EEEDC-15D9-4C4A-BD30-901EC20ED36B}"/>
          </ac:spMkLst>
        </pc:spChg>
        <pc:spChg chg="add del mod modVis">
          <ac:chgData name="Matthäus Alberding" userId="89cdd4c9-d044-4ab4-9e6f-8f065e0119c4" providerId="ADAL" clId="{B6745356-B6CF-45AA-ADCC-AC8F740A00DA}" dt="2022-07-29T08:58:18.115" v="102322"/>
          <ac:spMkLst>
            <pc:docMk/>
            <pc:sldMk cId="3993630635" sldId="675"/>
            <ac:spMk id="29" creationId="{32B4966E-A6B7-4CD8-8CB6-5AD31B8C235E}"/>
          </ac:spMkLst>
        </pc:spChg>
        <pc:spChg chg="add del mod modVis">
          <ac:chgData name="Matthäus Alberding" userId="89cdd4c9-d044-4ab4-9e6f-8f065e0119c4" providerId="ADAL" clId="{B6745356-B6CF-45AA-ADCC-AC8F740A00DA}" dt="2022-07-29T08:58:24.745" v="102387"/>
          <ac:spMkLst>
            <pc:docMk/>
            <pc:sldMk cId="3993630635" sldId="675"/>
            <ac:spMk id="30" creationId="{39344E33-6AA3-4380-89E3-0D9CD8B14F00}"/>
          </ac:spMkLst>
        </pc:spChg>
        <pc:spChg chg="add del mod modVis">
          <ac:chgData name="Matthäus Alberding" userId="89cdd4c9-d044-4ab4-9e6f-8f065e0119c4" providerId="ADAL" clId="{B6745356-B6CF-45AA-ADCC-AC8F740A00DA}" dt="2022-07-29T08:58:33.704" v="102433"/>
          <ac:spMkLst>
            <pc:docMk/>
            <pc:sldMk cId="3993630635" sldId="675"/>
            <ac:spMk id="31" creationId="{17AEACCC-498C-4B54-BF30-40C87A5CFDBC}"/>
          </ac:spMkLst>
        </pc:spChg>
        <pc:spChg chg="add del mod modVis">
          <ac:chgData name="Matthäus Alberding" userId="89cdd4c9-d044-4ab4-9e6f-8f065e0119c4" providerId="ADAL" clId="{B6745356-B6CF-45AA-ADCC-AC8F740A00DA}" dt="2022-07-29T08:58:34.964" v="102476"/>
          <ac:spMkLst>
            <pc:docMk/>
            <pc:sldMk cId="3993630635" sldId="675"/>
            <ac:spMk id="32" creationId="{AF11088D-BB21-4EBA-B57D-DBC4C8CCECFB}"/>
          </ac:spMkLst>
        </pc:spChg>
        <pc:spChg chg="add del mod modVis">
          <ac:chgData name="Matthäus Alberding" userId="89cdd4c9-d044-4ab4-9e6f-8f065e0119c4" providerId="ADAL" clId="{B6745356-B6CF-45AA-ADCC-AC8F740A00DA}" dt="2022-07-29T08:58:36.408" v="102519"/>
          <ac:spMkLst>
            <pc:docMk/>
            <pc:sldMk cId="3993630635" sldId="675"/>
            <ac:spMk id="33" creationId="{9B557A56-2895-4A50-8D7B-23D14A120DFE}"/>
          </ac:spMkLst>
        </pc:spChg>
        <pc:spChg chg="add del mod modVis">
          <ac:chgData name="Matthäus Alberding" userId="89cdd4c9-d044-4ab4-9e6f-8f065e0119c4" providerId="ADAL" clId="{B6745356-B6CF-45AA-ADCC-AC8F740A00DA}" dt="2022-07-29T08:58:55.550" v="102562"/>
          <ac:spMkLst>
            <pc:docMk/>
            <pc:sldMk cId="3993630635" sldId="675"/>
            <ac:spMk id="34" creationId="{4355278A-4884-4659-B81F-10BE063F3BD8}"/>
          </ac:spMkLst>
        </pc:spChg>
        <pc:graphicFrameChg chg="add del mod">
          <ac:chgData name="Matthäus Alberding" userId="89cdd4c9-d044-4ab4-9e6f-8f065e0119c4" providerId="ADAL" clId="{B6745356-B6CF-45AA-ADCC-AC8F740A00DA}" dt="2022-07-21T10:24:48.905" v="16497" actId="478"/>
          <ac:graphicFrameMkLst>
            <pc:docMk/>
            <pc:sldMk cId="3993630635" sldId="675"/>
            <ac:graphicFrameMk id="6" creationId="{95D366B7-54C3-4AEB-9E17-605941637BE7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9T08:58:55.551" v="102564"/>
          <ac:graphicFrameMkLst>
            <pc:docMk/>
            <pc:sldMk cId="3993630635" sldId="675"/>
            <ac:graphicFrameMk id="9" creationId="{862181BC-C76C-4401-9CD1-4A754E93AB4F}"/>
          </ac:graphicFrameMkLst>
        </pc:graphicFrameChg>
        <pc:graphicFrameChg chg="add mod">
          <ac:chgData name="Matthäus Alberding" userId="89cdd4c9-d044-4ab4-9e6f-8f065e0119c4" providerId="ADAL" clId="{B6745356-B6CF-45AA-ADCC-AC8F740A00DA}" dt="2022-07-21T10:40:07.649" v="17397"/>
          <ac:graphicFrameMkLst>
            <pc:docMk/>
            <pc:sldMk cId="3993630635" sldId="675"/>
            <ac:graphicFrameMk id="19" creationId="{6809B308-E024-4B41-8442-7ECD94113E65}"/>
          </ac:graphicFrameMkLst>
        </pc:graphicFrameChg>
      </pc:sldChg>
      <pc:sldChg chg="addSp delSp modSp new add mod ord">
        <pc:chgData name="Matthäus Alberding" userId="89cdd4c9-d044-4ab4-9e6f-8f065e0119c4" providerId="ADAL" clId="{B6745356-B6CF-45AA-ADCC-AC8F740A00DA}" dt="2022-07-29T09:02:47.901" v="103803"/>
        <pc:sldMkLst>
          <pc:docMk/>
          <pc:sldMk cId="1999328367" sldId="676"/>
        </pc:sldMkLst>
        <pc:spChg chg="mod">
          <ac:chgData name="Matthäus Alberding" userId="89cdd4c9-d044-4ab4-9e6f-8f065e0119c4" providerId="ADAL" clId="{B6745356-B6CF-45AA-ADCC-AC8F740A00DA}" dt="2022-07-29T09:02:47.882" v="103762" actId="948"/>
          <ac:spMkLst>
            <pc:docMk/>
            <pc:sldMk cId="1999328367" sldId="676"/>
            <ac:spMk id="4" creationId="{CD24A587-6A69-4DE2-B3BC-22DE4F768FB7}"/>
          </ac:spMkLst>
        </pc:spChg>
        <pc:spChg chg="mod">
          <ac:chgData name="Matthäus Alberding" userId="89cdd4c9-d044-4ab4-9e6f-8f065e0119c4" providerId="ADAL" clId="{B6745356-B6CF-45AA-ADCC-AC8F740A00DA}" dt="2022-07-21T10:42:52.403" v="17472" actId="20577"/>
          <ac:spMkLst>
            <pc:docMk/>
            <pc:sldMk cId="1999328367" sldId="676"/>
            <ac:spMk id="5" creationId="{94F85DF8-1390-4F6B-AF62-12EFD4B69CC9}"/>
          </ac:spMkLst>
        </pc:spChg>
        <pc:spChg chg="add mod">
          <ac:chgData name="Matthäus Alberding" userId="89cdd4c9-d044-4ab4-9e6f-8f065e0119c4" providerId="ADAL" clId="{B6745356-B6CF-45AA-ADCC-AC8F740A00DA}" dt="2022-07-21T10:41:47.020" v="17453" actId="403"/>
          <ac:spMkLst>
            <pc:docMk/>
            <pc:sldMk cId="1999328367" sldId="676"/>
            <ac:spMk id="7" creationId="{60890FAC-A6C1-47CF-9F16-9C73D343DE87}"/>
          </ac:spMkLst>
        </pc:spChg>
        <pc:spChg chg="add del mod modVis">
          <ac:chgData name="Matthäus Alberding" userId="89cdd4c9-d044-4ab4-9e6f-8f065e0119c4" providerId="ADAL" clId="{B6745356-B6CF-45AA-ADCC-AC8F740A00DA}" dt="2022-07-21T10:33:42.979" v="17093"/>
          <ac:spMkLst>
            <pc:docMk/>
            <pc:sldMk cId="1999328367" sldId="676"/>
            <ac:spMk id="8" creationId="{2C8A153A-F89C-4F5A-8213-3B871676C90A}"/>
          </ac:spMkLst>
        </pc:spChg>
        <pc:spChg chg="add del mod modVis">
          <ac:chgData name="Matthäus Alberding" userId="89cdd4c9-d044-4ab4-9e6f-8f065e0119c4" providerId="ADAL" clId="{B6745356-B6CF-45AA-ADCC-AC8F740A00DA}" dt="2022-07-29T08:59:49.070" v="102605"/>
          <ac:spMkLst>
            <pc:docMk/>
            <pc:sldMk cId="1999328367" sldId="676"/>
            <ac:spMk id="8" creationId="{ED588020-5A44-41D0-8AC8-1482E8E6BC72}"/>
          </ac:spMkLst>
        </pc:spChg>
        <pc:spChg chg="add del mod modVis">
          <ac:chgData name="Matthäus Alberding" userId="89cdd4c9-d044-4ab4-9e6f-8f065e0119c4" providerId="ADAL" clId="{B6745356-B6CF-45AA-ADCC-AC8F740A00DA}" dt="2022-07-29T08:59:50.590" v="102648"/>
          <ac:spMkLst>
            <pc:docMk/>
            <pc:sldMk cId="1999328367" sldId="676"/>
            <ac:spMk id="10" creationId="{4BCFC814-98B0-4266-9DA8-03E393461826}"/>
          </ac:spMkLst>
        </pc:spChg>
        <pc:spChg chg="del mod modVis">
          <ac:chgData name="Matthäus Alberding" userId="89cdd4c9-d044-4ab4-9e6f-8f065e0119c4" providerId="ADAL" clId="{B6745356-B6CF-45AA-ADCC-AC8F740A00DA}" dt="2022-07-21T10:33:47.135" v="17145" actId="478"/>
          <ac:spMkLst>
            <pc:docMk/>
            <pc:sldMk cId="1999328367" sldId="676"/>
            <ac:spMk id="10" creationId="{98001242-20DA-4345-BF5E-1FB8F57C5ADD}"/>
          </ac:spMkLst>
        </pc:spChg>
        <pc:spChg chg="add del mod modVis">
          <ac:chgData name="Matthäus Alberding" userId="89cdd4c9-d044-4ab4-9e6f-8f065e0119c4" providerId="ADAL" clId="{B6745356-B6CF-45AA-ADCC-AC8F740A00DA}" dt="2022-07-29T08:59:52.067" v="102691"/>
          <ac:spMkLst>
            <pc:docMk/>
            <pc:sldMk cId="1999328367" sldId="676"/>
            <ac:spMk id="11" creationId="{2358071A-06FD-4327-863D-E7E7441DF1A6}"/>
          </ac:spMkLst>
        </pc:spChg>
        <pc:spChg chg="add del mod modVis">
          <ac:chgData name="Matthäus Alberding" userId="89cdd4c9-d044-4ab4-9e6f-8f065e0119c4" providerId="ADAL" clId="{B6745356-B6CF-45AA-ADCC-AC8F740A00DA}" dt="2022-07-21T10:33:50.865" v="17187"/>
          <ac:spMkLst>
            <pc:docMk/>
            <pc:sldMk cId="1999328367" sldId="676"/>
            <ac:spMk id="11" creationId="{DF10902A-A59A-421E-BD77-D51AB324A4EF}"/>
          </ac:spMkLst>
        </pc:spChg>
        <pc:spChg chg="add mod">
          <ac:chgData name="Matthäus Alberding" userId="89cdd4c9-d044-4ab4-9e6f-8f065e0119c4" providerId="ADAL" clId="{B6745356-B6CF-45AA-ADCC-AC8F740A00DA}" dt="2022-07-21T10:34:15.598" v="17201"/>
          <ac:spMkLst>
            <pc:docMk/>
            <pc:sldMk cId="1999328367" sldId="676"/>
            <ac:spMk id="12" creationId="{1CC41E8F-1725-40D6-985C-966F0808E594}"/>
          </ac:spMkLst>
        </pc:spChg>
        <pc:spChg chg="add del mod modVis">
          <ac:chgData name="Matthäus Alberding" userId="89cdd4c9-d044-4ab4-9e6f-8f065e0119c4" providerId="ADAL" clId="{B6745356-B6CF-45AA-ADCC-AC8F740A00DA}" dt="2022-07-29T09:02:47.900" v="103801"/>
          <ac:spMkLst>
            <pc:docMk/>
            <pc:sldMk cId="1999328367" sldId="676"/>
            <ac:spMk id="13" creationId="{917543B9-ECFE-47C4-95EA-8ECBD7BEEA5F}"/>
          </ac:spMkLst>
        </pc:spChg>
        <pc:spChg chg="add del mod">
          <ac:chgData name="Matthäus Alberding" userId="89cdd4c9-d044-4ab4-9e6f-8f065e0119c4" providerId="ADAL" clId="{B6745356-B6CF-45AA-ADCC-AC8F740A00DA}" dt="2022-07-21T10:34:30.949" v="17204" actId="478"/>
          <ac:spMkLst>
            <pc:docMk/>
            <pc:sldMk cId="1999328367" sldId="676"/>
            <ac:spMk id="13" creationId="{E0666D55-E3DA-4B04-ABD0-19E5D3A006BB}"/>
          </ac:spMkLst>
        </pc:spChg>
        <pc:spChg chg="add mod">
          <ac:chgData name="Matthäus Alberding" userId="89cdd4c9-d044-4ab4-9e6f-8f065e0119c4" providerId="ADAL" clId="{B6745356-B6CF-45AA-ADCC-AC8F740A00DA}" dt="2022-07-21T10:41:54.200" v="17455" actId="207"/>
          <ac:spMkLst>
            <pc:docMk/>
            <pc:sldMk cId="1999328367" sldId="676"/>
            <ac:spMk id="14" creationId="{2FD7B4F8-729A-4E62-9272-FD4708C9F516}"/>
          </ac:spMkLst>
        </pc:spChg>
        <pc:spChg chg="add mod">
          <ac:chgData name="Matthäus Alberding" userId="89cdd4c9-d044-4ab4-9e6f-8f065e0119c4" providerId="ADAL" clId="{B6745356-B6CF-45AA-ADCC-AC8F740A00DA}" dt="2022-07-21T11:08:56.301" v="17498" actId="14100"/>
          <ac:spMkLst>
            <pc:docMk/>
            <pc:sldMk cId="1999328367" sldId="676"/>
            <ac:spMk id="15" creationId="{CEA724CB-A117-40C1-BD1A-0F82BC3C0283}"/>
          </ac:spMkLst>
        </pc:spChg>
        <pc:graphicFrameChg chg="add mod">
          <ac:chgData name="Matthäus Alberding" userId="89cdd4c9-d044-4ab4-9e6f-8f065e0119c4" providerId="ADAL" clId="{B6745356-B6CF-45AA-ADCC-AC8F740A00DA}" dt="2022-07-21T10:43:29.352" v="17482" actId="404"/>
          <ac:graphicFrameMkLst>
            <pc:docMk/>
            <pc:sldMk cId="1999328367" sldId="676"/>
            <ac:graphicFrameMk id="6" creationId="{CDE98719-8D84-4F9B-97DA-32F79B04ECB3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9T09:02:47.901" v="103803"/>
          <ac:graphicFrameMkLst>
            <pc:docMk/>
            <pc:sldMk cId="1999328367" sldId="676"/>
            <ac:graphicFrameMk id="9" creationId="{A41FC733-6609-415B-B0FC-E0EA47A53594}"/>
          </ac:graphicFrameMkLst>
        </pc:graphicFrameChg>
      </pc:sldChg>
      <pc:sldChg chg="addSp delSp modSp new add del mod ord modTransition modShow">
        <pc:chgData name="Matthäus Alberding" userId="89cdd4c9-d044-4ab4-9e6f-8f065e0119c4" providerId="ADAL" clId="{B6745356-B6CF-45AA-ADCC-AC8F740A00DA}" dt="2022-07-21T13:20:33.695" v="25770" actId="47"/>
        <pc:sldMkLst>
          <pc:docMk/>
          <pc:sldMk cId="2239960082" sldId="677"/>
        </pc:sldMkLst>
        <pc:spChg chg="mod">
          <ac:chgData name="Matthäus Alberding" userId="89cdd4c9-d044-4ab4-9e6f-8f065e0119c4" providerId="ADAL" clId="{B6745356-B6CF-45AA-ADCC-AC8F740A00DA}" dt="2022-07-21T11:32:22.674" v="18846" actId="948"/>
          <ac:spMkLst>
            <pc:docMk/>
            <pc:sldMk cId="2239960082" sldId="677"/>
            <ac:spMk id="4" creationId="{BA095F08-F240-4841-A124-2CAABA9BA5EC}"/>
          </ac:spMkLst>
        </pc:spChg>
        <pc:spChg chg="mod">
          <ac:chgData name="Matthäus Alberding" userId="89cdd4c9-d044-4ab4-9e6f-8f065e0119c4" providerId="ADAL" clId="{B6745356-B6CF-45AA-ADCC-AC8F740A00DA}" dt="2022-07-21T11:30:01.037" v="17609"/>
          <ac:spMkLst>
            <pc:docMk/>
            <pc:sldMk cId="2239960082" sldId="677"/>
            <ac:spMk id="5" creationId="{9C4232A6-ECDB-4366-BCDD-46CB3AAF8738}"/>
          </ac:spMkLst>
        </pc:spChg>
        <pc:spChg chg="add mod">
          <ac:chgData name="Matthäus Alberding" userId="89cdd4c9-d044-4ab4-9e6f-8f065e0119c4" providerId="ADAL" clId="{B6745356-B6CF-45AA-ADCC-AC8F740A00DA}" dt="2022-07-21T11:26:41.122" v="17566" actId="1076"/>
          <ac:spMkLst>
            <pc:docMk/>
            <pc:sldMk cId="2239960082" sldId="677"/>
            <ac:spMk id="8" creationId="{38412064-2938-4D46-A6AF-D30E79D7D666}"/>
          </ac:spMkLst>
        </pc:spChg>
        <pc:spChg chg="add del mod modVis">
          <ac:chgData name="Matthäus Alberding" userId="89cdd4c9-d044-4ab4-9e6f-8f065e0119c4" providerId="ADAL" clId="{B6745356-B6CF-45AA-ADCC-AC8F740A00DA}" dt="2022-07-21T11:31:52.384" v="18203"/>
          <ac:spMkLst>
            <pc:docMk/>
            <pc:sldMk cId="2239960082" sldId="677"/>
            <ac:spMk id="9" creationId="{B759A896-F3B3-4CD6-841C-35411966CA6C}"/>
          </ac:spMkLst>
        </pc:spChg>
        <pc:spChg chg="add del mod modVis">
          <ac:chgData name="Matthäus Alberding" userId="89cdd4c9-d044-4ab4-9e6f-8f065e0119c4" providerId="ADAL" clId="{B6745356-B6CF-45AA-ADCC-AC8F740A00DA}" dt="2022-07-21T11:31:53.500" v="18259"/>
          <ac:spMkLst>
            <pc:docMk/>
            <pc:sldMk cId="2239960082" sldId="677"/>
            <ac:spMk id="11" creationId="{CBCA22B6-FD00-4FAF-B9F2-03ECA76421B8}"/>
          </ac:spMkLst>
        </pc:spChg>
        <pc:spChg chg="add del mod modVis">
          <ac:chgData name="Matthäus Alberding" userId="89cdd4c9-d044-4ab4-9e6f-8f065e0119c4" providerId="ADAL" clId="{B6745356-B6CF-45AA-ADCC-AC8F740A00DA}" dt="2022-07-21T11:31:54.466" v="18302"/>
          <ac:spMkLst>
            <pc:docMk/>
            <pc:sldMk cId="2239960082" sldId="677"/>
            <ac:spMk id="12" creationId="{7309F4A9-2C0E-4663-9116-909DDF0CCAB8}"/>
          </ac:spMkLst>
        </pc:spChg>
        <pc:spChg chg="add del mod modVis">
          <ac:chgData name="Matthäus Alberding" userId="89cdd4c9-d044-4ab4-9e6f-8f065e0119c4" providerId="ADAL" clId="{B6745356-B6CF-45AA-ADCC-AC8F740A00DA}" dt="2022-07-21T11:31:57.894" v="18346"/>
          <ac:spMkLst>
            <pc:docMk/>
            <pc:sldMk cId="2239960082" sldId="677"/>
            <ac:spMk id="13" creationId="{79987127-CEE0-4E15-BBF2-3B252444AF40}"/>
          </ac:spMkLst>
        </pc:spChg>
        <pc:spChg chg="add del mod modVis">
          <ac:chgData name="Matthäus Alberding" userId="89cdd4c9-d044-4ab4-9e6f-8f065e0119c4" providerId="ADAL" clId="{B6745356-B6CF-45AA-ADCC-AC8F740A00DA}" dt="2022-07-21T11:31:58.545" v="18389"/>
          <ac:spMkLst>
            <pc:docMk/>
            <pc:sldMk cId="2239960082" sldId="677"/>
            <ac:spMk id="14" creationId="{0ADBF85F-61D9-4591-A8FE-2B53D867CC33}"/>
          </ac:spMkLst>
        </pc:spChg>
        <pc:spChg chg="add del mod modVis">
          <ac:chgData name="Matthäus Alberding" userId="89cdd4c9-d044-4ab4-9e6f-8f065e0119c4" providerId="ADAL" clId="{B6745356-B6CF-45AA-ADCC-AC8F740A00DA}" dt="2022-07-21T11:32:07.385" v="18506"/>
          <ac:spMkLst>
            <pc:docMk/>
            <pc:sldMk cId="2239960082" sldId="677"/>
            <ac:spMk id="15" creationId="{B09224B4-66F0-4399-84BA-4283C00D6739}"/>
          </ac:spMkLst>
        </pc:spChg>
        <pc:spChg chg="add del mod modVis">
          <ac:chgData name="Matthäus Alberding" userId="89cdd4c9-d044-4ab4-9e6f-8f065e0119c4" providerId="ADAL" clId="{B6745356-B6CF-45AA-ADCC-AC8F740A00DA}" dt="2022-07-21T11:32:09.834" v="18565"/>
          <ac:spMkLst>
            <pc:docMk/>
            <pc:sldMk cId="2239960082" sldId="677"/>
            <ac:spMk id="16" creationId="{EA9B830E-94E8-4187-BCB5-5281CE3CFA76}"/>
          </ac:spMkLst>
        </pc:spChg>
        <pc:spChg chg="add del mod modVis">
          <ac:chgData name="Matthäus Alberding" userId="89cdd4c9-d044-4ab4-9e6f-8f065e0119c4" providerId="ADAL" clId="{B6745356-B6CF-45AA-ADCC-AC8F740A00DA}" dt="2022-07-21T11:32:11.384" v="18615"/>
          <ac:spMkLst>
            <pc:docMk/>
            <pc:sldMk cId="2239960082" sldId="677"/>
            <ac:spMk id="17" creationId="{C35EBE78-C9BA-41DA-8D16-831B86825EA3}"/>
          </ac:spMkLst>
        </pc:spChg>
        <pc:spChg chg="add del mod modVis">
          <ac:chgData name="Matthäus Alberding" userId="89cdd4c9-d044-4ab4-9e6f-8f065e0119c4" providerId="ADAL" clId="{B6745356-B6CF-45AA-ADCC-AC8F740A00DA}" dt="2022-07-21T11:32:13.020" v="18663"/>
          <ac:spMkLst>
            <pc:docMk/>
            <pc:sldMk cId="2239960082" sldId="677"/>
            <ac:spMk id="18" creationId="{EC2C1A17-09A7-489D-A7AD-5D6BC3C5E4BA}"/>
          </ac:spMkLst>
        </pc:spChg>
        <pc:spChg chg="add del mod modVis">
          <ac:chgData name="Matthäus Alberding" userId="89cdd4c9-d044-4ab4-9e6f-8f065e0119c4" providerId="ADAL" clId="{B6745356-B6CF-45AA-ADCC-AC8F740A00DA}" dt="2022-07-21T11:32:13.669" v="18706"/>
          <ac:spMkLst>
            <pc:docMk/>
            <pc:sldMk cId="2239960082" sldId="677"/>
            <ac:spMk id="19" creationId="{EFBC0122-0667-4806-AC1E-1EC429D60E6D}"/>
          </ac:spMkLst>
        </pc:spChg>
        <pc:spChg chg="add del mod modVis">
          <ac:chgData name="Matthäus Alberding" userId="89cdd4c9-d044-4ab4-9e6f-8f065e0119c4" providerId="ADAL" clId="{B6745356-B6CF-45AA-ADCC-AC8F740A00DA}" dt="2022-07-21T11:32:15.078" v="18753"/>
          <ac:spMkLst>
            <pc:docMk/>
            <pc:sldMk cId="2239960082" sldId="677"/>
            <ac:spMk id="20" creationId="{C833ED85-6AA6-47CA-B4B1-FAFFBAFAD210}"/>
          </ac:spMkLst>
        </pc:spChg>
        <pc:spChg chg="add del mod modVis">
          <ac:chgData name="Matthäus Alberding" userId="89cdd4c9-d044-4ab4-9e6f-8f065e0119c4" providerId="ADAL" clId="{B6745356-B6CF-45AA-ADCC-AC8F740A00DA}" dt="2022-07-21T11:32:15.699" v="18799"/>
          <ac:spMkLst>
            <pc:docMk/>
            <pc:sldMk cId="2239960082" sldId="677"/>
            <ac:spMk id="21" creationId="{9D9F9877-8E8A-41D1-8AA9-6D4867299684}"/>
          </ac:spMkLst>
        </pc:spChg>
        <pc:spChg chg="add del mod modVis">
          <ac:chgData name="Matthäus Alberding" userId="89cdd4c9-d044-4ab4-9e6f-8f065e0119c4" providerId="ADAL" clId="{B6745356-B6CF-45AA-ADCC-AC8F740A00DA}" dt="2022-07-21T11:32:20.296" v="18842"/>
          <ac:spMkLst>
            <pc:docMk/>
            <pc:sldMk cId="2239960082" sldId="677"/>
            <ac:spMk id="22" creationId="{BC9DC84D-5F5C-4CAD-84B8-5EF84F420353}"/>
          </ac:spMkLst>
        </pc:spChg>
        <pc:spChg chg="add del mod modVis">
          <ac:chgData name="Matthäus Alberding" userId="89cdd4c9-d044-4ab4-9e6f-8f065e0119c4" providerId="ADAL" clId="{B6745356-B6CF-45AA-ADCC-AC8F740A00DA}" dt="2022-07-21T11:32:22.692" v="18885"/>
          <ac:spMkLst>
            <pc:docMk/>
            <pc:sldMk cId="2239960082" sldId="677"/>
            <ac:spMk id="23" creationId="{AB2148C2-F565-4B55-A10D-F302CF0766FA}"/>
          </ac:spMkLst>
        </pc:spChg>
        <pc:graphicFrameChg chg="add mod ord modVis">
          <ac:chgData name="Matthäus Alberding" userId="89cdd4c9-d044-4ab4-9e6f-8f065e0119c4" providerId="ADAL" clId="{B6745356-B6CF-45AA-ADCC-AC8F740A00DA}" dt="2022-07-21T12:08:19.690" v="21527"/>
          <ac:graphicFrameMkLst>
            <pc:docMk/>
            <pc:sldMk cId="2239960082" sldId="677"/>
            <ac:graphicFrameMk id="10" creationId="{2B536D7A-5B0C-4CBE-905F-111E246FD98B}"/>
          </ac:graphicFrameMkLst>
        </pc:graphicFrameChg>
        <pc:picChg chg="add mod">
          <ac:chgData name="Matthäus Alberding" userId="89cdd4c9-d044-4ab4-9e6f-8f065e0119c4" providerId="ADAL" clId="{B6745356-B6CF-45AA-ADCC-AC8F740A00DA}" dt="2022-07-21T11:45:43.926" v="19862" actId="1036"/>
          <ac:picMkLst>
            <pc:docMk/>
            <pc:sldMk cId="2239960082" sldId="677"/>
            <ac:picMk id="7" creationId="{DD3E54E0-70B3-4D92-A2AB-FF6713F22757}"/>
          </ac:picMkLst>
        </pc:picChg>
      </pc:sldChg>
      <pc:sldChg chg="addSp delSp modSp new add del mod ord modTransition modShow">
        <pc:chgData name="Matthäus Alberding" userId="89cdd4c9-d044-4ab4-9e6f-8f065e0119c4" providerId="ADAL" clId="{B6745356-B6CF-45AA-ADCC-AC8F740A00DA}" dt="2022-07-21T13:20:33.695" v="25770" actId="47"/>
        <pc:sldMkLst>
          <pc:docMk/>
          <pc:sldMk cId="3275149485" sldId="678"/>
        </pc:sldMkLst>
        <pc:spChg chg="mod">
          <ac:chgData name="Matthäus Alberding" userId="89cdd4c9-d044-4ab4-9e6f-8f065e0119c4" providerId="ADAL" clId="{B6745356-B6CF-45AA-ADCC-AC8F740A00DA}" dt="2022-07-21T11:46:00.715" v="19865" actId="948"/>
          <ac:spMkLst>
            <pc:docMk/>
            <pc:sldMk cId="3275149485" sldId="678"/>
            <ac:spMk id="4" creationId="{CE45BB5D-8F67-45D2-89FA-B086DA30A41F}"/>
          </ac:spMkLst>
        </pc:spChg>
        <pc:spChg chg="mod">
          <ac:chgData name="Matthäus Alberding" userId="89cdd4c9-d044-4ab4-9e6f-8f065e0119c4" providerId="ADAL" clId="{B6745356-B6CF-45AA-ADCC-AC8F740A00DA}" dt="2022-07-21T11:30:17.627" v="17611" actId="20577"/>
          <ac:spMkLst>
            <pc:docMk/>
            <pc:sldMk cId="3275149485" sldId="678"/>
            <ac:spMk id="5" creationId="{4D6CF267-0681-4997-B94A-92B3CE263422}"/>
          </ac:spMkLst>
        </pc:spChg>
        <pc:spChg chg="add mod">
          <ac:chgData name="Matthäus Alberding" userId="89cdd4c9-d044-4ab4-9e6f-8f065e0119c4" providerId="ADAL" clId="{B6745356-B6CF-45AA-ADCC-AC8F740A00DA}" dt="2022-07-21T11:29:22.933" v="17601"/>
          <ac:spMkLst>
            <pc:docMk/>
            <pc:sldMk cId="3275149485" sldId="678"/>
            <ac:spMk id="7" creationId="{A00189B9-9242-4800-B61C-0F146F2AFD7F}"/>
          </ac:spMkLst>
        </pc:spChg>
        <pc:spChg chg="add mod">
          <ac:chgData name="Matthäus Alberding" userId="89cdd4c9-d044-4ab4-9e6f-8f065e0119c4" providerId="ADAL" clId="{B6745356-B6CF-45AA-ADCC-AC8F740A00DA}" dt="2022-07-21T11:29:29.089" v="17602"/>
          <ac:spMkLst>
            <pc:docMk/>
            <pc:sldMk cId="3275149485" sldId="678"/>
            <ac:spMk id="8" creationId="{4CC9AB92-C8BC-46B8-A9EB-49BEE222C0D5}"/>
          </ac:spMkLst>
        </pc:spChg>
        <pc:spChg chg="add mod">
          <ac:chgData name="Matthäus Alberding" userId="89cdd4c9-d044-4ab4-9e6f-8f065e0119c4" providerId="ADAL" clId="{B6745356-B6CF-45AA-ADCC-AC8F740A00DA}" dt="2022-07-21T11:29:53.422" v="17608" actId="1076"/>
          <ac:spMkLst>
            <pc:docMk/>
            <pc:sldMk cId="3275149485" sldId="678"/>
            <ac:spMk id="9" creationId="{530609BE-2CAB-4E60-8AD7-E92647C2622F}"/>
          </ac:spMkLst>
        </pc:spChg>
        <pc:spChg chg="add del mod modVis">
          <ac:chgData name="Matthäus Alberding" userId="89cdd4c9-d044-4ab4-9e6f-8f065e0119c4" providerId="ADAL" clId="{B6745356-B6CF-45AA-ADCC-AC8F740A00DA}" dt="2022-07-21T11:30:43.044" v="17715"/>
          <ac:spMkLst>
            <pc:docMk/>
            <pc:sldMk cId="3275149485" sldId="678"/>
            <ac:spMk id="10" creationId="{F79BCE47-F848-42BF-8158-F453ECA1794D}"/>
          </ac:spMkLst>
        </pc:spChg>
        <pc:spChg chg="add del mod modVis">
          <ac:chgData name="Matthäus Alberding" userId="89cdd4c9-d044-4ab4-9e6f-8f065e0119c4" providerId="ADAL" clId="{B6745356-B6CF-45AA-ADCC-AC8F740A00DA}" dt="2022-07-21T11:30:44.906" v="17771"/>
          <ac:spMkLst>
            <pc:docMk/>
            <pc:sldMk cId="3275149485" sldId="678"/>
            <ac:spMk id="12" creationId="{7291DEA3-D0DA-43BE-94B6-8C2018BE30A0}"/>
          </ac:spMkLst>
        </pc:spChg>
        <pc:spChg chg="add del mod modVis">
          <ac:chgData name="Matthäus Alberding" userId="89cdd4c9-d044-4ab4-9e6f-8f065e0119c4" providerId="ADAL" clId="{B6745356-B6CF-45AA-ADCC-AC8F740A00DA}" dt="2022-07-21T11:30:48.038" v="17829"/>
          <ac:spMkLst>
            <pc:docMk/>
            <pc:sldMk cId="3275149485" sldId="678"/>
            <ac:spMk id="13" creationId="{E16664BA-F745-407B-B610-BACE0B0F1D49}"/>
          </ac:spMkLst>
        </pc:spChg>
        <pc:spChg chg="add del mod modVis">
          <ac:chgData name="Matthäus Alberding" userId="89cdd4c9-d044-4ab4-9e6f-8f065e0119c4" providerId="ADAL" clId="{B6745356-B6CF-45AA-ADCC-AC8F740A00DA}" dt="2022-07-21T11:30:59.661" v="17938"/>
          <ac:spMkLst>
            <pc:docMk/>
            <pc:sldMk cId="3275149485" sldId="678"/>
            <ac:spMk id="14" creationId="{D0075D8E-AD86-4B66-94E5-7931241788C8}"/>
          </ac:spMkLst>
        </pc:spChg>
        <pc:spChg chg="add del mod modVis">
          <ac:chgData name="Matthäus Alberding" userId="89cdd4c9-d044-4ab4-9e6f-8f065e0119c4" providerId="ADAL" clId="{B6745356-B6CF-45AA-ADCC-AC8F740A00DA}" dt="2022-07-21T11:31:17.631" v="18016"/>
          <ac:spMkLst>
            <pc:docMk/>
            <pc:sldMk cId="3275149485" sldId="678"/>
            <ac:spMk id="15" creationId="{EFB87887-26EC-4B9F-A37C-F213EF819370}"/>
          </ac:spMkLst>
        </pc:spChg>
        <pc:spChg chg="add del mod modVis">
          <ac:chgData name="Matthäus Alberding" userId="89cdd4c9-d044-4ab4-9e6f-8f065e0119c4" providerId="ADAL" clId="{B6745356-B6CF-45AA-ADCC-AC8F740A00DA}" dt="2022-07-21T11:31:24.306" v="18102"/>
          <ac:spMkLst>
            <pc:docMk/>
            <pc:sldMk cId="3275149485" sldId="678"/>
            <ac:spMk id="16" creationId="{5A9F90C9-7938-4D68-96B5-20B7353A712B}"/>
          </ac:spMkLst>
        </pc:spChg>
        <pc:spChg chg="add del mod modVis">
          <ac:chgData name="Matthäus Alberding" userId="89cdd4c9-d044-4ab4-9e6f-8f065e0119c4" providerId="ADAL" clId="{B6745356-B6CF-45AA-ADCC-AC8F740A00DA}" dt="2022-07-21T11:31:30.311" v="18145"/>
          <ac:spMkLst>
            <pc:docMk/>
            <pc:sldMk cId="3275149485" sldId="678"/>
            <ac:spMk id="17" creationId="{A12D6869-B2BC-48AC-BCEA-5E68B36B3365}"/>
          </ac:spMkLst>
        </pc:spChg>
        <pc:spChg chg="add del mod modVis">
          <ac:chgData name="Matthäus Alberding" userId="89cdd4c9-d044-4ab4-9e6f-8f065e0119c4" providerId="ADAL" clId="{B6745356-B6CF-45AA-ADCC-AC8F740A00DA}" dt="2022-07-21T11:46:00.733" v="19904"/>
          <ac:spMkLst>
            <pc:docMk/>
            <pc:sldMk cId="3275149485" sldId="678"/>
            <ac:spMk id="18" creationId="{366813C8-DB84-433C-81D6-77D485E54100}"/>
          </ac:spMkLst>
        </pc:spChg>
        <pc:graphicFrameChg chg="add mod">
          <ac:chgData name="Matthäus Alberding" userId="89cdd4c9-d044-4ab4-9e6f-8f065e0119c4" providerId="ADAL" clId="{B6745356-B6CF-45AA-ADCC-AC8F740A00DA}" dt="2022-07-21T11:29:00.356" v="17597" actId="403"/>
          <ac:graphicFrameMkLst>
            <pc:docMk/>
            <pc:sldMk cId="3275149485" sldId="678"/>
            <ac:graphicFrameMk id="6" creationId="{4EBA6365-65AB-412B-885C-3681533DAFB7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1T12:08:19.674" v="21524" actId="1076"/>
          <ac:graphicFrameMkLst>
            <pc:docMk/>
            <pc:sldMk cId="3275149485" sldId="678"/>
            <ac:graphicFrameMk id="11" creationId="{D016CB50-EF3D-4303-9FDA-58F387765264}"/>
          </ac:graphicFrameMkLst>
        </pc:graphicFrameChg>
      </pc:sldChg>
      <pc:sldChg chg="addSp delSp modSp new add del mod ord modTransition modShow">
        <pc:chgData name="Matthäus Alberding" userId="89cdd4c9-d044-4ab4-9e6f-8f065e0119c4" providerId="ADAL" clId="{B6745356-B6CF-45AA-ADCC-AC8F740A00DA}" dt="2022-07-26T12:38:10.463" v="65457" actId="47"/>
        <pc:sldMkLst>
          <pc:docMk/>
          <pc:sldMk cId="3362921978" sldId="679"/>
        </pc:sldMkLst>
        <pc:spChg chg="mod ord">
          <ac:chgData name="Matthäus Alberding" userId="89cdd4c9-d044-4ab4-9e6f-8f065e0119c4" providerId="ADAL" clId="{B6745356-B6CF-45AA-ADCC-AC8F740A00DA}" dt="2022-07-21T17:08:09.400" v="30999"/>
          <ac:spMkLst>
            <pc:docMk/>
            <pc:sldMk cId="3362921978" sldId="679"/>
            <ac:spMk id="2" creationId="{7462B137-96CD-4ED8-B154-102E7317CE99}"/>
          </ac:spMkLst>
        </pc:spChg>
        <pc:spChg chg="mod ord">
          <ac:chgData name="Matthäus Alberding" userId="89cdd4c9-d044-4ab4-9e6f-8f065e0119c4" providerId="ADAL" clId="{B6745356-B6CF-45AA-ADCC-AC8F740A00DA}" dt="2022-07-21T17:08:09.401" v="31001"/>
          <ac:spMkLst>
            <pc:docMk/>
            <pc:sldMk cId="3362921978" sldId="679"/>
            <ac:spMk id="3" creationId="{C26F251B-1F8E-4607-AA18-64208C38D01D}"/>
          </ac:spMkLst>
        </pc:spChg>
        <pc:spChg chg="mod ord">
          <ac:chgData name="Matthäus Alberding" userId="89cdd4c9-d044-4ab4-9e6f-8f065e0119c4" providerId="ADAL" clId="{B6745356-B6CF-45AA-ADCC-AC8F740A00DA}" dt="2022-07-26T12:35:41.569" v="65189" actId="948"/>
          <ac:spMkLst>
            <pc:docMk/>
            <pc:sldMk cId="3362921978" sldId="679"/>
            <ac:spMk id="4" creationId="{2479CCE8-F70F-4748-8E89-C8BA41679653}"/>
          </ac:spMkLst>
        </pc:spChg>
        <pc:spChg chg="mod ord">
          <ac:chgData name="Matthäus Alberding" userId="89cdd4c9-d044-4ab4-9e6f-8f065e0119c4" providerId="ADAL" clId="{B6745356-B6CF-45AA-ADCC-AC8F740A00DA}" dt="2022-07-21T17:08:09.401" v="31005"/>
          <ac:spMkLst>
            <pc:docMk/>
            <pc:sldMk cId="3362921978" sldId="679"/>
            <ac:spMk id="5" creationId="{14D57165-C4F4-4311-87C9-C4AD5C0FBF8D}"/>
          </ac:spMkLst>
        </pc:spChg>
        <pc:spChg chg="add del mod modVis">
          <ac:chgData name="Matthäus Alberding" userId="89cdd4c9-d044-4ab4-9e6f-8f065e0119c4" providerId="ADAL" clId="{B6745356-B6CF-45AA-ADCC-AC8F740A00DA}" dt="2022-07-21T17:07:22.024" v="30862"/>
          <ac:spMkLst>
            <pc:docMk/>
            <pc:sldMk cId="3362921978" sldId="679"/>
            <ac:spMk id="7" creationId="{67A06690-32C8-40D9-8904-585C2B05AED9}"/>
          </ac:spMkLst>
        </pc:spChg>
        <pc:spChg chg="add del mod modVis">
          <ac:chgData name="Matthäus Alberding" userId="89cdd4c9-d044-4ab4-9e6f-8f065e0119c4" providerId="ADAL" clId="{B6745356-B6CF-45AA-ADCC-AC8F740A00DA}" dt="2022-07-21T11:42:06.033" v="18964"/>
          <ac:spMkLst>
            <pc:docMk/>
            <pc:sldMk cId="3362921978" sldId="679"/>
            <ac:spMk id="7" creationId="{DDF7FC39-0C25-41EB-94A9-E203C6D85FD0}"/>
          </ac:spMkLst>
        </pc:spChg>
        <pc:spChg chg="add del mod modVis">
          <ac:chgData name="Matthäus Alberding" userId="89cdd4c9-d044-4ab4-9e6f-8f065e0119c4" providerId="ADAL" clId="{B6745356-B6CF-45AA-ADCC-AC8F740A00DA}" dt="2022-07-26T12:35:23.535" v="65092"/>
          <ac:spMkLst>
            <pc:docMk/>
            <pc:sldMk cId="3362921978" sldId="679"/>
            <ac:spMk id="7" creationId="{F9AB4596-DCFB-4648-A3AB-2C5513B7321F}"/>
          </ac:spMkLst>
        </pc:spChg>
        <pc:spChg chg="add del mod modVis">
          <ac:chgData name="Matthäus Alberding" userId="89cdd4c9-d044-4ab4-9e6f-8f065e0119c4" providerId="ADAL" clId="{B6745356-B6CF-45AA-ADCC-AC8F740A00DA}" dt="2022-07-21T11:42:09.016" v="19024"/>
          <ac:spMkLst>
            <pc:docMk/>
            <pc:sldMk cId="3362921978" sldId="679"/>
            <ac:spMk id="8" creationId="{80CD37D3-BBC5-49A9-A1C0-159134E85440}"/>
          </ac:spMkLst>
        </pc:spChg>
        <pc:spChg chg="add del mod modVis">
          <ac:chgData name="Matthäus Alberding" userId="89cdd4c9-d044-4ab4-9e6f-8f065e0119c4" providerId="ADAL" clId="{B6745356-B6CF-45AA-ADCC-AC8F740A00DA}" dt="2022-07-26T12:35:24.671" v="65137"/>
          <ac:spMkLst>
            <pc:docMk/>
            <pc:sldMk cId="3362921978" sldId="679"/>
            <ac:spMk id="8" creationId="{E150C2CD-E716-4B43-965F-2E56C94F341E}"/>
          </ac:spMkLst>
        </pc:spChg>
        <pc:spChg chg="add del mod modVis">
          <ac:chgData name="Matthäus Alberding" userId="89cdd4c9-d044-4ab4-9e6f-8f065e0119c4" providerId="ADAL" clId="{B6745356-B6CF-45AA-ADCC-AC8F740A00DA}" dt="2022-07-21T17:07:23.233" v="30907"/>
          <ac:spMkLst>
            <pc:docMk/>
            <pc:sldMk cId="3362921978" sldId="679"/>
            <ac:spMk id="8" creationId="{E5F14FB8-FD29-4EE8-88B0-3190F548AE7B}"/>
          </ac:spMkLst>
        </pc:spChg>
        <pc:spChg chg="add del mod modVis">
          <ac:chgData name="Matthäus Alberding" userId="89cdd4c9-d044-4ab4-9e6f-8f065e0119c4" providerId="ADAL" clId="{B6745356-B6CF-45AA-ADCC-AC8F740A00DA}" dt="2022-07-21T17:07:28.607" v="30953"/>
          <ac:spMkLst>
            <pc:docMk/>
            <pc:sldMk cId="3362921978" sldId="679"/>
            <ac:spMk id="9" creationId="{59AAB422-4B83-4741-AF1C-5384637693C7}"/>
          </ac:spMkLst>
        </pc:spChg>
        <pc:spChg chg="add del mod modVis">
          <ac:chgData name="Matthäus Alberding" userId="89cdd4c9-d044-4ab4-9e6f-8f065e0119c4" providerId="ADAL" clId="{B6745356-B6CF-45AA-ADCC-AC8F740A00DA}" dt="2022-07-21T11:42:16.617" v="19084"/>
          <ac:spMkLst>
            <pc:docMk/>
            <pc:sldMk cId="3362921978" sldId="679"/>
            <ac:spMk id="9" creationId="{B838E291-5A2F-413F-9A3E-F9183E6CC6A3}"/>
          </ac:spMkLst>
        </pc:spChg>
        <pc:spChg chg="add del mod modVis">
          <ac:chgData name="Matthäus Alberding" userId="89cdd4c9-d044-4ab4-9e6f-8f065e0119c4" providerId="ADAL" clId="{B6745356-B6CF-45AA-ADCC-AC8F740A00DA}" dt="2022-07-26T12:35:37.119" v="65185"/>
          <ac:spMkLst>
            <pc:docMk/>
            <pc:sldMk cId="3362921978" sldId="679"/>
            <ac:spMk id="9" creationId="{FDA59201-EAC3-4C6B-BD00-E15503257E2B}"/>
          </ac:spMkLst>
        </pc:spChg>
        <pc:spChg chg="add del mod modVis">
          <ac:chgData name="Matthäus Alberding" userId="89cdd4c9-d044-4ab4-9e6f-8f065e0119c4" providerId="ADAL" clId="{B6745356-B6CF-45AA-ADCC-AC8F740A00DA}" dt="2022-07-21T11:42:17.687" v="19133"/>
          <ac:spMkLst>
            <pc:docMk/>
            <pc:sldMk cId="3362921978" sldId="679"/>
            <ac:spMk id="10" creationId="{146A8F36-AEC7-4949-B081-76E99D272710}"/>
          </ac:spMkLst>
        </pc:spChg>
        <pc:spChg chg="add del mod modVis">
          <ac:chgData name="Matthäus Alberding" userId="89cdd4c9-d044-4ab4-9e6f-8f065e0119c4" providerId="ADAL" clId="{B6745356-B6CF-45AA-ADCC-AC8F740A00DA}" dt="2022-07-21T17:16:01.543" v="31190"/>
          <ac:spMkLst>
            <pc:docMk/>
            <pc:sldMk cId="3362921978" sldId="679"/>
            <ac:spMk id="10" creationId="{1F48627D-C898-4D94-BF8E-805B955EC546}"/>
          </ac:spMkLst>
        </pc:spChg>
        <pc:spChg chg="add del mod modVis">
          <ac:chgData name="Matthäus Alberding" userId="89cdd4c9-d044-4ab4-9e6f-8f065e0119c4" providerId="ADAL" clId="{B6745356-B6CF-45AA-ADCC-AC8F740A00DA}" dt="2022-07-26T12:35:41.586" v="65228"/>
          <ac:spMkLst>
            <pc:docMk/>
            <pc:sldMk cId="3362921978" sldId="679"/>
            <ac:spMk id="10" creationId="{DF05E6DC-4189-4539-9F33-C98859F7076A}"/>
          </ac:spMkLst>
        </pc:spChg>
        <pc:spChg chg="add del mod modVis">
          <ac:chgData name="Matthäus Alberding" userId="89cdd4c9-d044-4ab4-9e6f-8f065e0119c4" providerId="ADAL" clId="{B6745356-B6CF-45AA-ADCC-AC8F740A00DA}" dt="2022-07-21T17:16:10.132" v="31243"/>
          <ac:spMkLst>
            <pc:docMk/>
            <pc:sldMk cId="3362921978" sldId="679"/>
            <ac:spMk id="11" creationId="{CF095749-8F90-42AF-9A27-6383C50691E5}"/>
          </ac:spMkLst>
        </pc:spChg>
        <pc:spChg chg="add del mod modVis">
          <ac:chgData name="Matthäus Alberding" userId="89cdd4c9-d044-4ab4-9e6f-8f065e0119c4" providerId="ADAL" clId="{B6745356-B6CF-45AA-ADCC-AC8F740A00DA}" dt="2022-07-21T11:42:18.947" v="19177"/>
          <ac:spMkLst>
            <pc:docMk/>
            <pc:sldMk cId="3362921978" sldId="679"/>
            <ac:spMk id="11" creationId="{EEAF7603-EB5F-44FE-B73A-3157A438F7C3}"/>
          </ac:spMkLst>
        </pc:spChg>
        <pc:spChg chg="add del mod modVis">
          <ac:chgData name="Matthäus Alberding" userId="89cdd4c9-d044-4ab4-9e6f-8f065e0119c4" providerId="ADAL" clId="{B6745356-B6CF-45AA-ADCC-AC8F740A00DA}" dt="2022-07-21T17:16:10.874" v="31288"/>
          <ac:spMkLst>
            <pc:docMk/>
            <pc:sldMk cId="3362921978" sldId="679"/>
            <ac:spMk id="12" creationId="{BDF0316E-2682-4DC2-9620-304D4C4236BB}"/>
          </ac:spMkLst>
        </pc:spChg>
        <pc:spChg chg="add del mod modVis">
          <ac:chgData name="Matthäus Alberding" userId="89cdd4c9-d044-4ab4-9e6f-8f065e0119c4" providerId="ADAL" clId="{B6745356-B6CF-45AA-ADCC-AC8F740A00DA}" dt="2022-07-21T11:42:21.415" v="19221"/>
          <ac:spMkLst>
            <pc:docMk/>
            <pc:sldMk cId="3362921978" sldId="679"/>
            <ac:spMk id="12" creationId="{CB6FC097-D8EA-455A-9076-E5B11DA0CB18}"/>
          </ac:spMkLst>
        </pc:spChg>
        <pc:spChg chg="add del mod modVis">
          <ac:chgData name="Matthäus Alberding" userId="89cdd4c9-d044-4ab4-9e6f-8f065e0119c4" providerId="ADAL" clId="{B6745356-B6CF-45AA-ADCC-AC8F740A00DA}" dt="2022-07-21T17:16:32.270" v="31335"/>
          <ac:spMkLst>
            <pc:docMk/>
            <pc:sldMk cId="3362921978" sldId="679"/>
            <ac:spMk id="13" creationId="{C398AF15-6531-45A1-A53B-D76358D13F76}"/>
          </ac:spMkLst>
        </pc:spChg>
        <pc:spChg chg="add del mod modVis">
          <ac:chgData name="Matthäus Alberding" userId="89cdd4c9-d044-4ab4-9e6f-8f065e0119c4" providerId="ADAL" clId="{B6745356-B6CF-45AA-ADCC-AC8F740A00DA}" dt="2022-07-21T11:42:28.152" v="19271"/>
          <ac:spMkLst>
            <pc:docMk/>
            <pc:sldMk cId="3362921978" sldId="679"/>
            <ac:spMk id="13" creationId="{C883A72D-1D64-4B64-802F-073D42479549}"/>
          </ac:spMkLst>
        </pc:spChg>
        <pc:spChg chg="add del mod modVis">
          <ac:chgData name="Matthäus Alberding" userId="89cdd4c9-d044-4ab4-9e6f-8f065e0119c4" providerId="ADAL" clId="{B6745356-B6CF-45AA-ADCC-AC8F740A00DA}" dt="2022-07-21T17:16:34.118" v="31380"/>
          <ac:spMkLst>
            <pc:docMk/>
            <pc:sldMk cId="3362921978" sldId="679"/>
            <ac:spMk id="14" creationId="{66D58390-B92F-42E7-B26A-6E2C438881DF}"/>
          </ac:spMkLst>
        </pc:spChg>
        <pc:spChg chg="add del mod modVis">
          <ac:chgData name="Matthäus Alberding" userId="89cdd4c9-d044-4ab4-9e6f-8f065e0119c4" providerId="ADAL" clId="{B6745356-B6CF-45AA-ADCC-AC8F740A00DA}" dt="2022-07-21T11:42:39.438" v="19323"/>
          <ac:spMkLst>
            <pc:docMk/>
            <pc:sldMk cId="3362921978" sldId="679"/>
            <ac:spMk id="14" creationId="{CAAE218F-DAF0-4567-80F0-189761083A95}"/>
          </ac:spMkLst>
        </pc:spChg>
        <pc:spChg chg="add del mod modVis">
          <ac:chgData name="Matthäus Alberding" userId="89cdd4c9-d044-4ab4-9e6f-8f065e0119c4" providerId="ADAL" clId="{B6745356-B6CF-45AA-ADCC-AC8F740A00DA}" dt="2022-07-21T17:16:36.540" v="31426"/>
          <ac:spMkLst>
            <pc:docMk/>
            <pc:sldMk cId="3362921978" sldId="679"/>
            <ac:spMk id="15" creationId="{9B02E7EF-2F90-4819-B6E0-A249A7CBF1CC}"/>
          </ac:spMkLst>
        </pc:spChg>
        <pc:spChg chg="add del mod modVis">
          <ac:chgData name="Matthäus Alberding" userId="89cdd4c9-d044-4ab4-9e6f-8f065e0119c4" providerId="ADAL" clId="{B6745356-B6CF-45AA-ADCC-AC8F740A00DA}" dt="2022-07-21T11:42:40.359" v="19366"/>
          <ac:spMkLst>
            <pc:docMk/>
            <pc:sldMk cId="3362921978" sldId="679"/>
            <ac:spMk id="15" creationId="{B79C219C-38B3-4E81-AAA9-31305075F6B7}"/>
          </ac:spMkLst>
        </pc:spChg>
        <pc:spChg chg="add del mod modVis">
          <ac:chgData name="Matthäus Alberding" userId="89cdd4c9-d044-4ab4-9e6f-8f065e0119c4" providerId="ADAL" clId="{B6745356-B6CF-45AA-ADCC-AC8F740A00DA}" dt="2022-07-21T17:18:21.302" v="31749"/>
          <ac:spMkLst>
            <pc:docMk/>
            <pc:sldMk cId="3362921978" sldId="679"/>
            <ac:spMk id="16" creationId="{BEB463BC-6AC6-4B71-90A3-20E626157D15}"/>
          </ac:spMkLst>
        </pc:spChg>
        <pc:spChg chg="add del mod modVis">
          <ac:chgData name="Matthäus Alberding" userId="89cdd4c9-d044-4ab4-9e6f-8f065e0119c4" providerId="ADAL" clId="{B6745356-B6CF-45AA-ADCC-AC8F740A00DA}" dt="2022-07-21T11:42:43.329" v="19409"/>
          <ac:spMkLst>
            <pc:docMk/>
            <pc:sldMk cId="3362921978" sldId="679"/>
            <ac:spMk id="16" creationId="{F821F076-3A4C-49B8-AA62-AE3BA49C8D26}"/>
          </ac:spMkLst>
        </pc:spChg>
        <pc:spChg chg="add del mod modVis">
          <ac:chgData name="Matthäus Alberding" userId="89cdd4c9-d044-4ab4-9e6f-8f065e0119c4" providerId="ADAL" clId="{B6745356-B6CF-45AA-ADCC-AC8F740A00DA}" dt="2022-07-21T11:43:47.923" v="19454"/>
          <ac:spMkLst>
            <pc:docMk/>
            <pc:sldMk cId="3362921978" sldId="679"/>
            <ac:spMk id="17" creationId="{6337C290-4D64-4922-9FB9-D65938EF4AD1}"/>
          </ac:spMkLst>
        </pc:spChg>
        <pc:spChg chg="add del mod modVis">
          <ac:chgData name="Matthäus Alberding" userId="89cdd4c9-d044-4ab4-9e6f-8f065e0119c4" providerId="ADAL" clId="{B6745356-B6CF-45AA-ADCC-AC8F740A00DA}" dt="2022-07-21T17:23:11.908" v="32077"/>
          <ac:spMkLst>
            <pc:docMk/>
            <pc:sldMk cId="3362921978" sldId="679"/>
            <ac:spMk id="17" creationId="{A4491AD7-DF1D-419D-AD18-429F052EB022}"/>
          </ac:spMkLst>
        </pc:spChg>
        <pc:spChg chg="add del mod modVis">
          <ac:chgData name="Matthäus Alberding" userId="89cdd4c9-d044-4ab4-9e6f-8f065e0119c4" providerId="ADAL" clId="{B6745356-B6CF-45AA-ADCC-AC8F740A00DA}" dt="2022-07-21T11:43:51.364" v="19500"/>
          <ac:spMkLst>
            <pc:docMk/>
            <pc:sldMk cId="3362921978" sldId="679"/>
            <ac:spMk id="18" creationId="{4F31EC0A-010A-4394-A484-42BEA3491AE9}"/>
          </ac:spMkLst>
        </pc:spChg>
        <pc:spChg chg="add del mod modVis">
          <ac:chgData name="Matthäus Alberding" userId="89cdd4c9-d044-4ab4-9e6f-8f065e0119c4" providerId="ADAL" clId="{B6745356-B6CF-45AA-ADCC-AC8F740A00DA}" dt="2022-07-21T17:23:12.679" v="32120"/>
          <ac:spMkLst>
            <pc:docMk/>
            <pc:sldMk cId="3362921978" sldId="679"/>
            <ac:spMk id="18" creationId="{EAD31F9F-A88F-4E08-AD2C-7F6695DB9012}"/>
          </ac:spMkLst>
        </pc:spChg>
        <pc:spChg chg="add del mod modVis">
          <ac:chgData name="Matthäus Alberding" userId="89cdd4c9-d044-4ab4-9e6f-8f065e0119c4" providerId="ADAL" clId="{B6745356-B6CF-45AA-ADCC-AC8F740A00DA}" dt="2022-07-21T11:43:56.466" v="19568"/>
          <ac:spMkLst>
            <pc:docMk/>
            <pc:sldMk cId="3362921978" sldId="679"/>
            <ac:spMk id="19" creationId="{721DCF38-8C3A-429F-BF25-0B24B319D59B}"/>
          </ac:spMkLst>
        </pc:spChg>
        <pc:spChg chg="add del mod modVis">
          <ac:chgData name="Matthäus Alberding" userId="89cdd4c9-d044-4ab4-9e6f-8f065e0119c4" providerId="ADAL" clId="{B6745356-B6CF-45AA-ADCC-AC8F740A00DA}" dt="2022-07-21T17:23:18.853" v="32170"/>
          <ac:spMkLst>
            <pc:docMk/>
            <pc:sldMk cId="3362921978" sldId="679"/>
            <ac:spMk id="19" creationId="{B1E42426-476D-4EBD-9C4E-DF821D1250B9}"/>
          </ac:spMkLst>
        </pc:spChg>
        <pc:spChg chg="add del mod modVis">
          <ac:chgData name="Matthäus Alberding" userId="89cdd4c9-d044-4ab4-9e6f-8f065e0119c4" providerId="ADAL" clId="{B6745356-B6CF-45AA-ADCC-AC8F740A00DA}" dt="2022-07-21T11:43:59.242" v="19616"/>
          <ac:spMkLst>
            <pc:docMk/>
            <pc:sldMk cId="3362921978" sldId="679"/>
            <ac:spMk id="20" creationId="{43FABFF3-E28E-4DF6-A521-47EEAF340B06}"/>
          </ac:spMkLst>
        </pc:spChg>
        <pc:spChg chg="add del mod modVis">
          <ac:chgData name="Matthäus Alberding" userId="89cdd4c9-d044-4ab4-9e6f-8f065e0119c4" providerId="ADAL" clId="{B6745356-B6CF-45AA-ADCC-AC8F740A00DA}" dt="2022-07-21T17:23:23.192" v="32221"/>
          <ac:spMkLst>
            <pc:docMk/>
            <pc:sldMk cId="3362921978" sldId="679"/>
            <ac:spMk id="20" creationId="{501867A7-2653-469F-8C52-8E0682D2DCC9}"/>
          </ac:spMkLst>
        </pc:spChg>
        <pc:spChg chg="add del mod modVis">
          <ac:chgData name="Matthäus Alberding" userId="89cdd4c9-d044-4ab4-9e6f-8f065e0119c4" providerId="ADAL" clId="{B6745356-B6CF-45AA-ADCC-AC8F740A00DA}" dt="2022-07-21T11:44:00.495" v="19661"/>
          <ac:spMkLst>
            <pc:docMk/>
            <pc:sldMk cId="3362921978" sldId="679"/>
            <ac:spMk id="21" creationId="{3FDD6B21-442D-4FB0-B447-E097CFCC1723}"/>
          </ac:spMkLst>
        </pc:spChg>
        <pc:spChg chg="add del mod modVis">
          <ac:chgData name="Matthäus Alberding" userId="89cdd4c9-d044-4ab4-9e6f-8f065e0119c4" providerId="ADAL" clId="{B6745356-B6CF-45AA-ADCC-AC8F740A00DA}" dt="2022-07-21T17:23:24.576" v="32272"/>
          <ac:spMkLst>
            <pc:docMk/>
            <pc:sldMk cId="3362921978" sldId="679"/>
            <ac:spMk id="21" creationId="{6794CADD-7243-46A8-9B8F-F1AF109256A7}"/>
          </ac:spMkLst>
        </pc:spChg>
        <pc:spChg chg="add del mod modVis">
          <ac:chgData name="Matthäus Alberding" userId="89cdd4c9-d044-4ab4-9e6f-8f065e0119c4" providerId="ADAL" clId="{B6745356-B6CF-45AA-ADCC-AC8F740A00DA}" dt="2022-07-21T11:44:01.051" v="19704"/>
          <ac:spMkLst>
            <pc:docMk/>
            <pc:sldMk cId="3362921978" sldId="679"/>
            <ac:spMk id="22" creationId="{95B0BAF6-1FEE-431A-B5BC-EEF75AB849FB}"/>
          </ac:spMkLst>
        </pc:spChg>
        <pc:spChg chg="add del mod modVis">
          <ac:chgData name="Matthäus Alberding" userId="89cdd4c9-d044-4ab4-9e6f-8f065e0119c4" providerId="ADAL" clId="{B6745356-B6CF-45AA-ADCC-AC8F740A00DA}" dt="2022-07-21T17:23:27.446" v="32316"/>
          <ac:spMkLst>
            <pc:docMk/>
            <pc:sldMk cId="3362921978" sldId="679"/>
            <ac:spMk id="22" creationId="{F835BE1B-EF7D-484A-B679-7038A8A94BF2}"/>
          </ac:spMkLst>
        </pc:spChg>
        <pc:spChg chg="add del mod modVis">
          <ac:chgData name="Matthäus Alberding" userId="89cdd4c9-d044-4ab4-9e6f-8f065e0119c4" providerId="ADAL" clId="{B6745356-B6CF-45AA-ADCC-AC8F740A00DA}" dt="2022-07-21T11:44:03.529" v="19762"/>
          <ac:spMkLst>
            <pc:docMk/>
            <pc:sldMk cId="3362921978" sldId="679"/>
            <ac:spMk id="23" creationId="{91535FC7-93A4-47A8-83C8-6FDDCC1FC13D}"/>
          </ac:spMkLst>
        </pc:spChg>
        <pc:spChg chg="add del mod modVis">
          <ac:chgData name="Matthäus Alberding" userId="89cdd4c9-d044-4ab4-9e6f-8f065e0119c4" providerId="ADAL" clId="{B6745356-B6CF-45AA-ADCC-AC8F740A00DA}" dt="2022-07-21T17:23:29.151" v="32368"/>
          <ac:spMkLst>
            <pc:docMk/>
            <pc:sldMk cId="3362921978" sldId="679"/>
            <ac:spMk id="23" creationId="{EAD42B6A-6C83-4B07-98FA-FF9CB8819DB3}"/>
          </ac:spMkLst>
        </pc:spChg>
        <pc:spChg chg="add del mod modVis">
          <ac:chgData name="Matthäus Alberding" userId="89cdd4c9-d044-4ab4-9e6f-8f065e0119c4" providerId="ADAL" clId="{B6745356-B6CF-45AA-ADCC-AC8F740A00DA}" dt="2022-07-21T11:44:09.332" v="19813"/>
          <ac:spMkLst>
            <pc:docMk/>
            <pc:sldMk cId="3362921978" sldId="679"/>
            <ac:spMk id="24" creationId="{23B86FAC-D2B8-4864-B2C6-555B1B499394}"/>
          </ac:spMkLst>
        </pc:spChg>
        <pc:spChg chg="add del mod modVis">
          <ac:chgData name="Matthäus Alberding" userId="89cdd4c9-d044-4ab4-9e6f-8f065e0119c4" providerId="ADAL" clId="{B6745356-B6CF-45AA-ADCC-AC8F740A00DA}" dt="2022-07-21T17:24:24.694" v="32485"/>
          <ac:spMkLst>
            <pc:docMk/>
            <pc:sldMk cId="3362921978" sldId="679"/>
            <ac:spMk id="24" creationId="{E3AAE5EC-ED6E-47BB-9EB3-3DD196224CE7}"/>
          </ac:spMkLst>
        </pc:spChg>
        <pc:spChg chg="add del mod modVis">
          <ac:chgData name="Matthäus Alberding" userId="89cdd4c9-d044-4ab4-9e6f-8f065e0119c4" providerId="ADAL" clId="{B6745356-B6CF-45AA-ADCC-AC8F740A00DA}" dt="2022-07-21T11:44:09.880" v="19856"/>
          <ac:spMkLst>
            <pc:docMk/>
            <pc:sldMk cId="3362921978" sldId="679"/>
            <ac:spMk id="25" creationId="{29F9DD23-ED39-4E68-8EBE-B05688724381}"/>
          </ac:spMkLst>
        </pc:spChg>
        <pc:spChg chg="add del mod modVis">
          <ac:chgData name="Matthäus Alberding" userId="89cdd4c9-d044-4ab4-9e6f-8f065e0119c4" providerId="ADAL" clId="{B6745356-B6CF-45AA-ADCC-AC8F740A00DA}" dt="2022-07-21T17:24:32.335" v="32564"/>
          <ac:spMkLst>
            <pc:docMk/>
            <pc:sldMk cId="3362921978" sldId="679"/>
            <ac:spMk id="25" creationId="{3BD11891-D31F-41CB-BC95-0066168DA12C}"/>
          </ac:spMkLst>
        </pc:spChg>
        <pc:spChg chg="add del mod modVis">
          <ac:chgData name="Matthäus Alberding" userId="89cdd4c9-d044-4ab4-9e6f-8f065e0119c4" providerId="ADAL" clId="{B6745356-B6CF-45AA-ADCC-AC8F740A00DA}" dt="2022-07-21T17:24:35.034" v="32615"/>
          <ac:spMkLst>
            <pc:docMk/>
            <pc:sldMk cId="3362921978" sldId="679"/>
            <ac:spMk id="26" creationId="{A901B090-165E-42E5-AE81-77A7A0F0A8B6}"/>
          </ac:spMkLst>
        </pc:spChg>
        <pc:spChg chg="add mod ord">
          <ac:chgData name="Matthäus Alberding" userId="89cdd4c9-d044-4ab4-9e6f-8f065e0119c4" providerId="ADAL" clId="{B6745356-B6CF-45AA-ADCC-AC8F740A00DA}" dt="2022-07-26T12:35:54.793" v="65233" actId="1076"/>
          <ac:spMkLst>
            <pc:docMk/>
            <pc:sldMk cId="3362921978" sldId="679"/>
            <ac:spMk id="28" creationId="{45E1739D-2538-4731-A4FB-72C64E996D82}"/>
          </ac:spMkLst>
        </pc:spChg>
        <pc:spChg chg="add del mod modVis">
          <ac:chgData name="Matthäus Alberding" userId="89cdd4c9-d044-4ab4-9e6f-8f065e0119c4" providerId="ADAL" clId="{B6745356-B6CF-45AA-ADCC-AC8F740A00DA}" dt="2022-07-21T17:24:37.130" v="32659"/>
          <ac:spMkLst>
            <pc:docMk/>
            <pc:sldMk cId="3362921978" sldId="679"/>
            <ac:spMk id="29" creationId="{3AB162A2-82D5-4A10-8934-6ACD54E36E1A}"/>
          </ac:spMkLst>
        </pc:spChg>
        <pc:spChg chg="add del mod modVis">
          <ac:chgData name="Matthäus Alberding" userId="89cdd4c9-d044-4ab4-9e6f-8f065e0119c4" providerId="ADAL" clId="{B6745356-B6CF-45AA-ADCC-AC8F740A00DA}" dt="2022-07-21T11:46:28.561" v="19975"/>
          <ac:spMkLst>
            <pc:docMk/>
            <pc:sldMk cId="3362921978" sldId="679"/>
            <ac:spMk id="29" creationId="{CD986E1B-721E-4B59-A796-39C37871F060}"/>
          </ac:spMkLst>
        </pc:spChg>
        <pc:spChg chg="add del mod ord">
          <ac:chgData name="Matthäus Alberding" userId="89cdd4c9-d044-4ab4-9e6f-8f065e0119c4" providerId="ADAL" clId="{B6745356-B6CF-45AA-ADCC-AC8F740A00DA}" dt="2022-07-26T12:35:44.921" v="65231" actId="478"/>
          <ac:spMkLst>
            <pc:docMk/>
            <pc:sldMk cId="3362921978" sldId="679"/>
            <ac:spMk id="30" creationId="{25947069-D2BE-47C1-A7D1-1C2024BFD04B}"/>
          </ac:spMkLst>
        </pc:spChg>
        <pc:spChg chg="add mod ord">
          <ac:chgData name="Matthäus Alberding" userId="89cdd4c9-d044-4ab4-9e6f-8f065e0119c4" providerId="ADAL" clId="{B6745356-B6CF-45AA-ADCC-AC8F740A00DA}" dt="2022-07-26T12:35:51.713" v="65232" actId="1076"/>
          <ac:spMkLst>
            <pc:docMk/>
            <pc:sldMk cId="3362921978" sldId="679"/>
            <ac:spMk id="31" creationId="{B695033C-22AD-4171-8F46-01FC710BADA2}"/>
          </ac:spMkLst>
        </pc:spChg>
        <pc:spChg chg="add del mod modVis">
          <ac:chgData name="Matthäus Alberding" userId="89cdd4c9-d044-4ab4-9e6f-8f065e0119c4" providerId="ADAL" clId="{B6745356-B6CF-45AA-ADCC-AC8F740A00DA}" dt="2022-07-21T17:24:40.003" v="32717"/>
          <ac:spMkLst>
            <pc:docMk/>
            <pc:sldMk cId="3362921978" sldId="679"/>
            <ac:spMk id="32" creationId="{500B982F-C9DA-4ABE-BA68-31ACAB49A2F5}"/>
          </ac:spMkLst>
        </pc:spChg>
        <pc:spChg chg="add del mod modVis">
          <ac:chgData name="Matthäus Alberding" userId="89cdd4c9-d044-4ab4-9e6f-8f065e0119c4" providerId="ADAL" clId="{B6745356-B6CF-45AA-ADCC-AC8F740A00DA}" dt="2022-07-21T17:24:40.889" v="32760"/>
          <ac:spMkLst>
            <pc:docMk/>
            <pc:sldMk cId="3362921978" sldId="679"/>
            <ac:spMk id="33" creationId="{D499BB52-4196-4AA2-8058-A8B81FC5383E}"/>
          </ac:spMkLst>
        </pc:spChg>
        <pc:spChg chg="add del mod modVis">
          <ac:chgData name="Matthäus Alberding" userId="89cdd4c9-d044-4ab4-9e6f-8f065e0119c4" providerId="ADAL" clId="{B6745356-B6CF-45AA-ADCC-AC8F740A00DA}" dt="2022-07-21T17:24:44.258" v="32808"/>
          <ac:spMkLst>
            <pc:docMk/>
            <pc:sldMk cId="3362921978" sldId="679"/>
            <ac:spMk id="34" creationId="{5B9FFB6A-68F7-471B-A0A5-EA4A1DA18A96}"/>
          </ac:spMkLst>
        </pc:spChg>
        <pc:spChg chg="add del mod modVis">
          <ac:chgData name="Matthäus Alberding" userId="89cdd4c9-d044-4ab4-9e6f-8f065e0119c4" providerId="ADAL" clId="{B6745356-B6CF-45AA-ADCC-AC8F740A00DA}" dt="2022-07-21T11:48:39.688" v="20057"/>
          <ac:spMkLst>
            <pc:docMk/>
            <pc:sldMk cId="3362921978" sldId="679"/>
            <ac:spMk id="34" creationId="{892369A7-E4B1-4A7F-9789-CF04EC7DE8E9}"/>
          </ac:spMkLst>
        </pc:spChg>
        <pc:spChg chg="add del mod ord">
          <ac:chgData name="Matthäus Alberding" userId="89cdd4c9-d044-4ab4-9e6f-8f065e0119c4" providerId="ADAL" clId="{B6745356-B6CF-45AA-ADCC-AC8F740A00DA}" dt="2022-07-26T12:35:44.921" v="65231" actId="478"/>
          <ac:spMkLst>
            <pc:docMk/>
            <pc:sldMk cId="3362921978" sldId="679"/>
            <ac:spMk id="35" creationId="{7D01A882-FB8A-4EF4-A530-638860725AAC}"/>
          </ac:spMkLst>
        </pc:spChg>
        <pc:spChg chg="add del mod modVis">
          <ac:chgData name="Matthäus Alberding" userId="89cdd4c9-d044-4ab4-9e6f-8f065e0119c4" providerId="ADAL" clId="{B6745356-B6CF-45AA-ADCC-AC8F740A00DA}" dt="2022-07-21T17:24:46.118" v="32861"/>
          <ac:spMkLst>
            <pc:docMk/>
            <pc:sldMk cId="3362921978" sldId="679"/>
            <ac:spMk id="36" creationId="{14055ACE-F65A-4866-BD00-D3B3A7C91F10}"/>
          </ac:spMkLst>
        </pc:spChg>
        <pc:spChg chg="add mod ord">
          <ac:chgData name="Matthäus Alberding" userId="89cdd4c9-d044-4ab4-9e6f-8f065e0119c4" providerId="ADAL" clId="{B6745356-B6CF-45AA-ADCC-AC8F740A00DA}" dt="2022-07-26T12:35:51.713" v="65232" actId="1076"/>
          <ac:spMkLst>
            <pc:docMk/>
            <pc:sldMk cId="3362921978" sldId="679"/>
            <ac:spMk id="37" creationId="{0389BC4C-CCC1-44E6-B3AB-BC63D75218C1}"/>
          </ac:spMkLst>
        </pc:spChg>
        <pc:spChg chg="add del mod ord">
          <ac:chgData name="Matthäus Alberding" userId="89cdd4c9-d044-4ab4-9e6f-8f065e0119c4" providerId="ADAL" clId="{B6745356-B6CF-45AA-ADCC-AC8F740A00DA}" dt="2022-07-26T12:35:44.921" v="65231" actId="478"/>
          <ac:spMkLst>
            <pc:docMk/>
            <pc:sldMk cId="3362921978" sldId="679"/>
            <ac:spMk id="38" creationId="{AAE95D6C-D601-4B9C-A2E4-673893DEF450}"/>
          </ac:spMkLst>
        </pc:spChg>
        <pc:spChg chg="add del mod modVis">
          <ac:chgData name="Matthäus Alberding" userId="89cdd4c9-d044-4ab4-9e6f-8f065e0119c4" providerId="ADAL" clId="{B6745356-B6CF-45AA-ADCC-AC8F740A00DA}" dt="2022-07-21T17:26:17.563" v="33003"/>
          <ac:spMkLst>
            <pc:docMk/>
            <pc:sldMk cId="3362921978" sldId="679"/>
            <ac:spMk id="39" creationId="{AD858820-077D-432A-924B-D5FBB105C8FD}"/>
          </ac:spMkLst>
        </pc:spChg>
        <pc:spChg chg="add mod ord">
          <ac:chgData name="Matthäus Alberding" userId="89cdd4c9-d044-4ab4-9e6f-8f065e0119c4" providerId="ADAL" clId="{B6745356-B6CF-45AA-ADCC-AC8F740A00DA}" dt="2022-07-26T12:35:54.793" v="65233" actId="1076"/>
          <ac:spMkLst>
            <pc:docMk/>
            <pc:sldMk cId="3362921978" sldId="679"/>
            <ac:spMk id="40" creationId="{0E2B84A2-AEF6-442F-AE9C-76F25C5D6A61}"/>
          </ac:spMkLst>
        </pc:spChg>
        <pc:spChg chg="add del mod modVis">
          <ac:chgData name="Matthäus Alberding" userId="89cdd4c9-d044-4ab4-9e6f-8f065e0119c4" providerId="ADAL" clId="{B6745356-B6CF-45AA-ADCC-AC8F740A00DA}" dt="2022-07-21T17:26:19.113" v="33046"/>
          <ac:spMkLst>
            <pc:docMk/>
            <pc:sldMk cId="3362921978" sldId="679"/>
            <ac:spMk id="41" creationId="{BFC1342A-54D3-4277-93F5-D7BF2B6B032C}"/>
          </ac:spMkLst>
        </pc:spChg>
        <pc:spChg chg="add mod ord">
          <ac:chgData name="Matthäus Alberding" userId="89cdd4c9-d044-4ab4-9e6f-8f065e0119c4" providerId="ADAL" clId="{B6745356-B6CF-45AA-ADCC-AC8F740A00DA}" dt="2022-07-26T12:35:51.713" v="65232" actId="1076"/>
          <ac:spMkLst>
            <pc:docMk/>
            <pc:sldMk cId="3362921978" sldId="679"/>
            <ac:spMk id="43" creationId="{2DF9BBBF-38FA-459E-B4DF-6EAA71792BF6}"/>
          </ac:spMkLst>
        </pc:spChg>
        <pc:spChg chg="add mod ord">
          <ac:chgData name="Matthäus Alberding" userId="89cdd4c9-d044-4ab4-9e6f-8f065e0119c4" providerId="ADAL" clId="{B6745356-B6CF-45AA-ADCC-AC8F740A00DA}" dt="2022-07-26T12:35:51.713" v="65232" actId="1076"/>
          <ac:spMkLst>
            <pc:docMk/>
            <pc:sldMk cId="3362921978" sldId="679"/>
            <ac:spMk id="44" creationId="{BBBF9D45-6314-4EA7-96BB-F58DE36964F5}"/>
          </ac:spMkLst>
        </pc:spChg>
        <pc:spChg chg="add del mod modVis">
          <ac:chgData name="Matthäus Alberding" userId="89cdd4c9-d044-4ab4-9e6f-8f065e0119c4" providerId="ADAL" clId="{B6745356-B6CF-45AA-ADCC-AC8F740A00DA}" dt="2022-07-21T17:26:26.953" v="33105"/>
          <ac:spMkLst>
            <pc:docMk/>
            <pc:sldMk cId="3362921978" sldId="679"/>
            <ac:spMk id="45" creationId="{7DD5456C-E04D-45F8-9955-FD3F910298E3}"/>
          </ac:spMkLst>
        </pc:spChg>
        <pc:spChg chg="add del mod">
          <ac:chgData name="Matthäus Alberding" userId="89cdd4c9-d044-4ab4-9e6f-8f065e0119c4" providerId="ADAL" clId="{B6745356-B6CF-45AA-ADCC-AC8F740A00DA}" dt="2022-07-21T12:06:22.340" v="20921" actId="478"/>
          <ac:spMkLst>
            <pc:docMk/>
            <pc:sldMk cId="3362921978" sldId="679"/>
            <ac:spMk id="45" creationId="{FE37FE68-EA2F-4BE0-94F9-2FFF9FB1C001}"/>
          </ac:spMkLst>
        </pc:spChg>
        <pc:spChg chg="add del mod modVis">
          <ac:chgData name="Matthäus Alberding" userId="89cdd4c9-d044-4ab4-9e6f-8f065e0119c4" providerId="ADAL" clId="{B6745356-B6CF-45AA-ADCC-AC8F740A00DA}" dt="2022-07-21T12:06:52.227" v="20969"/>
          <ac:spMkLst>
            <pc:docMk/>
            <pc:sldMk cId="3362921978" sldId="679"/>
            <ac:spMk id="46" creationId="{73A2CD88-40B9-4D66-B9D9-8BD19ADAAF59}"/>
          </ac:spMkLst>
        </pc:spChg>
        <pc:spChg chg="add del mod modVis">
          <ac:chgData name="Matthäus Alberding" userId="89cdd4c9-d044-4ab4-9e6f-8f065e0119c4" providerId="ADAL" clId="{B6745356-B6CF-45AA-ADCC-AC8F740A00DA}" dt="2022-07-21T17:26:29.533" v="33148"/>
          <ac:spMkLst>
            <pc:docMk/>
            <pc:sldMk cId="3362921978" sldId="679"/>
            <ac:spMk id="46" creationId="{FFC14CE3-852E-4B14-AB3C-13E3DEC86A7F}"/>
          </ac:spMkLst>
        </pc:spChg>
        <pc:spChg chg="add del mod modVis">
          <ac:chgData name="Matthäus Alberding" userId="89cdd4c9-d044-4ab4-9e6f-8f065e0119c4" providerId="ADAL" clId="{B6745356-B6CF-45AA-ADCC-AC8F740A00DA}" dt="2022-07-21T12:06:53.254" v="21013"/>
          <ac:spMkLst>
            <pc:docMk/>
            <pc:sldMk cId="3362921978" sldId="679"/>
            <ac:spMk id="47" creationId="{220E23BD-4A6D-42CE-AC5A-957CF2A0A565}"/>
          </ac:spMkLst>
        </pc:spChg>
        <pc:spChg chg="add del mod modVis">
          <ac:chgData name="Matthäus Alberding" userId="89cdd4c9-d044-4ab4-9e6f-8f065e0119c4" providerId="ADAL" clId="{B6745356-B6CF-45AA-ADCC-AC8F740A00DA}" dt="2022-07-21T17:26:30.785" v="33197"/>
          <ac:spMkLst>
            <pc:docMk/>
            <pc:sldMk cId="3362921978" sldId="679"/>
            <ac:spMk id="47" creationId="{B4D01451-6C89-4C96-BC91-3521F8F13AE5}"/>
          </ac:spMkLst>
        </pc:spChg>
        <pc:spChg chg="add del mod modVis">
          <ac:chgData name="Matthäus Alberding" userId="89cdd4c9-d044-4ab4-9e6f-8f065e0119c4" providerId="ADAL" clId="{B6745356-B6CF-45AA-ADCC-AC8F740A00DA}" dt="2022-07-21T12:06:55.368" v="21056"/>
          <ac:spMkLst>
            <pc:docMk/>
            <pc:sldMk cId="3362921978" sldId="679"/>
            <ac:spMk id="48" creationId="{44026A31-E0AE-4936-83EB-673EABF3B256}"/>
          </ac:spMkLst>
        </pc:spChg>
        <pc:spChg chg="add del mod modVis">
          <ac:chgData name="Matthäus Alberding" userId="89cdd4c9-d044-4ab4-9e6f-8f065e0119c4" providerId="ADAL" clId="{B6745356-B6CF-45AA-ADCC-AC8F740A00DA}" dt="2022-07-21T12:06:56.734" v="21099"/>
          <ac:spMkLst>
            <pc:docMk/>
            <pc:sldMk cId="3362921978" sldId="679"/>
            <ac:spMk id="49" creationId="{24E7EEBC-D674-40D9-828D-0C231957AC53}"/>
          </ac:spMkLst>
        </pc:spChg>
        <pc:spChg chg="add del mod modVis">
          <ac:chgData name="Matthäus Alberding" userId="89cdd4c9-d044-4ab4-9e6f-8f065e0119c4" providerId="ADAL" clId="{B6745356-B6CF-45AA-ADCC-AC8F740A00DA}" dt="2022-07-21T12:06:58.224" v="21145"/>
          <ac:spMkLst>
            <pc:docMk/>
            <pc:sldMk cId="3362921978" sldId="679"/>
            <ac:spMk id="50" creationId="{D2370A86-56C1-4759-A745-F5E276525920}"/>
          </ac:spMkLst>
        </pc:spChg>
        <pc:spChg chg="add del mod modVis">
          <ac:chgData name="Matthäus Alberding" userId="89cdd4c9-d044-4ab4-9e6f-8f065e0119c4" providerId="ADAL" clId="{B6745356-B6CF-45AA-ADCC-AC8F740A00DA}" dt="2022-07-21T12:06:59.174" v="21189"/>
          <ac:spMkLst>
            <pc:docMk/>
            <pc:sldMk cId="3362921978" sldId="679"/>
            <ac:spMk id="51" creationId="{8E384A8C-2EB2-4BFA-9E31-22364351217E}"/>
          </ac:spMkLst>
        </pc:spChg>
        <pc:spChg chg="add del mod modVis">
          <ac:chgData name="Matthäus Alberding" userId="89cdd4c9-d044-4ab4-9e6f-8f065e0119c4" providerId="ADAL" clId="{B6745356-B6CF-45AA-ADCC-AC8F740A00DA}" dt="2022-07-21T12:06:59.971" v="21232"/>
          <ac:spMkLst>
            <pc:docMk/>
            <pc:sldMk cId="3362921978" sldId="679"/>
            <ac:spMk id="52" creationId="{510EF5D0-A70B-43D1-8615-AA5CEF984B89}"/>
          </ac:spMkLst>
        </pc:spChg>
        <pc:spChg chg="add del mod modVis">
          <ac:chgData name="Matthäus Alberding" userId="89cdd4c9-d044-4ab4-9e6f-8f065e0119c4" providerId="ADAL" clId="{B6745356-B6CF-45AA-ADCC-AC8F740A00DA}" dt="2022-07-21T12:07:01.277" v="21276"/>
          <ac:spMkLst>
            <pc:docMk/>
            <pc:sldMk cId="3362921978" sldId="679"/>
            <ac:spMk id="53" creationId="{B2CDE3EA-F397-4639-B5C1-C286F3460850}"/>
          </ac:spMkLst>
        </pc:spChg>
        <pc:spChg chg="add del mod modVis">
          <ac:chgData name="Matthäus Alberding" userId="89cdd4c9-d044-4ab4-9e6f-8f065e0119c4" providerId="ADAL" clId="{B6745356-B6CF-45AA-ADCC-AC8F740A00DA}" dt="2022-07-21T12:07:02.138" v="21319"/>
          <ac:spMkLst>
            <pc:docMk/>
            <pc:sldMk cId="3362921978" sldId="679"/>
            <ac:spMk id="54" creationId="{91088C73-D89D-489C-A92A-46D5D60DB099}"/>
          </ac:spMkLst>
        </pc:spChg>
        <pc:spChg chg="add del mod modVis">
          <ac:chgData name="Matthäus Alberding" userId="89cdd4c9-d044-4ab4-9e6f-8f065e0119c4" providerId="ADAL" clId="{B6745356-B6CF-45AA-ADCC-AC8F740A00DA}" dt="2022-07-21T12:07:03.635" v="21365"/>
          <ac:spMkLst>
            <pc:docMk/>
            <pc:sldMk cId="3362921978" sldId="679"/>
            <ac:spMk id="55" creationId="{61E3BE4B-6FDB-4429-85E8-8E9FEC34D971}"/>
          </ac:spMkLst>
        </pc:spChg>
        <pc:spChg chg="add del mod modVis">
          <ac:chgData name="Matthäus Alberding" userId="89cdd4c9-d044-4ab4-9e6f-8f065e0119c4" providerId="ADAL" clId="{B6745356-B6CF-45AA-ADCC-AC8F740A00DA}" dt="2022-07-21T12:07:15.857" v="21418"/>
          <ac:spMkLst>
            <pc:docMk/>
            <pc:sldMk cId="3362921978" sldId="679"/>
            <ac:spMk id="56" creationId="{F5465CF6-993B-4DA5-BCC9-E373AF31AB91}"/>
          </ac:spMkLst>
        </pc:spChg>
        <pc:spChg chg="add del mod modVis">
          <ac:chgData name="Matthäus Alberding" userId="89cdd4c9-d044-4ab4-9e6f-8f065e0119c4" providerId="ADAL" clId="{B6745356-B6CF-45AA-ADCC-AC8F740A00DA}" dt="2022-07-21T12:07:18.002" v="21461"/>
          <ac:spMkLst>
            <pc:docMk/>
            <pc:sldMk cId="3362921978" sldId="679"/>
            <ac:spMk id="57" creationId="{E02EF27C-3A39-4416-B09A-2C41DA044F14}"/>
          </ac:spMkLst>
        </pc:spChg>
        <pc:spChg chg="add del mod modVis">
          <ac:chgData name="Matthäus Alberding" userId="89cdd4c9-d044-4ab4-9e6f-8f065e0119c4" providerId="ADAL" clId="{B6745356-B6CF-45AA-ADCC-AC8F740A00DA}" dt="2022-07-21T12:07:18.725" v="21510"/>
          <ac:spMkLst>
            <pc:docMk/>
            <pc:sldMk cId="3362921978" sldId="679"/>
            <ac:spMk id="58" creationId="{9E47AE06-5131-4ADE-8F45-AF2617C22FFE}"/>
          </ac:spMkLst>
        </pc:spChg>
        <pc:graphicFrameChg chg="add mod ord modVis">
          <ac:chgData name="Matthäus Alberding" userId="89cdd4c9-d044-4ab4-9e6f-8f065e0119c4" providerId="ADAL" clId="{B6745356-B6CF-45AA-ADCC-AC8F740A00DA}" dt="2022-07-26T12:35:41.587" v="65230"/>
          <ac:graphicFrameMkLst>
            <pc:docMk/>
            <pc:sldMk cId="3362921978" sldId="679"/>
            <ac:graphicFrameMk id="6" creationId="{17619F4C-4BEA-471F-B7B0-623407C2C224}"/>
          </ac:graphicFrameMkLst>
        </pc:graphicFrameChg>
        <pc:picChg chg="add mod ord">
          <ac:chgData name="Matthäus Alberding" userId="89cdd4c9-d044-4ab4-9e6f-8f065e0119c4" providerId="ADAL" clId="{B6745356-B6CF-45AA-ADCC-AC8F740A00DA}" dt="2022-07-26T12:35:54.793" v="65233" actId="1076"/>
          <ac:picMkLst>
            <pc:docMk/>
            <pc:sldMk cId="3362921978" sldId="679"/>
            <ac:picMk id="27" creationId="{B2E267C4-46AC-4172-8D45-E78CB479292E}"/>
          </ac:picMkLst>
        </pc:picChg>
        <pc:picChg chg="add del mod">
          <ac:chgData name="Matthäus Alberding" userId="89cdd4c9-d044-4ab4-9e6f-8f065e0119c4" providerId="ADAL" clId="{B6745356-B6CF-45AA-ADCC-AC8F740A00DA}" dt="2022-07-21T12:11:10.076" v="21534" actId="478"/>
          <ac:picMkLst>
            <pc:docMk/>
            <pc:sldMk cId="3362921978" sldId="679"/>
            <ac:picMk id="33" creationId="{B3755BA3-376F-4B3D-94E0-28AF3F032CC7}"/>
          </ac:picMkLst>
        </pc:picChg>
        <pc:picChg chg="add mod ord">
          <ac:chgData name="Matthäus Alberding" userId="89cdd4c9-d044-4ab4-9e6f-8f065e0119c4" providerId="ADAL" clId="{B6745356-B6CF-45AA-ADCC-AC8F740A00DA}" dt="2022-07-26T12:35:51.713" v="65232" actId="1076"/>
          <ac:picMkLst>
            <pc:docMk/>
            <pc:sldMk cId="3362921978" sldId="679"/>
            <ac:picMk id="42" creationId="{8102DA48-47DB-444E-A3F6-6F4D72D965EB}"/>
          </ac:picMkLst>
        </pc:picChg>
        <pc:picChg chg="add del mod ord">
          <ac:chgData name="Matthäus Alberding" userId="89cdd4c9-d044-4ab4-9e6f-8f065e0119c4" providerId="ADAL" clId="{B6745356-B6CF-45AA-ADCC-AC8F740A00DA}" dt="2022-07-26T12:35:44.921" v="65231" actId="478"/>
          <ac:picMkLst>
            <pc:docMk/>
            <pc:sldMk cId="3362921978" sldId="679"/>
            <ac:picMk id="60" creationId="{F82DC845-2F20-4674-887D-522FD1B2FFF0}"/>
          </ac:picMkLst>
        </pc:picChg>
      </pc:sldChg>
      <pc:sldChg chg="addSp delSp modSp new add mod ord modTransition modShow">
        <pc:chgData name="Matthäus Alberding" userId="89cdd4c9-d044-4ab4-9e6f-8f065e0119c4" providerId="ADAL" clId="{B6745356-B6CF-45AA-ADCC-AC8F740A00DA}" dt="2022-07-21T17:46:31.224" v="35785"/>
        <pc:sldMkLst>
          <pc:docMk/>
          <pc:sldMk cId="3832767032" sldId="680"/>
        </pc:sldMkLst>
        <pc:spChg chg="mod">
          <ac:chgData name="Matthäus Alberding" userId="89cdd4c9-d044-4ab4-9e6f-8f065e0119c4" providerId="ADAL" clId="{B6745356-B6CF-45AA-ADCC-AC8F740A00DA}" dt="2022-07-21T13:11:25.220" v="25664" actId="948"/>
          <ac:spMkLst>
            <pc:docMk/>
            <pc:sldMk cId="3832767032" sldId="680"/>
            <ac:spMk id="4" creationId="{E1BCE57E-79E3-4129-8EA9-A3FC95CB4804}"/>
          </ac:spMkLst>
        </pc:spChg>
        <pc:spChg chg="mod">
          <ac:chgData name="Matthäus Alberding" userId="89cdd4c9-d044-4ab4-9e6f-8f065e0119c4" providerId="ADAL" clId="{B6745356-B6CF-45AA-ADCC-AC8F740A00DA}" dt="2022-07-21T13:11:09.467" v="25523"/>
          <ac:spMkLst>
            <pc:docMk/>
            <pc:sldMk cId="3832767032" sldId="680"/>
            <ac:spMk id="5" creationId="{D43B8A5D-9A41-4223-A973-74477CD6E564}"/>
          </ac:spMkLst>
        </pc:spChg>
        <pc:spChg chg="add mod">
          <ac:chgData name="Matthäus Alberding" userId="89cdd4c9-d044-4ab4-9e6f-8f065e0119c4" providerId="ADAL" clId="{B6745356-B6CF-45AA-ADCC-AC8F740A00DA}" dt="2022-07-21T13:02:36.602" v="24478" actId="20577"/>
          <ac:spMkLst>
            <pc:docMk/>
            <pc:sldMk cId="3832767032" sldId="680"/>
            <ac:spMk id="6" creationId="{2DA02947-BD9E-4832-95CD-D098D0662250}"/>
          </ac:spMkLst>
        </pc:spChg>
        <pc:spChg chg="add del mod modVis">
          <ac:chgData name="Matthäus Alberding" userId="89cdd4c9-d044-4ab4-9e6f-8f065e0119c4" providerId="ADAL" clId="{B6745356-B6CF-45AA-ADCC-AC8F740A00DA}" dt="2022-07-21T12:56:56.262" v="23477"/>
          <ac:spMkLst>
            <pc:docMk/>
            <pc:sldMk cId="3832767032" sldId="680"/>
            <ac:spMk id="7" creationId="{3D5467DA-1006-46B6-9258-33B52E2CCB66}"/>
          </ac:spMkLst>
        </pc:spChg>
        <pc:spChg chg="add del mod modVis">
          <ac:chgData name="Matthäus Alberding" userId="89cdd4c9-d044-4ab4-9e6f-8f065e0119c4" providerId="ADAL" clId="{B6745356-B6CF-45AA-ADCC-AC8F740A00DA}" dt="2022-07-21T12:56:57.983" v="23542"/>
          <ac:spMkLst>
            <pc:docMk/>
            <pc:sldMk cId="3832767032" sldId="680"/>
            <ac:spMk id="9" creationId="{43DE2E6E-6664-4A55-A892-06BE712ABA88}"/>
          </ac:spMkLst>
        </pc:spChg>
        <pc:spChg chg="add del mod modVis">
          <ac:chgData name="Matthäus Alberding" userId="89cdd4c9-d044-4ab4-9e6f-8f065e0119c4" providerId="ADAL" clId="{B6745356-B6CF-45AA-ADCC-AC8F740A00DA}" dt="2022-07-21T12:57:00.853" v="23605"/>
          <ac:spMkLst>
            <pc:docMk/>
            <pc:sldMk cId="3832767032" sldId="680"/>
            <ac:spMk id="10" creationId="{E8D3522E-5E84-471A-AF04-A3CC4791769E}"/>
          </ac:spMkLst>
        </pc:spChg>
        <pc:spChg chg="add del mod modVis">
          <ac:chgData name="Matthäus Alberding" userId="89cdd4c9-d044-4ab4-9e6f-8f065e0119c4" providerId="ADAL" clId="{B6745356-B6CF-45AA-ADCC-AC8F740A00DA}" dt="2022-07-21T12:57:09.990" v="23653"/>
          <ac:spMkLst>
            <pc:docMk/>
            <pc:sldMk cId="3832767032" sldId="680"/>
            <ac:spMk id="11" creationId="{C78E9083-B0FE-4007-A6CA-BF358EEC4DF3}"/>
          </ac:spMkLst>
        </pc:spChg>
        <pc:spChg chg="add del mod modVis">
          <ac:chgData name="Matthäus Alberding" userId="89cdd4c9-d044-4ab4-9e6f-8f065e0119c4" providerId="ADAL" clId="{B6745356-B6CF-45AA-ADCC-AC8F740A00DA}" dt="2022-07-21T12:57:14.796" v="23703"/>
          <ac:spMkLst>
            <pc:docMk/>
            <pc:sldMk cId="3832767032" sldId="680"/>
            <ac:spMk id="12" creationId="{EDC203C1-1895-41C5-9509-286570A10E45}"/>
          </ac:spMkLst>
        </pc:spChg>
        <pc:spChg chg="add del mod modVis">
          <ac:chgData name="Matthäus Alberding" userId="89cdd4c9-d044-4ab4-9e6f-8f065e0119c4" providerId="ADAL" clId="{B6745356-B6CF-45AA-ADCC-AC8F740A00DA}" dt="2022-07-21T12:57:16.378" v="23747"/>
          <ac:spMkLst>
            <pc:docMk/>
            <pc:sldMk cId="3832767032" sldId="680"/>
            <ac:spMk id="13" creationId="{68CF714A-61F6-4FCB-8027-7009BB6054E1}"/>
          </ac:spMkLst>
        </pc:spChg>
        <pc:spChg chg="add del mod modVis">
          <ac:chgData name="Matthäus Alberding" userId="89cdd4c9-d044-4ab4-9e6f-8f065e0119c4" providerId="ADAL" clId="{B6745356-B6CF-45AA-ADCC-AC8F740A00DA}" dt="2022-07-21T12:57:17.640" v="23797"/>
          <ac:spMkLst>
            <pc:docMk/>
            <pc:sldMk cId="3832767032" sldId="680"/>
            <ac:spMk id="14" creationId="{1364E2B1-60B6-4981-8516-67CF974B3B20}"/>
          </ac:spMkLst>
        </pc:spChg>
        <pc:spChg chg="add del mod modVis">
          <ac:chgData name="Matthäus Alberding" userId="89cdd4c9-d044-4ab4-9e6f-8f065e0119c4" providerId="ADAL" clId="{B6745356-B6CF-45AA-ADCC-AC8F740A00DA}" dt="2022-07-21T12:57:18.624" v="23840"/>
          <ac:spMkLst>
            <pc:docMk/>
            <pc:sldMk cId="3832767032" sldId="680"/>
            <ac:spMk id="15" creationId="{E728B311-38C8-4114-868B-73873AB6AB82}"/>
          </ac:spMkLst>
        </pc:spChg>
        <pc:spChg chg="add del mod modVis">
          <ac:chgData name="Matthäus Alberding" userId="89cdd4c9-d044-4ab4-9e6f-8f065e0119c4" providerId="ADAL" clId="{B6745356-B6CF-45AA-ADCC-AC8F740A00DA}" dt="2022-07-21T12:57:19.833" v="23886"/>
          <ac:spMkLst>
            <pc:docMk/>
            <pc:sldMk cId="3832767032" sldId="680"/>
            <ac:spMk id="16" creationId="{9A9D7C30-416E-4725-874A-AC98ECF57240}"/>
          </ac:spMkLst>
        </pc:spChg>
        <pc:spChg chg="add del mod modVis">
          <ac:chgData name="Matthäus Alberding" userId="89cdd4c9-d044-4ab4-9e6f-8f065e0119c4" providerId="ADAL" clId="{B6745356-B6CF-45AA-ADCC-AC8F740A00DA}" dt="2022-07-21T12:57:21.582" v="23931"/>
          <ac:spMkLst>
            <pc:docMk/>
            <pc:sldMk cId="3832767032" sldId="680"/>
            <ac:spMk id="17" creationId="{5D1B5CB7-08B9-46EA-98FB-AD82596D6381}"/>
          </ac:spMkLst>
        </pc:spChg>
        <pc:spChg chg="add del mod modVis">
          <ac:chgData name="Matthäus Alberding" userId="89cdd4c9-d044-4ab4-9e6f-8f065e0119c4" providerId="ADAL" clId="{B6745356-B6CF-45AA-ADCC-AC8F740A00DA}" dt="2022-07-21T12:57:22.570" v="23975"/>
          <ac:spMkLst>
            <pc:docMk/>
            <pc:sldMk cId="3832767032" sldId="680"/>
            <ac:spMk id="18" creationId="{120567B7-0C58-4796-B7D4-7069003127FF}"/>
          </ac:spMkLst>
        </pc:spChg>
        <pc:spChg chg="add del mod modVis">
          <ac:chgData name="Matthäus Alberding" userId="89cdd4c9-d044-4ab4-9e6f-8f065e0119c4" providerId="ADAL" clId="{B6745356-B6CF-45AA-ADCC-AC8F740A00DA}" dt="2022-07-21T12:57:23.720" v="24019"/>
          <ac:spMkLst>
            <pc:docMk/>
            <pc:sldMk cId="3832767032" sldId="680"/>
            <ac:spMk id="19" creationId="{A34347D5-79A6-49D0-AAB4-26F54692C72F}"/>
          </ac:spMkLst>
        </pc:spChg>
        <pc:spChg chg="add del mod modVis">
          <ac:chgData name="Matthäus Alberding" userId="89cdd4c9-d044-4ab4-9e6f-8f065e0119c4" providerId="ADAL" clId="{B6745356-B6CF-45AA-ADCC-AC8F740A00DA}" dt="2022-07-21T12:57:24.834" v="24062"/>
          <ac:spMkLst>
            <pc:docMk/>
            <pc:sldMk cId="3832767032" sldId="680"/>
            <ac:spMk id="20" creationId="{522B76A2-50D4-4DD4-B54E-823F4D4CD0D9}"/>
          </ac:spMkLst>
        </pc:spChg>
        <pc:spChg chg="add del mod modVis">
          <ac:chgData name="Matthäus Alberding" userId="89cdd4c9-d044-4ab4-9e6f-8f065e0119c4" providerId="ADAL" clId="{B6745356-B6CF-45AA-ADCC-AC8F740A00DA}" dt="2022-07-21T12:57:28.641" v="24123"/>
          <ac:spMkLst>
            <pc:docMk/>
            <pc:sldMk cId="3832767032" sldId="680"/>
            <ac:spMk id="21" creationId="{68BBED60-22DB-4400-80BE-02F42A41DF17}"/>
          </ac:spMkLst>
        </pc:spChg>
        <pc:spChg chg="add del mod modVis">
          <ac:chgData name="Matthäus Alberding" userId="89cdd4c9-d044-4ab4-9e6f-8f065e0119c4" providerId="ADAL" clId="{B6745356-B6CF-45AA-ADCC-AC8F740A00DA}" dt="2022-07-21T12:57:30.735" v="24177"/>
          <ac:spMkLst>
            <pc:docMk/>
            <pc:sldMk cId="3832767032" sldId="680"/>
            <ac:spMk id="22" creationId="{F7CFCFB6-74C1-40B5-99BC-76A0CC3AEF4E}"/>
          </ac:spMkLst>
        </pc:spChg>
        <pc:spChg chg="add del mod modVis">
          <ac:chgData name="Matthäus Alberding" userId="89cdd4c9-d044-4ab4-9e6f-8f065e0119c4" providerId="ADAL" clId="{B6745356-B6CF-45AA-ADCC-AC8F740A00DA}" dt="2022-07-21T12:57:32.330" v="24225"/>
          <ac:spMkLst>
            <pc:docMk/>
            <pc:sldMk cId="3832767032" sldId="680"/>
            <ac:spMk id="23" creationId="{2988450C-7CB5-4227-B07E-826CFDB49DD3}"/>
          </ac:spMkLst>
        </pc:spChg>
        <pc:spChg chg="add del mod modVis">
          <ac:chgData name="Matthäus Alberding" userId="89cdd4c9-d044-4ab4-9e6f-8f065e0119c4" providerId="ADAL" clId="{B6745356-B6CF-45AA-ADCC-AC8F740A00DA}" dt="2022-07-21T12:57:40.423" v="24278"/>
          <ac:spMkLst>
            <pc:docMk/>
            <pc:sldMk cId="3832767032" sldId="680"/>
            <ac:spMk id="24" creationId="{E4770529-FBA3-43C6-BF1A-49ED408FE515}"/>
          </ac:spMkLst>
        </pc:spChg>
        <pc:spChg chg="del mod modVis">
          <ac:chgData name="Matthäus Alberding" userId="89cdd4c9-d044-4ab4-9e6f-8f065e0119c4" providerId="ADAL" clId="{B6745356-B6CF-45AA-ADCC-AC8F740A00DA}" dt="2022-07-21T12:57:43.484" v="24317" actId="478"/>
          <ac:spMkLst>
            <pc:docMk/>
            <pc:sldMk cId="3832767032" sldId="680"/>
            <ac:spMk id="25" creationId="{AB2734E6-8837-4C0B-AD5C-C998E64817FF}"/>
          </ac:spMkLst>
        </pc:spChg>
        <pc:spChg chg="add del mod modVis">
          <ac:chgData name="Matthäus Alberding" userId="89cdd4c9-d044-4ab4-9e6f-8f065e0119c4" providerId="ADAL" clId="{B6745356-B6CF-45AA-ADCC-AC8F740A00DA}" dt="2022-07-21T12:57:46.334" v="24359"/>
          <ac:spMkLst>
            <pc:docMk/>
            <pc:sldMk cId="3832767032" sldId="680"/>
            <ac:spMk id="26" creationId="{5E69A763-2D1B-4C08-BE45-B5407412728A}"/>
          </ac:spMkLst>
        </pc:spChg>
        <pc:spChg chg="add del mod modVis">
          <ac:chgData name="Matthäus Alberding" userId="89cdd4c9-d044-4ab4-9e6f-8f065e0119c4" providerId="ADAL" clId="{B6745356-B6CF-45AA-ADCC-AC8F740A00DA}" dt="2022-07-21T12:57:52.955" v="24402"/>
          <ac:spMkLst>
            <pc:docMk/>
            <pc:sldMk cId="3832767032" sldId="680"/>
            <ac:spMk id="27" creationId="{96A1B839-F52C-412F-A340-A8B9FFC8EE91}"/>
          </ac:spMkLst>
        </pc:spChg>
        <pc:spChg chg="add del mod modVis">
          <ac:chgData name="Matthäus Alberding" userId="89cdd4c9-d044-4ab4-9e6f-8f065e0119c4" providerId="ADAL" clId="{B6745356-B6CF-45AA-ADCC-AC8F740A00DA}" dt="2022-07-21T12:58:03.828" v="24456"/>
          <ac:spMkLst>
            <pc:docMk/>
            <pc:sldMk cId="3832767032" sldId="680"/>
            <ac:spMk id="28" creationId="{4C15FF36-1786-415E-A8EC-281B6615D53E}"/>
          </ac:spMkLst>
        </pc:spChg>
        <pc:spChg chg="add del mod modVis">
          <ac:chgData name="Matthäus Alberding" userId="89cdd4c9-d044-4ab4-9e6f-8f065e0119c4" providerId="ADAL" clId="{B6745356-B6CF-45AA-ADCC-AC8F740A00DA}" dt="2022-07-21T13:02:39.579" v="24520"/>
          <ac:spMkLst>
            <pc:docMk/>
            <pc:sldMk cId="3832767032" sldId="680"/>
            <ac:spMk id="29" creationId="{50C9FF19-A852-4246-83D3-E73A30755347}"/>
          </ac:spMkLst>
        </pc:spChg>
        <pc:spChg chg="add del mod modVis">
          <ac:chgData name="Matthäus Alberding" userId="89cdd4c9-d044-4ab4-9e6f-8f065e0119c4" providerId="ADAL" clId="{B6745356-B6CF-45AA-ADCC-AC8F740A00DA}" dt="2022-07-21T13:02:40.628" v="24563"/>
          <ac:spMkLst>
            <pc:docMk/>
            <pc:sldMk cId="3832767032" sldId="680"/>
            <ac:spMk id="30" creationId="{2849FFC5-E13A-4FFD-B8CB-6EC280DEE477}"/>
          </ac:spMkLst>
        </pc:spChg>
        <pc:spChg chg="add del mod modVis">
          <ac:chgData name="Matthäus Alberding" userId="89cdd4c9-d044-4ab4-9e6f-8f065e0119c4" providerId="ADAL" clId="{B6745356-B6CF-45AA-ADCC-AC8F740A00DA}" dt="2022-07-21T13:05:20.990" v="24608"/>
          <ac:spMkLst>
            <pc:docMk/>
            <pc:sldMk cId="3832767032" sldId="680"/>
            <ac:spMk id="31" creationId="{3283AAB7-0592-40BE-B685-1515920FF2D7}"/>
          </ac:spMkLst>
        </pc:spChg>
        <pc:spChg chg="add del mod modVis">
          <ac:chgData name="Matthäus Alberding" userId="89cdd4c9-d044-4ab4-9e6f-8f065e0119c4" providerId="ADAL" clId="{B6745356-B6CF-45AA-ADCC-AC8F740A00DA}" dt="2022-07-21T13:05:23.210" v="24659"/>
          <ac:spMkLst>
            <pc:docMk/>
            <pc:sldMk cId="3832767032" sldId="680"/>
            <ac:spMk id="32" creationId="{D30F6F2B-0222-43AD-8C69-12506036F48F}"/>
          </ac:spMkLst>
        </pc:spChg>
        <pc:spChg chg="add del mod modVis">
          <ac:chgData name="Matthäus Alberding" userId="89cdd4c9-d044-4ab4-9e6f-8f065e0119c4" providerId="ADAL" clId="{B6745356-B6CF-45AA-ADCC-AC8F740A00DA}" dt="2022-07-21T13:05:24.044" v="24703"/>
          <ac:spMkLst>
            <pc:docMk/>
            <pc:sldMk cId="3832767032" sldId="680"/>
            <ac:spMk id="33" creationId="{B995B1F2-A34C-4723-B01C-7828A2959AA9}"/>
          </ac:spMkLst>
        </pc:spChg>
        <pc:spChg chg="add del mod modVis">
          <ac:chgData name="Matthäus Alberding" userId="89cdd4c9-d044-4ab4-9e6f-8f065e0119c4" providerId="ADAL" clId="{B6745356-B6CF-45AA-ADCC-AC8F740A00DA}" dt="2022-07-21T13:05:27.742" v="24763"/>
          <ac:spMkLst>
            <pc:docMk/>
            <pc:sldMk cId="3832767032" sldId="680"/>
            <ac:spMk id="34" creationId="{13F6DDD1-A000-49DB-A31D-03218246FF64}"/>
          </ac:spMkLst>
        </pc:spChg>
        <pc:spChg chg="add del mod modVis">
          <ac:chgData name="Matthäus Alberding" userId="89cdd4c9-d044-4ab4-9e6f-8f065e0119c4" providerId="ADAL" clId="{B6745356-B6CF-45AA-ADCC-AC8F740A00DA}" dt="2022-07-21T13:05:38.957" v="24807"/>
          <ac:spMkLst>
            <pc:docMk/>
            <pc:sldMk cId="3832767032" sldId="680"/>
            <ac:spMk id="35" creationId="{E6F95B44-E7A4-4DFC-991D-DA3E6A181220}"/>
          </ac:spMkLst>
        </pc:spChg>
        <pc:spChg chg="add del mod modVis">
          <ac:chgData name="Matthäus Alberding" userId="89cdd4c9-d044-4ab4-9e6f-8f065e0119c4" providerId="ADAL" clId="{B6745356-B6CF-45AA-ADCC-AC8F740A00DA}" dt="2022-07-21T13:05:42.349" v="24862"/>
          <ac:spMkLst>
            <pc:docMk/>
            <pc:sldMk cId="3832767032" sldId="680"/>
            <ac:spMk id="36" creationId="{59FFAA63-54DD-4730-A227-D7F4DB2DA919}"/>
          </ac:spMkLst>
        </pc:spChg>
        <pc:spChg chg="add del mod modVis">
          <ac:chgData name="Matthäus Alberding" userId="89cdd4c9-d044-4ab4-9e6f-8f065e0119c4" providerId="ADAL" clId="{B6745356-B6CF-45AA-ADCC-AC8F740A00DA}" dt="2022-07-21T13:05:42.981" v="24906"/>
          <ac:spMkLst>
            <pc:docMk/>
            <pc:sldMk cId="3832767032" sldId="680"/>
            <ac:spMk id="37" creationId="{F096F77B-8612-4DD1-B29B-179AA3DDB433}"/>
          </ac:spMkLst>
        </pc:spChg>
        <pc:spChg chg="add del mod modVis">
          <ac:chgData name="Matthäus Alberding" userId="89cdd4c9-d044-4ab4-9e6f-8f065e0119c4" providerId="ADAL" clId="{B6745356-B6CF-45AA-ADCC-AC8F740A00DA}" dt="2022-07-21T13:05:44.205" v="24949"/>
          <ac:spMkLst>
            <pc:docMk/>
            <pc:sldMk cId="3832767032" sldId="680"/>
            <ac:spMk id="38" creationId="{67F3EF1B-DAB8-4196-B0F5-F618B4B09356}"/>
          </ac:spMkLst>
        </pc:spChg>
        <pc:spChg chg="add del mod modVis">
          <ac:chgData name="Matthäus Alberding" userId="89cdd4c9-d044-4ab4-9e6f-8f065e0119c4" providerId="ADAL" clId="{B6745356-B6CF-45AA-ADCC-AC8F740A00DA}" dt="2022-07-21T13:05:46.609" v="24993"/>
          <ac:spMkLst>
            <pc:docMk/>
            <pc:sldMk cId="3832767032" sldId="680"/>
            <ac:spMk id="39" creationId="{ECEBA288-A983-4098-A4E4-DACD227610F2}"/>
          </ac:spMkLst>
        </pc:spChg>
        <pc:spChg chg="add del mod modVis">
          <ac:chgData name="Matthäus Alberding" userId="89cdd4c9-d044-4ab4-9e6f-8f065e0119c4" providerId="ADAL" clId="{B6745356-B6CF-45AA-ADCC-AC8F740A00DA}" dt="2022-07-21T13:05:57.032" v="25036"/>
          <ac:spMkLst>
            <pc:docMk/>
            <pc:sldMk cId="3832767032" sldId="680"/>
            <ac:spMk id="40" creationId="{5100641C-FF72-4C9F-AC49-8955143A2EB2}"/>
          </ac:spMkLst>
        </pc:spChg>
        <pc:spChg chg="add del mod modVis">
          <ac:chgData name="Matthäus Alberding" userId="89cdd4c9-d044-4ab4-9e6f-8f065e0119c4" providerId="ADAL" clId="{B6745356-B6CF-45AA-ADCC-AC8F740A00DA}" dt="2022-07-21T13:06:47.113" v="25088"/>
          <ac:spMkLst>
            <pc:docMk/>
            <pc:sldMk cId="3832767032" sldId="680"/>
            <ac:spMk id="41" creationId="{9504220F-C6A5-4397-AEB7-CF935B97D00F}"/>
          </ac:spMkLst>
        </pc:spChg>
        <pc:spChg chg="add del mod modVis">
          <ac:chgData name="Matthäus Alberding" userId="89cdd4c9-d044-4ab4-9e6f-8f065e0119c4" providerId="ADAL" clId="{B6745356-B6CF-45AA-ADCC-AC8F740A00DA}" dt="2022-07-21T13:06:47.708" v="25131"/>
          <ac:spMkLst>
            <pc:docMk/>
            <pc:sldMk cId="3832767032" sldId="680"/>
            <ac:spMk id="42" creationId="{1E5FE472-3D3B-42B0-9F72-C8C20BC98E64}"/>
          </ac:spMkLst>
        </pc:spChg>
        <pc:spChg chg="add del mod modVis">
          <ac:chgData name="Matthäus Alberding" userId="89cdd4c9-d044-4ab4-9e6f-8f065e0119c4" providerId="ADAL" clId="{B6745356-B6CF-45AA-ADCC-AC8F740A00DA}" dt="2022-07-21T13:11:15.540" v="25564"/>
          <ac:spMkLst>
            <pc:docMk/>
            <pc:sldMk cId="3832767032" sldId="680"/>
            <ac:spMk id="43" creationId="{02739EC6-DB19-487E-B6EB-E21DAC36E7EA}"/>
          </ac:spMkLst>
        </pc:spChg>
        <pc:spChg chg="add del mod modVis">
          <ac:chgData name="Matthäus Alberding" userId="89cdd4c9-d044-4ab4-9e6f-8f065e0119c4" providerId="ADAL" clId="{B6745356-B6CF-45AA-ADCC-AC8F740A00DA}" dt="2022-07-21T13:11:18.664" v="25607"/>
          <ac:spMkLst>
            <pc:docMk/>
            <pc:sldMk cId="3832767032" sldId="680"/>
            <ac:spMk id="44" creationId="{6DCCCEBD-4404-4E4D-B9D7-7D6D4F24FD10}"/>
          </ac:spMkLst>
        </pc:spChg>
        <pc:spChg chg="add del mod modVis">
          <ac:chgData name="Matthäus Alberding" userId="89cdd4c9-d044-4ab4-9e6f-8f065e0119c4" providerId="ADAL" clId="{B6745356-B6CF-45AA-ADCC-AC8F740A00DA}" dt="2022-07-21T13:11:23.834" v="25655"/>
          <ac:spMkLst>
            <pc:docMk/>
            <pc:sldMk cId="3832767032" sldId="680"/>
            <ac:spMk id="45" creationId="{B584F3DD-FBCA-4F6C-9B2C-7778BB3E4B17}"/>
          </ac:spMkLst>
        </pc:spChg>
        <pc:spChg chg="add del mod modVis">
          <ac:chgData name="Matthäus Alberding" userId="89cdd4c9-d044-4ab4-9e6f-8f065e0119c4" providerId="ADAL" clId="{B6745356-B6CF-45AA-ADCC-AC8F740A00DA}" dt="2022-07-21T13:11:25.239" v="25703"/>
          <ac:spMkLst>
            <pc:docMk/>
            <pc:sldMk cId="3832767032" sldId="680"/>
            <ac:spMk id="46" creationId="{BF76DB51-5A64-4512-BC6C-99B31F3D5AA4}"/>
          </ac:spMkLst>
        </pc:spChg>
        <pc:graphicFrameChg chg="add mod ord modVis">
          <ac:chgData name="Matthäus Alberding" userId="89cdd4c9-d044-4ab4-9e6f-8f065e0119c4" providerId="ADAL" clId="{B6745356-B6CF-45AA-ADCC-AC8F740A00DA}" dt="2022-07-21T13:11:25.241" v="25705"/>
          <ac:graphicFrameMkLst>
            <pc:docMk/>
            <pc:sldMk cId="3832767032" sldId="680"/>
            <ac:graphicFrameMk id="8" creationId="{23EEB6F1-844D-41F7-B31C-EF64D64B945B}"/>
          </ac:graphicFrameMkLst>
        </pc:graphicFrameChg>
      </pc:sldChg>
      <pc:sldChg chg="addSp delSp modSp new add mod">
        <pc:chgData name="Matthäus Alberding" userId="89cdd4c9-d044-4ab4-9e6f-8f065e0119c4" providerId="ADAL" clId="{B6745356-B6CF-45AA-ADCC-AC8F740A00DA}" dt="2022-07-28T09:14:24.692" v="101234"/>
        <pc:sldMkLst>
          <pc:docMk/>
          <pc:sldMk cId="3092644889" sldId="681"/>
        </pc:sldMkLst>
        <pc:spChg chg="mod">
          <ac:chgData name="Matthäus Alberding" userId="89cdd4c9-d044-4ab4-9e6f-8f065e0119c4" providerId="ADAL" clId="{B6745356-B6CF-45AA-ADCC-AC8F740A00DA}" dt="2022-07-28T09:14:24.672" v="101193" actId="948"/>
          <ac:spMkLst>
            <pc:docMk/>
            <pc:sldMk cId="3092644889" sldId="681"/>
            <ac:spMk id="4" creationId="{A46FFD4C-D485-43BA-9966-C7CD2B5B6911}"/>
          </ac:spMkLst>
        </pc:spChg>
        <pc:spChg chg="mod">
          <ac:chgData name="Matthäus Alberding" userId="89cdd4c9-d044-4ab4-9e6f-8f065e0119c4" providerId="ADAL" clId="{B6745356-B6CF-45AA-ADCC-AC8F740A00DA}" dt="2022-07-21T12:28:12.361" v="22058" actId="20577"/>
          <ac:spMkLst>
            <pc:docMk/>
            <pc:sldMk cId="3092644889" sldId="681"/>
            <ac:spMk id="5" creationId="{D2945864-19B8-4AAF-9996-D6FC1AA2485D}"/>
          </ac:spMkLst>
        </pc:spChg>
        <pc:spChg chg="add del mod modVis">
          <ac:chgData name="Matthäus Alberding" userId="89cdd4c9-d044-4ab4-9e6f-8f065e0119c4" providerId="ADAL" clId="{B6745356-B6CF-45AA-ADCC-AC8F740A00DA}" dt="2022-07-28T09:14:09.854" v="101084"/>
          <ac:spMkLst>
            <pc:docMk/>
            <pc:sldMk cId="3092644889" sldId="681"/>
            <ac:spMk id="7" creationId="{4D1344CB-7FCD-46BF-BF01-5E0E92D691C7}"/>
          </ac:spMkLst>
        </pc:spChg>
        <pc:spChg chg="add del mod modVis">
          <ac:chgData name="Matthäus Alberding" userId="89cdd4c9-d044-4ab4-9e6f-8f065e0119c4" providerId="ADAL" clId="{B6745356-B6CF-45AA-ADCC-AC8F740A00DA}" dt="2022-07-21T12:26:39.945" v="21784"/>
          <ac:spMkLst>
            <pc:docMk/>
            <pc:sldMk cId="3092644889" sldId="681"/>
            <ac:spMk id="7" creationId="{F349AA6B-462C-4153-922A-D15C643F7F06}"/>
          </ac:spMkLst>
        </pc:spChg>
        <pc:spChg chg="add del mod modVis">
          <ac:chgData name="Matthäus Alberding" userId="89cdd4c9-d044-4ab4-9e6f-8f065e0119c4" providerId="ADAL" clId="{B6745356-B6CF-45AA-ADCC-AC8F740A00DA}" dt="2022-07-28T09:14:16.943" v="101145"/>
          <ac:spMkLst>
            <pc:docMk/>
            <pc:sldMk cId="3092644889" sldId="681"/>
            <ac:spMk id="9" creationId="{042B4A10-6D62-40A0-8143-1D992CAA940B}"/>
          </ac:spMkLst>
        </pc:spChg>
        <pc:spChg chg="add del mod modVis">
          <ac:chgData name="Matthäus Alberding" userId="89cdd4c9-d044-4ab4-9e6f-8f065e0119c4" providerId="ADAL" clId="{B6745356-B6CF-45AA-ADCC-AC8F740A00DA}" dt="2022-07-21T12:26:43.124" v="21862"/>
          <ac:spMkLst>
            <pc:docMk/>
            <pc:sldMk cId="3092644889" sldId="681"/>
            <ac:spMk id="9" creationId="{85325BA3-1B45-4D2F-AF16-AE4BD7114266}"/>
          </ac:spMkLst>
        </pc:spChg>
        <pc:spChg chg="del mod modVis">
          <ac:chgData name="Matthäus Alberding" userId="89cdd4c9-d044-4ab4-9e6f-8f065e0119c4" providerId="ADAL" clId="{B6745356-B6CF-45AA-ADCC-AC8F740A00DA}" dt="2022-07-28T09:14:21.678" v="101184" actId="478"/>
          <ac:spMkLst>
            <pc:docMk/>
            <pc:sldMk cId="3092644889" sldId="681"/>
            <ac:spMk id="10" creationId="{380FA218-4CE5-4723-956F-EC2A2F65982C}"/>
          </ac:spMkLst>
        </pc:spChg>
        <pc:spChg chg="add del mod modVis">
          <ac:chgData name="Matthäus Alberding" userId="89cdd4c9-d044-4ab4-9e6f-8f065e0119c4" providerId="ADAL" clId="{B6745356-B6CF-45AA-ADCC-AC8F740A00DA}" dt="2022-07-21T12:26:46.468" v="21928"/>
          <ac:spMkLst>
            <pc:docMk/>
            <pc:sldMk cId="3092644889" sldId="681"/>
            <ac:spMk id="10" creationId="{7FD4B5B2-E4F2-4E3E-A00D-40C44DAE7EF5}"/>
          </ac:spMkLst>
        </pc:spChg>
        <pc:spChg chg="add mod">
          <ac:chgData name="Matthäus Alberding" userId="89cdd4c9-d044-4ab4-9e6f-8f065e0119c4" providerId="ADAL" clId="{B6745356-B6CF-45AA-ADCC-AC8F740A00DA}" dt="2022-07-21T12:27:33.872" v="22046" actId="20577"/>
          <ac:spMkLst>
            <pc:docMk/>
            <pc:sldMk cId="3092644889" sldId="681"/>
            <ac:spMk id="11" creationId="{59C20699-111C-4EB9-ACDA-D542A9E650D1}"/>
          </ac:spMkLst>
        </pc:spChg>
        <pc:spChg chg="add mod">
          <ac:chgData name="Matthäus Alberding" userId="89cdd4c9-d044-4ab4-9e6f-8f065e0119c4" providerId="ADAL" clId="{B6745356-B6CF-45AA-ADCC-AC8F740A00DA}" dt="2022-07-21T12:27:39.432" v="22047"/>
          <ac:spMkLst>
            <pc:docMk/>
            <pc:sldMk cId="3092644889" sldId="681"/>
            <ac:spMk id="12" creationId="{6D33646A-C7FA-47B7-8817-5398A8B55D2D}"/>
          </ac:spMkLst>
        </pc:spChg>
        <pc:spChg chg="add mod">
          <ac:chgData name="Matthäus Alberding" userId="89cdd4c9-d044-4ab4-9e6f-8f065e0119c4" providerId="ADAL" clId="{B6745356-B6CF-45AA-ADCC-AC8F740A00DA}" dt="2022-07-21T12:28:04.509" v="22056" actId="207"/>
          <ac:spMkLst>
            <pc:docMk/>
            <pc:sldMk cId="3092644889" sldId="681"/>
            <ac:spMk id="13" creationId="{A834DC6D-DF3D-40AB-A540-67BE96726105}"/>
          </ac:spMkLst>
        </pc:spChg>
        <pc:spChg chg="add del mod modVis">
          <ac:chgData name="Matthäus Alberding" userId="89cdd4c9-d044-4ab4-9e6f-8f065e0119c4" providerId="ADAL" clId="{B6745356-B6CF-45AA-ADCC-AC8F740A00DA}" dt="2022-07-28T09:14:24.691" v="101232"/>
          <ac:spMkLst>
            <pc:docMk/>
            <pc:sldMk cId="3092644889" sldId="681"/>
            <ac:spMk id="14" creationId="{D338F356-2138-4A40-9F07-968DA4AC9713}"/>
          </ac:spMkLst>
        </pc:spChg>
        <pc:graphicFrameChg chg="add mod">
          <ac:chgData name="Matthäus Alberding" userId="89cdd4c9-d044-4ab4-9e6f-8f065e0119c4" providerId="ADAL" clId="{B6745356-B6CF-45AA-ADCC-AC8F740A00DA}" dt="2022-07-21T12:26:35.261" v="21723" actId="1076"/>
          <ac:graphicFrameMkLst>
            <pc:docMk/>
            <pc:sldMk cId="3092644889" sldId="681"/>
            <ac:graphicFrameMk id="6" creationId="{2553717D-5B7C-4E78-834B-526B50FDAC22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8T09:14:24.692" v="101234"/>
          <ac:graphicFrameMkLst>
            <pc:docMk/>
            <pc:sldMk cId="3092644889" sldId="681"/>
            <ac:graphicFrameMk id="8" creationId="{F0023429-F126-4570-ACB4-38481BE7760B}"/>
          </ac:graphicFrameMkLst>
        </pc:graphicFrameChg>
      </pc:sldChg>
      <pc:sldChg chg="addSp delSp modSp add del mod ord modTransition modShow">
        <pc:chgData name="Matthäus Alberding" userId="89cdd4c9-d044-4ab4-9e6f-8f065e0119c4" providerId="ADAL" clId="{B6745356-B6CF-45AA-ADCC-AC8F740A00DA}" dt="2022-07-21T17:16:24.404" v="31291" actId="47"/>
        <pc:sldMkLst>
          <pc:docMk/>
          <pc:sldMk cId="206747648" sldId="682"/>
        </pc:sldMkLst>
        <pc:spChg chg="mod ord">
          <ac:chgData name="Matthäus Alberding" userId="89cdd4c9-d044-4ab4-9e6f-8f065e0119c4" providerId="ADAL" clId="{B6745356-B6CF-45AA-ADCC-AC8F740A00DA}" dt="2022-07-21T17:09:30.441" v="31111"/>
          <ac:spMkLst>
            <pc:docMk/>
            <pc:sldMk cId="206747648" sldId="682"/>
            <ac:spMk id="2" creationId="{7462B137-96CD-4ED8-B154-102E7317CE99}"/>
          </ac:spMkLst>
        </pc:spChg>
        <pc:spChg chg="mod ord">
          <ac:chgData name="Matthäus Alberding" userId="89cdd4c9-d044-4ab4-9e6f-8f065e0119c4" providerId="ADAL" clId="{B6745356-B6CF-45AA-ADCC-AC8F740A00DA}" dt="2022-07-21T17:09:30.441" v="31113"/>
          <ac:spMkLst>
            <pc:docMk/>
            <pc:sldMk cId="206747648" sldId="682"/>
            <ac:spMk id="3" creationId="{C26F251B-1F8E-4607-AA18-64208C38D01D}"/>
          </ac:spMkLst>
        </pc:spChg>
        <pc:spChg chg="add del mod modVis">
          <ac:chgData name="Matthäus Alberding" userId="89cdd4c9-d044-4ab4-9e6f-8f065e0119c4" providerId="ADAL" clId="{B6745356-B6CF-45AA-ADCC-AC8F740A00DA}" dt="2022-07-21T16:04:34.481" v="26527"/>
          <ac:spMkLst>
            <pc:docMk/>
            <pc:sldMk cId="206747648" sldId="682"/>
            <ac:spMk id="4" creationId="{11299C31-62E3-4A7C-BFBD-96E797744B85}"/>
          </ac:spMkLst>
        </pc:spChg>
        <pc:spChg chg="del">
          <ac:chgData name="Matthäus Alberding" userId="89cdd4c9-d044-4ab4-9e6f-8f065e0119c4" providerId="ADAL" clId="{B6745356-B6CF-45AA-ADCC-AC8F740A00DA}" dt="2022-07-21T13:20:00.971" v="25765" actId="478"/>
          <ac:spMkLst>
            <pc:docMk/>
            <pc:sldMk cId="206747648" sldId="682"/>
            <ac:spMk id="4" creationId="{2479CCE8-F70F-4748-8E89-C8BA41679653}"/>
          </ac:spMkLst>
        </pc:spChg>
        <pc:spChg chg="mod ord">
          <ac:chgData name="Matthäus Alberding" userId="89cdd4c9-d044-4ab4-9e6f-8f065e0119c4" providerId="ADAL" clId="{B6745356-B6CF-45AA-ADCC-AC8F740A00DA}" dt="2022-07-21T17:09:30.441" v="31115"/>
          <ac:spMkLst>
            <pc:docMk/>
            <pc:sldMk cId="206747648" sldId="682"/>
            <ac:spMk id="5" creationId="{14D57165-C4F4-4311-87C9-C4AD5C0FBF8D}"/>
          </ac:spMkLst>
        </pc:spChg>
        <pc:spChg chg="add del mod ord">
          <ac:chgData name="Matthäus Alberding" userId="89cdd4c9-d044-4ab4-9e6f-8f065e0119c4" providerId="ADAL" clId="{B6745356-B6CF-45AA-ADCC-AC8F740A00DA}" dt="2022-07-21T17:09:32.186" v="31126" actId="478"/>
          <ac:spMkLst>
            <pc:docMk/>
            <pc:sldMk cId="206747648" sldId="682"/>
            <ac:spMk id="7" creationId="{D0EB53E4-2DEF-4227-9E70-8D414011A0B1}"/>
          </ac:spMkLst>
        </pc:spChg>
        <pc:spChg chg="add mod ord">
          <ac:chgData name="Matthäus Alberding" userId="89cdd4c9-d044-4ab4-9e6f-8f065e0119c4" providerId="ADAL" clId="{B6745356-B6CF-45AA-ADCC-AC8F740A00DA}" dt="2022-07-21T17:09:30.441" v="31117"/>
          <ac:spMkLst>
            <pc:docMk/>
            <pc:sldMk cId="206747648" sldId="682"/>
            <ac:spMk id="8" creationId="{E636D16C-7382-4A28-BE63-5DBBEE2B7662}"/>
          </ac:spMkLst>
        </pc:spChg>
        <pc:spChg chg="add del mod">
          <ac:chgData name="Matthäus Alberding" userId="89cdd4c9-d044-4ab4-9e6f-8f065e0119c4" providerId="ADAL" clId="{B6745356-B6CF-45AA-ADCC-AC8F740A00DA}" dt="2022-07-21T17:09:20.156" v="31083" actId="478"/>
          <ac:spMkLst>
            <pc:docMk/>
            <pc:sldMk cId="206747648" sldId="682"/>
            <ac:spMk id="9" creationId="{20B17745-8561-4BD4-BD10-92FCDB602F44}"/>
          </ac:spMkLst>
        </pc:spChg>
        <pc:spChg chg="add del mod">
          <ac:chgData name="Matthäus Alberding" userId="89cdd4c9-d044-4ab4-9e6f-8f065e0119c4" providerId="ADAL" clId="{B6745356-B6CF-45AA-ADCC-AC8F740A00DA}" dt="2022-07-21T17:09:18.821" v="31082" actId="478"/>
          <ac:spMkLst>
            <pc:docMk/>
            <pc:sldMk cId="206747648" sldId="682"/>
            <ac:spMk id="10" creationId="{86D28C4C-D92D-4B98-9C99-5D3991874E9D}"/>
          </ac:spMkLst>
        </pc:spChg>
        <pc:spChg chg="add del mod">
          <ac:chgData name="Matthäus Alberding" userId="89cdd4c9-d044-4ab4-9e6f-8f065e0119c4" providerId="ADAL" clId="{B6745356-B6CF-45AA-ADCC-AC8F740A00DA}" dt="2022-07-21T16:09:20.668" v="29035" actId="478"/>
          <ac:spMkLst>
            <pc:docMk/>
            <pc:sldMk cId="206747648" sldId="682"/>
            <ac:spMk id="11" creationId="{88C0A350-0D21-45DD-A9DD-B93A0E2245A6}"/>
          </ac:spMkLst>
        </pc:spChg>
        <pc:spChg chg="add del mod">
          <ac:chgData name="Matthäus Alberding" userId="89cdd4c9-d044-4ab4-9e6f-8f065e0119c4" providerId="ADAL" clId="{B6745356-B6CF-45AA-ADCC-AC8F740A00DA}" dt="2022-07-21T16:09:20.668" v="29035" actId="478"/>
          <ac:spMkLst>
            <pc:docMk/>
            <pc:sldMk cId="206747648" sldId="682"/>
            <ac:spMk id="12" creationId="{E4B1E14A-5901-4FB3-8E23-834A2430DBF3}"/>
          </ac:spMkLst>
        </pc:spChg>
        <pc:spChg chg="add del mod">
          <ac:chgData name="Matthäus Alberding" userId="89cdd4c9-d044-4ab4-9e6f-8f065e0119c4" providerId="ADAL" clId="{B6745356-B6CF-45AA-ADCC-AC8F740A00DA}" dt="2022-07-21T16:09:20.668" v="29035" actId="478"/>
          <ac:spMkLst>
            <pc:docMk/>
            <pc:sldMk cId="206747648" sldId="682"/>
            <ac:spMk id="13" creationId="{507CBCE2-04B9-4E13-A63A-4155E16F3E33}"/>
          </ac:spMkLst>
        </pc:spChg>
        <pc:spChg chg="add del mod">
          <ac:chgData name="Matthäus Alberding" userId="89cdd4c9-d044-4ab4-9e6f-8f065e0119c4" providerId="ADAL" clId="{B6745356-B6CF-45AA-ADCC-AC8F740A00DA}" dt="2022-07-21T16:54:33.160" v="30435" actId="478"/>
          <ac:spMkLst>
            <pc:docMk/>
            <pc:sldMk cId="206747648" sldId="682"/>
            <ac:spMk id="14" creationId="{A8023DA7-4D3D-471C-A837-7C81E1DA9F65}"/>
          </ac:spMkLst>
        </pc:spChg>
        <pc:spChg chg="add del mod">
          <ac:chgData name="Matthäus Alberding" userId="89cdd4c9-d044-4ab4-9e6f-8f065e0119c4" providerId="ADAL" clId="{B6745356-B6CF-45AA-ADCC-AC8F740A00DA}" dt="2022-07-21T16:54:34.692" v="30436" actId="478"/>
          <ac:spMkLst>
            <pc:docMk/>
            <pc:sldMk cId="206747648" sldId="682"/>
            <ac:spMk id="15" creationId="{3F958D45-2794-4CB2-811C-FD582AD849BF}"/>
          </ac:spMkLst>
        </pc:spChg>
        <pc:spChg chg="add del mod">
          <ac:chgData name="Matthäus Alberding" userId="89cdd4c9-d044-4ab4-9e6f-8f065e0119c4" providerId="ADAL" clId="{B6745356-B6CF-45AA-ADCC-AC8F740A00DA}" dt="2022-07-21T16:09:20.668" v="29035" actId="478"/>
          <ac:spMkLst>
            <pc:docMk/>
            <pc:sldMk cId="206747648" sldId="682"/>
            <ac:spMk id="16" creationId="{7896C66C-7DB0-4E75-A090-E1F7E238E0F0}"/>
          </ac:spMkLst>
        </pc:spChg>
        <pc:spChg chg="add del mod">
          <ac:chgData name="Matthäus Alberding" userId="89cdd4c9-d044-4ab4-9e6f-8f065e0119c4" providerId="ADAL" clId="{B6745356-B6CF-45AA-ADCC-AC8F740A00DA}" dt="2022-07-21T16:09:20.668" v="29035" actId="478"/>
          <ac:spMkLst>
            <pc:docMk/>
            <pc:sldMk cId="206747648" sldId="682"/>
            <ac:spMk id="17" creationId="{6FE544C2-0180-449A-8DD4-3B3CC08F396D}"/>
          </ac:spMkLst>
        </pc:spChg>
        <pc:spChg chg="add del mod modVis">
          <ac:chgData name="Matthäus Alberding" userId="89cdd4c9-d044-4ab4-9e6f-8f065e0119c4" providerId="ADAL" clId="{B6745356-B6CF-45AA-ADCC-AC8F740A00DA}" dt="2022-07-21T16:04:36.494" v="26580"/>
          <ac:spMkLst>
            <pc:docMk/>
            <pc:sldMk cId="206747648" sldId="682"/>
            <ac:spMk id="18" creationId="{D8DEAFF8-58F2-4A4E-95BE-35BEA16FDD2C}"/>
          </ac:spMkLst>
        </pc:spChg>
        <pc:spChg chg="add del mod modVis">
          <ac:chgData name="Matthäus Alberding" userId="89cdd4c9-d044-4ab4-9e6f-8f065e0119c4" providerId="ADAL" clId="{B6745356-B6CF-45AA-ADCC-AC8F740A00DA}" dt="2022-07-21T16:06:01.361" v="26641"/>
          <ac:spMkLst>
            <pc:docMk/>
            <pc:sldMk cId="206747648" sldId="682"/>
            <ac:spMk id="19" creationId="{C683E009-D86F-4299-A6E7-F8FF8F9EEA42}"/>
          </ac:spMkLst>
        </pc:spChg>
        <pc:spChg chg="add del mod modVis">
          <ac:chgData name="Matthäus Alberding" userId="89cdd4c9-d044-4ab4-9e6f-8f065e0119c4" providerId="ADAL" clId="{B6745356-B6CF-45AA-ADCC-AC8F740A00DA}" dt="2022-07-21T16:06:02.845" v="26689"/>
          <ac:spMkLst>
            <pc:docMk/>
            <pc:sldMk cId="206747648" sldId="682"/>
            <ac:spMk id="20" creationId="{35C5DFFE-B2E2-4751-B5E4-98C04D43EC8C}"/>
          </ac:spMkLst>
        </pc:spChg>
        <pc:spChg chg="add del mod modVis">
          <ac:chgData name="Matthäus Alberding" userId="89cdd4c9-d044-4ab4-9e6f-8f065e0119c4" providerId="ADAL" clId="{B6745356-B6CF-45AA-ADCC-AC8F740A00DA}" dt="2022-07-21T16:06:08.807" v="26754"/>
          <ac:spMkLst>
            <pc:docMk/>
            <pc:sldMk cId="206747648" sldId="682"/>
            <ac:spMk id="21" creationId="{553B891E-CF57-4324-95D1-9B76994BB32E}"/>
          </ac:spMkLst>
        </pc:spChg>
        <pc:spChg chg="add del mod modVis">
          <ac:chgData name="Matthäus Alberding" userId="89cdd4c9-d044-4ab4-9e6f-8f065e0119c4" providerId="ADAL" clId="{B6745356-B6CF-45AA-ADCC-AC8F740A00DA}" dt="2022-07-21T16:06:09.393" v="26797"/>
          <ac:spMkLst>
            <pc:docMk/>
            <pc:sldMk cId="206747648" sldId="682"/>
            <ac:spMk id="22" creationId="{18CF17C4-8D98-45A2-AB45-8595A2F1852F}"/>
          </ac:spMkLst>
        </pc:spChg>
        <pc:spChg chg="add del mod modVis">
          <ac:chgData name="Matthäus Alberding" userId="89cdd4c9-d044-4ab4-9e6f-8f065e0119c4" providerId="ADAL" clId="{B6745356-B6CF-45AA-ADCC-AC8F740A00DA}" dt="2022-07-21T16:06:11.902" v="26862"/>
          <ac:spMkLst>
            <pc:docMk/>
            <pc:sldMk cId="206747648" sldId="682"/>
            <ac:spMk id="23" creationId="{219A0A86-95CF-49F1-B231-E900F184C279}"/>
          </ac:spMkLst>
        </pc:spChg>
        <pc:spChg chg="add del mod modVis">
          <ac:chgData name="Matthäus Alberding" userId="89cdd4c9-d044-4ab4-9e6f-8f065e0119c4" providerId="ADAL" clId="{B6745356-B6CF-45AA-ADCC-AC8F740A00DA}" dt="2022-07-21T16:06:23.577" v="26916"/>
          <ac:spMkLst>
            <pc:docMk/>
            <pc:sldMk cId="206747648" sldId="682"/>
            <ac:spMk id="24" creationId="{ECD5FA9D-49B8-4C10-ADA4-87CBB855026B}"/>
          </ac:spMkLst>
        </pc:spChg>
        <pc:spChg chg="add del mod modVis">
          <ac:chgData name="Matthäus Alberding" userId="89cdd4c9-d044-4ab4-9e6f-8f065e0119c4" providerId="ADAL" clId="{B6745356-B6CF-45AA-ADCC-AC8F740A00DA}" dt="2022-07-21T16:06:24.596" v="26963"/>
          <ac:spMkLst>
            <pc:docMk/>
            <pc:sldMk cId="206747648" sldId="682"/>
            <ac:spMk id="25" creationId="{04ADFE6A-A483-425C-BF5A-6B608745BC6C}"/>
          </ac:spMkLst>
        </pc:spChg>
        <pc:spChg chg="add del mod modVis">
          <ac:chgData name="Matthäus Alberding" userId="89cdd4c9-d044-4ab4-9e6f-8f065e0119c4" providerId="ADAL" clId="{B6745356-B6CF-45AA-ADCC-AC8F740A00DA}" dt="2022-07-21T16:06:26.673" v="27018"/>
          <ac:spMkLst>
            <pc:docMk/>
            <pc:sldMk cId="206747648" sldId="682"/>
            <ac:spMk id="26" creationId="{4CA4CA98-5CEC-463E-9571-A15DA7D8BDF7}"/>
          </ac:spMkLst>
        </pc:spChg>
        <pc:spChg chg="add del mod modVis">
          <ac:chgData name="Matthäus Alberding" userId="89cdd4c9-d044-4ab4-9e6f-8f065e0119c4" providerId="ADAL" clId="{B6745356-B6CF-45AA-ADCC-AC8F740A00DA}" dt="2022-07-21T16:06:30.828" v="27061"/>
          <ac:spMkLst>
            <pc:docMk/>
            <pc:sldMk cId="206747648" sldId="682"/>
            <ac:spMk id="27" creationId="{8B128266-671D-4574-BB1F-8FA726C052D0}"/>
          </ac:spMkLst>
        </pc:spChg>
        <pc:spChg chg="del">
          <ac:chgData name="Matthäus Alberding" userId="89cdd4c9-d044-4ab4-9e6f-8f065e0119c4" providerId="ADAL" clId="{B6745356-B6CF-45AA-ADCC-AC8F740A00DA}" dt="2022-07-21T13:20:00.971" v="25765" actId="478"/>
          <ac:spMkLst>
            <pc:docMk/>
            <pc:sldMk cId="206747648" sldId="682"/>
            <ac:spMk id="28" creationId="{45E1739D-2538-4731-A4FB-72C64E996D82}"/>
          </ac:spMkLst>
        </pc:spChg>
        <pc:spChg chg="add del mod modVis">
          <ac:chgData name="Matthäus Alberding" userId="89cdd4c9-d044-4ab4-9e6f-8f065e0119c4" providerId="ADAL" clId="{B6745356-B6CF-45AA-ADCC-AC8F740A00DA}" dt="2022-07-21T16:06:42.414" v="27113"/>
          <ac:spMkLst>
            <pc:docMk/>
            <pc:sldMk cId="206747648" sldId="682"/>
            <ac:spMk id="28" creationId="{8505C4D0-6C9D-4EFF-A67E-9530F6763025}"/>
          </ac:spMkLst>
        </pc:spChg>
        <pc:spChg chg="add del mod modVis">
          <ac:chgData name="Matthäus Alberding" userId="89cdd4c9-d044-4ab4-9e6f-8f065e0119c4" providerId="ADAL" clId="{B6745356-B6CF-45AA-ADCC-AC8F740A00DA}" dt="2022-07-21T16:06:50.659" v="27210"/>
          <ac:spMkLst>
            <pc:docMk/>
            <pc:sldMk cId="206747648" sldId="682"/>
            <ac:spMk id="29" creationId="{B7EF12DC-0AB1-4DAD-94CD-E99129356F27}"/>
          </ac:spMkLst>
        </pc:spChg>
        <pc:spChg chg="del">
          <ac:chgData name="Matthäus Alberding" userId="89cdd4c9-d044-4ab4-9e6f-8f065e0119c4" providerId="ADAL" clId="{B6745356-B6CF-45AA-ADCC-AC8F740A00DA}" dt="2022-07-21T13:20:00.971" v="25765" actId="478"/>
          <ac:spMkLst>
            <pc:docMk/>
            <pc:sldMk cId="206747648" sldId="682"/>
            <ac:spMk id="30" creationId="{25947069-D2BE-47C1-A7D1-1C2024BFD04B}"/>
          </ac:spMkLst>
        </pc:spChg>
        <pc:spChg chg="add del mod modVis">
          <ac:chgData name="Matthäus Alberding" userId="89cdd4c9-d044-4ab4-9e6f-8f065e0119c4" providerId="ADAL" clId="{B6745356-B6CF-45AA-ADCC-AC8F740A00DA}" dt="2022-07-21T16:06:52.896" v="27260"/>
          <ac:spMkLst>
            <pc:docMk/>
            <pc:sldMk cId="206747648" sldId="682"/>
            <ac:spMk id="30" creationId="{65D5CA78-3BFA-494C-9207-674BF991070C}"/>
          </ac:spMkLst>
        </pc:spChg>
        <pc:spChg chg="add del mod modVis">
          <ac:chgData name="Matthäus Alberding" userId="89cdd4c9-d044-4ab4-9e6f-8f065e0119c4" providerId="ADAL" clId="{B6745356-B6CF-45AA-ADCC-AC8F740A00DA}" dt="2022-07-21T16:06:56.487" v="27314"/>
          <ac:spMkLst>
            <pc:docMk/>
            <pc:sldMk cId="206747648" sldId="682"/>
            <ac:spMk id="31" creationId="{7F9580F9-10A6-4AB9-959C-D553649251FC}"/>
          </ac:spMkLst>
        </pc:spChg>
        <pc:spChg chg="del">
          <ac:chgData name="Matthäus Alberding" userId="89cdd4c9-d044-4ab4-9e6f-8f065e0119c4" providerId="ADAL" clId="{B6745356-B6CF-45AA-ADCC-AC8F740A00DA}" dt="2022-07-21T13:20:00.971" v="25765" actId="478"/>
          <ac:spMkLst>
            <pc:docMk/>
            <pc:sldMk cId="206747648" sldId="682"/>
            <ac:spMk id="31" creationId="{B695033C-22AD-4171-8F46-01FC710BADA2}"/>
          </ac:spMkLst>
        </pc:spChg>
        <pc:spChg chg="add del mod modVis">
          <ac:chgData name="Matthäus Alberding" userId="89cdd4c9-d044-4ab4-9e6f-8f065e0119c4" providerId="ADAL" clId="{B6745356-B6CF-45AA-ADCC-AC8F740A00DA}" dt="2022-07-21T16:07:01.805" v="27373"/>
          <ac:spMkLst>
            <pc:docMk/>
            <pc:sldMk cId="206747648" sldId="682"/>
            <ac:spMk id="32" creationId="{FFD041C5-4808-4071-9FB4-B6ABFA9AB93E}"/>
          </ac:spMkLst>
        </pc:spChg>
        <pc:spChg chg="add del mod modVis">
          <ac:chgData name="Matthäus Alberding" userId="89cdd4c9-d044-4ab4-9e6f-8f065e0119c4" providerId="ADAL" clId="{B6745356-B6CF-45AA-ADCC-AC8F740A00DA}" dt="2022-07-21T16:07:11.175" v="27416"/>
          <ac:spMkLst>
            <pc:docMk/>
            <pc:sldMk cId="206747648" sldId="682"/>
            <ac:spMk id="33" creationId="{2D29BA3A-EAD8-478F-B734-302BA942BE8B}"/>
          </ac:spMkLst>
        </pc:spChg>
        <pc:spChg chg="add del mod modVis">
          <ac:chgData name="Matthäus Alberding" userId="89cdd4c9-d044-4ab4-9e6f-8f065e0119c4" providerId="ADAL" clId="{B6745356-B6CF-45AA-ADCC-AC8F740A00DA}" dt="2022-07-21T16:07:11.709" v="27459"/>
          <ac:spMkLst>
            <pc:docMk/>
            <pc:sldMk cId="206747648" sldId="682"/>
            <ac:spMk id="34" creationId="{0B07EBDD-2338-4ACB-84C3-027803875AEF}"/>
          </ac:spMkLst>
        </pc:spChg>
        <pc:spChg chg="add del mod modVis">
          <ac:chgData name="Matthäus Alberding" userId="89cdd4c9-d044-4ab4-9e6f-8f065e0119c4" providerId="ADAL" clId="{B6745356-B6CF-45AA-ADCC-AC8F740A00DA}" dt="2022-07-21T16:07:14.784" v="27519"/>
          <ac:spMkLst>
            <pc:docMk/>
            <pc:sldMk cId="206747648" sldId="682"/>
            <ac:spMk id="35" creationId="{6711A710-8E06-47C7-80BB-E588E888D3AB}"/>
          </ac:spMkLst>
        </pc:spChg>
        <pc:spChg chg="del">
          <ac:chgData name="Matthäus Alberding" userId="89cdd4c9-d044-4ab4-9e6f-8f065e0119c4" providerId="ADAL" clId="{B6745356-B6CF-45AA-ADCC-AC8F740A00DA}" dt="2022-07-21T13:20:00.971" v="25765" actId="478"/>
          <ac:spMkLst>
            <pc:docMk/>
            <pc:sldMk cId="206747648" sldId="682"/>
            <ac:spMk id="35" creationId="{7D01A882-FB8A-4EF4-A530-638860725AAC}"/>
          </ac:spMkLst>
        </pc:spChg>
        <pc:spChg chg="add del mod modVis">
          <ac:chgData name="Matthäus Alberding" userId="89cdd4c9-d044-4ab4-9e6f-8f065e0119c4" providerId="ADAL" clId="{B6745356-B6CF-45AA-ADCC-AC8F740A00DA}" dt="2022-07-21T16:07:15.589" v="27563"/>
          <ac:spMkLst>
            <pc:docMk/>
            <pc:sldMk cId="206747648" sldId="682"/>
            <ac:spMk id="36" creationId="{1FAFD562-FADD-4C6B-B21C-8CB3BD12D2B5}"/>
          </ac:spMkLst>
        </pc:spChg>
        <pc:spChg chg="del">
          <ac:chgData name="Matthäus Alberding" userId="89cdd4c9-d044-4ab4-9e6f-8f065e0119c4" providerId="ADAL" clId="{B6745356-B6CF-45AA-ADCC-AC8F740A00DA}" dt="2022-07-21T13:20:00.971" v="25765" actId="478"/>
          <ac:spMkLst>
            <pc:docMk/>
            <pc:sldMk cId="206747648" sldId="682"/>
            <ac:spMk id="37" creationId="{0389BC4C-CCC1-44E6-B3AB-BC63D75218C1}"/>
          </ac:spMkLst>
        </pc:spChg>
        <pc:spChg chg="add del mod modVis">
          <ac:chgData name="Matthäus Alberding" userId="89cdd4c9-d044-4ab4-9e6f-8f065e0119c4" providerId="ADAL" clId="{B6745356-B6CF-45AA-ADCC-AC8F740A00DA}" dt="2022-07-21T16:07:17.453" v="27607"/>
          <ac:spMkLst>
            <pc:docMk/>
            <pc:sldMk cId="206747648" sldId="682"/>
            <ac:spMk id="37" creationId="{87737962-1175-413E-9F4F-B13EF52E043E}"/>
          </ac:spMkLst>
        </pc:spChg>
        <pc:spChg chg="del">
          <ac:chgData name="Matthäus Alberding" userId="89cdd4c9-d044-4ab4-9e6f-8f065e0119c4" providerId="ADAL" clId="{B6745356-B6CF-45AA-ADCC-AC8F740A00DA}" dt="2022-07-21T13:20:00.971" v="25765" actId="478"/>
          <ac:spMkLst>
            <pc:docMk/>
            <pc:sldMk cId="206747648" sldId="682"/>
            <ac:spMk id="38" creationId="{AAE95D6C-D601-4B9C-A2E4-673893DEF450}"/>
          </ac:spMkLst>
        </pc:spChg>
        <pc:spChg chg="add del mod modVis">
          <ac:chgData name="Matthäus Alberding" userId="89cdd4c9-d044-4ab4-9e6f-8f065e0119c4" providerId="ADAL" clId="{B6745356-B6CF-45AA-ADCC-AC8F740A00DA}" dt="2022-07-21T16:07:19.011" v="27662"/>
          <ac:spMkLst>
            <pc:docMk/>
            <pc:sldMk cId="206747648" sldId="682"/>
            <ac:spMk id="38" creationId="{D51590D2-9A44-4B1A-A5CF-AFACF654C6B4}"/>
          </ac:spMkLst>
        </pc:spChg>
        <pc:spChg chg="add del mod modVis">
          <ac:chgData name="Matthäus Alberding" userId="89cdd4c9-d044-4ab4-9e6f-8f065e0119c4" providerId="ADAL" clId="{B6745356-B6CF-45AA-ADCC-AC8F740A00DA}" dt="2022-07-21T16:07:22.224" v="27706"/>
          <ac:spMkLst>
            <pc:docMk/>
            <pc:sldMk cId="206747648" sldId="682"/>
            <ac:spMk id="39" creationId="{1D0FF9C3-63DE-4260-A0EE-E7D9E22D3334}"/>
          </ac:spMkLst>
        </pc:spChg>
        <pc:spChg chg="del">
          <ac:chgData name="Matthäus Alberding" userId="89cdd4c9-d044-4ab4-9e6f-8f065e0119c4" providerId="ADAL" clId="{B6745356-B6CF-45AA-ADCC-AC8F740A00DA}" dt="2022-07-21T13:20:00.971" v="25765" actId="478"/>
          <ac:spMkLst>
            <pc:docMk/>
            <pc:sldMk cId="206747648" sldId="682"/>
            <ac:spMk id="40" creationId="{0E2B84A2-AEF6-442F-AE9C-76F25C5D6A61}"/>
          </ac:spMkLst>
        </pc:spChg>
        <pc:spChg chg="add del mod modVis">
          <ac:chgData name="Matthäus Alberding" userId="89cdd4c9-d044-4ab4-9e6f-8f065e0119c4" providerId="ADAL" clId="{B6745356-B6CF-45AA-ADCC-AC8F740A00DA}" dt="2022-07-21T16:07:24.223" v="27750"/>
          <ac:spMkLst>
            <pc:docMk/>
            <pc:sldMk cId="206747648" sldId="682"/>
            <ac:spMk id="40" creationId="{B7E3A390-D1C2-4A3D-A9EF-A56DF3508D6F}"/>
          </ac:spMkLst>
        </pc:spChg>
        <pc:spChg chg="add del mod modVis">
          <ac:chgData name="Matthäus Alberding" userId="89cdd4c9-d044-4ab4-9e6f-8f065e0119c4" providerId="ADAL" clId="{B6745356-B6CF-45AA-ADCC-AC8F740A00DA}" dt="2022-07-21T16:07:26.161" v="27797"/>
          <ac:spMkLst>
            <pc:docMk/>
            <pc:sldMk cId="206747648" sldId="682"/>
            <ac:spMk id="41" creationId="{747DA24C-962A-4E7D-9593-1F5EC3118CB9}"/>
          </ac:spMkLst>
        </pc:spChg>
        <pc:spChg chg="add del mod modVis">
          <ac:chgData name="Matthäus Alberding" userId="89cdd4c9-d044-4ab4-9e6f-8f065e0119c4" providerId="ADAL" clId="{B6745356-B6CF-45AA-ADCC-AC8F740A00DA}" dt="2022-07-21T16:07:27.695" v="27840"/>
          <ac:spMkLst>
            <pc:docMk/>
            <pc:sldMk cId="206747648" sldId="682"/>
            <ac:spMk id="42" creationId="{756EFA61-631D-4078-BCFB-94593931A42C}"/>
          </ac:spMkLst>
        </pc:spChg>
        <pc:spChg chg="add del mod modVis">
          <ac:chgData name="Matthäus Alberding" userId="89cdd4c9-d044-4ab4-9e6f-8f065e0119c4" providerId="ADAL" clId="{B6745356-B6CF-45AA-ADCC-AC8F740A00DA}" dt="2022-07-21T16:54:45.886" v="30484"/>
          <ac:spMkLst>
            <pc:docMk/>
            <pc:sldMk cId="206747648" sldId="682"/>
            <ac:spMk id="43" creationId="{17A0A92D-D26B-43F3-AFDB-5B11A17E4CB1}"/>
          </ac:spMkLst>
        </pc:spChg>
        <pc:spChg chg="del">
          <ac:chgData name="Matthäus Alberding" userId="89cdd4c9-d044-4ab4-9e6f-8f065e0119c4" providerId="ADAL" clId="{B6745356-B6CF-45AA-ADCC-AC8F740A00DA}" dt="2022-07-21T13:20:00.971" v="25765" actId="478"/>
          <ac:spMkLst>
            <pc:docMk/>
            <pc:sldMk cId="206747648" sldId="682"/>
            <ac:spMk id="43" creationId="{2DF9BBBF-38FA-459E-B4DF-6EAA71792BF6}"/>
          </ac:spMkLst>
        </pc:spChg>
        <pc:spChg chg="del">
          <ac:chgData name="Matthäus Alberding" userId="89cdd4c9-d044-4ab4-9e6f-8f065e0119c4" providerId="ADAL" clId="{B6745356-B6CF-45AA-ADCC-AC8F740A00DA}" dt="2022-07-21T13:20:00.971" v="25765" actId="478"/>
          <ac:spMkLst>
            <pc:docMk/>
            <pc:sldMk cId="206747648" sldId="682"/>
            <ac:spMk id="44" creationId="{BBBF9D45-6314-4EA7-96BB-F58DE36964F5}"/>
          </ac:spMkLst>
        </pc:spChg>
        <pc:spChg chg="add del mod modVis">
          <ac:chgData name="Matthäus Alberding" userId="89cdd4c9-d044-4ab4-9e6f-8f065e0119c4" providerId="ADAL" clId="{B6745356-B6CF-45AA-ADCC-AC8F740A00DA}" dt="2022-07-21T16:54:49.953" v="30527"/>
          <ac:spMkLst>
            <pc:docMk/>
            <pc:sldMk cId="206747648" sldId="682"/>
            <ac:spMk id="44" creationId="{D63276C2-8CDF-4157-AD31-10D1EE84646E}"/>
          </ac:spMkLst>
        </pc:spChg>
        <pc:spChg chg="add del mod modVis">
          <ac:chgData name="Matthäus Alberding" userId="89cdd4c9-d044-4ab4-9e6f-8f065e0119c4" providerId="ADAL" clId="{B6745356-B6CF-45AA-ADCC-AC8F740A00DA}" dt="2022-07-21T16:54:55.333" v="30577"/>
          <ac:spMkLst>
            <pc:docMk/>
            <pc:sldMk cId="206747648" sldId="682"/>
            <ac:spMk id="45" creationId="{8BF4050F-3BA5-45D9-84FF-0063B21F1A14}"/>
          </ac:spMkLst>
        </pc:spChg>
        <pc:spChg chg="add del mod ord">
          <ac:chgData name="Matthäus Alberding" userId="89cdd4c9-d044-4ab4-9e6f-8f065e0119c4" providerId="ADAL" clId="{B6745356-B6CF-45AA-ADCC-AC8F740A00DA}" dt="2022-07-21T17:09:30.441" v="31109"/>
          <ac:spMkLst>
            <pc:docMk/>
            <pc:sldMk cId="206747648" sldId="682"/>
            <ac:spMk id="46" creationId="{29213202-78E4-438E-8C23-7B70970A6945}"/>
          </ac:spMkLst>
        </pc:spChg>
        <pc:spChg chg="add mod ord">
          <ac:chgData name="Matthäus Alberding" userId="89cdd4c9-d044-4ab4-9e6f-8f065e0119c4" providerId="ADAL" clId="{B6745356-B6CF-45AA-ADCC-AC8F740A00DA}" dt="2022-07-21T17:09:30.442" v="31121"/>
          <ac:spMkLst>
            <pc:docMk/>
            <pc:sldMk cId="206747648" sldId="682"/>
            <ac:spMk id="47" creationId="{721E8697-E5CB-4D6C-AD8E-410B6D203E0E}"/>
          </ac:spMkLst>
        </pc:spChg>
        <pc:spChg chg="add mod ord">
          <ac:chgData name="Matthäus Alberding" userId="89cdd4c9-d044-4ab4-9e6f-8f065e0119c4" providerId="ADAL" clId="{B6745356-B6CF-45AA-ADCC-AC8F740A00DA}" dt="2022-07-21T17:09:30.442" v="31123"/>
          <ac:spMkLst>
            <pc:docMk/>
            <pc:sldMk cId="206747648" sldId="682"/>
            <ac:spMk id="48" creationId="{A3F23809-108C-4AF1-84EC-E09905FE8EB4}"/>
          </ac:spMkLst>
        </pc:spChg>
        <pc:graphicFrameChg chg="mod">
          <ac:chgData name="Matthäus Alberding" userId="89cdd4c9-d044-4ab4-9e6f-8f065e0119c4" providerId="ADAL" clId="{B6745356-B6CF-45AA-ADCC-AC8F740A00DA}" dt="2022-07-21T17:09:30.443" v="31125"/>
          <ac:graphicFrameMkLst>
            <pc:docMk/>
            <pc:sldMk cId="206747648" sldId="682"/>
            <ac:graphicFrameMk id="6" creationId="{17619F4C-4BEA-471F-B7B0-623407C2C224}"/>
          </ac:graphicFrameMkLst>
        </pc:graphicFrameChg>
        <pc:picChg chg="del">
          <ac:chgData name="Matthäus Alberding" userId="89cdd4c9-d044-4ab4-9e6f-8f065e0119c4" providerId="ADAL" clId="{B6745356-B6CF-45AA-ADCC-AC8F740A00DA}" dt="2022-07-21T13:20:00.971" v="25765" actId="478"/>
          <ac:picMkLst>
            <pc:docMk/>
            <pc:sldMk cId="206747648" sldId="682"/>
            <ac:picMk id="27" creationId="{B2E267C4-46AC-4172-8D45-E78CB479292E}"/>
          </ac:picMkLst>
        </pc:picChg>
        <pc:picChg chg="del">
          <ac:chgData name="Matthäus Alberding" userId="89cdd4c9-d044-4ab4-9e6f-8f065e0119c4" providerId="ADAL" clId="{B6745356-B6CF-45AA-ADCC-AC8F740A00DA}" dt="2022-07-21T13:20:00.971" v="25765" actId="478"/>
          <ac:picMkLst>
            <pc:docMk/>
            <pc:sldMk cId="206747648" sldId="682"/>
            <ac:picMk id="42" creationId="{8102DA48-47DB-444E-A3F6-6F4D72D965EB}"/>
          </ac:picMkLst>
        </pc:picChg>
        <pc:picChg chg="del">
          <ac:chgData name="Matthäus Alberding" userId="89cdd4c9-d044-4ab4-9e6f-8f065e0119c4" providerId="ADAL" clId="{B6745356-B6CF-45AA-ADCC-AC8F740A00DA}" dt="2022-07-21T13:20:00.971" v="25765" actId="478"/>
          <ac:picMkLst>
            <pc:docMk/>
            <pc:sldMk cId="206747648" sldId="682"/>
            <ac:picMk id="60" creationId="{F82DC845-2F20-4674-887D-522FD1B2FFF0}"/>
          </ac:picMkLst>
        </pc:picChg>
      </pc:sldChg>
      <pc:sldChg chg="addSp delSp modSp new add del mod">
        <pc:chgData name="Matthäus Alberding" userId="89cdd4c9-d044-4ab4-9e6f-8f065e0119c4" providerId="ADAL" clId="{B6745356-B6CF-45AA-ADCC-AC8F740A00DA}" dt="2022-07-21T13:10:41.169" v="25519" actId="47"/>
        <pc:sldMkLst>
          <pc:docMk/>
          <pc:sldMk cId="595086210" sldId="682"/>
        </pc:sldMkLst>
        <pc:spChg chg="mod">
          <ac:chgData name="Matthäus Alberding" userId="89cdd4c9-d044-4ab4-9e6f-8f065e0119c4" providerId="ADAL" clId="{B6745356-B6CF-45AA-ADCC-AC8F740A00DA}" dt="2022-07-21T13:07:08.290" v="25277" actId="948"/>
          <ac:spMkLst>
            <pc:docMk/>
            <pc:sldMk cId="595086210" sldId="682"/>
            <ac:spMk id="4" creationId="{01F40244-FB4A-4410-B38E-9BD636EC5CEB}"/>
          </ac:spMkLst>
        </pc:spChg>
        <pc:spChg chg="mod">
          <ac:chgData name="Matthäus Alberding" userId="89cdd4c9-d044-4ab4-9e6f-8f065e0119c4" providerId="ADAL" clId="{B6745356-B6CF-45AA-ADCC-AC8F740A00DA}" dt="2022-07-21T13:07:16.049" v="25320" actId="20577"/>
          <ac:spMkLst>
            <pc:docMk/>
            <pc:sldMk cId="595086210" sldId="682"/>
            <ac:spMk id="5" creationId="{45A32E1F-6DDD-4711-9138-8BAA5C9728B3}"/>
          </ac:spMkLst>
        </pc:spChg>
        <pc:spChg chg="add del mod modVis">
          <ac:chgData name="Matthäus Alberding" userId="89cdd4c9-d044-4ab4-9e6f-8f065e0119c4" providerId="ADAL" clId="{B6745356-B6CF-45AA-ADCC-AC8F740A00DA}" dt="2022-07-21T13:07:02.191" v="25193"/>
          <ac:spMkLst>
            <pc:docMk/>
            <pc:sldMk cId="595086210" sldId="682"/>
            <ac:spMk id="6" creationId="{A684CDB8-5B5A-4E42-9A6C-96F656F92E26}"/>
          </ac:spMkLst>
        </pc:spChg>
        <pc:spChg chg="add del mod modVis">
          <ac:chgData name="Matthäus Alberding" userId="89cdd4c9-d044-4ab4-9e6f-8f065e0119c4" providerId="ADAL" clId="{B6745356-B6CF-45AA-ADCC-AC8F740A00DA}" dt="2022-07-21T13:07:04.938" v="25262"/>
          <ac:spMkLst>
            <pc:docMk/>
            <pc:sldMk cId="595086210" sldId="682"/>
            <ac:spMk id="8" creationId="{5A4D6D6E-5DF2-4C49-BC62-6A4F515CA1FF}"/>
          </ac:spMkLst>
        </pc:spChg>
        <pc:spChg chg="add del mod modVis">
          <ac:chgData name="Matthäus Alberding" userId="89cdd4c9-d044-4ab4-9e6f-8f065e0119c4" providerId="ADAL" clId="{B6745356-B6CF-45AA-ADCC-AC8F740A00DA}" dt="2022-07-21T13:07:08.309" v="25316"/>
          <ac:spMkLst>
            <pc:docMk/>
            <pc:sldMk cId="595086210" sldId="682"/>
            <ac:spMk id="9" creationId="{A1CC3B34-B3BA-4B7E-9439-806F451A0BC6}"/>
          </ac:spMkLst>
        </pc:spChg>
        <pc:graphicFrameChg chg="add mod ord modVis">
          <ac:chgData name="Matthäus Alberding" userId="89cdd4c9-d044-4ab4-9e6f-8f065e0119c4" providerId="ADAL" clId="{B6745356-B6CF-45AA-ADCC-AC8F740A00DA}" dt="2022-07-21T13:07:08.310" v="25318"/>
          <ac:graphicFrameMkLst>
            <pc:docMk/>
            <pc:sldMk cId="595086210" sldId="682"/>
            <ac:graphicFrameMk id="7" creationId="{6B016243-C6B0-4DAE-9FBA-F1812C79A857}"/>
          </ac:graphicFrameMkLst>
        </pc:graphicFrameChg>
      </pc:sldChg>
      <pc:sldChg chg="modSp new add del mod">
        <pc:chgData name="Matthäus Alberding" userId="89cdd4c9-d044-4ab4-9e6f-8f065e0119c4" providerId="ADAL" clId="{B6745356-B6CF-45AA-ADCC-AC8F740A00DA}" dt="2022-07-21T13:13:18.905" v="25740" actId="47"/>
        <pc:sldMkLst>
          <pc:docMk/>
          <pc:sldMk cId="1874073578" sldId="682"/>
        </pc:sldMkLst>
        <pc:spChg chg="mod">
          <ac:chgData name="Matthäus Alberding" userId="89cdd4c9-d044-4ab4-9e6f-8f065e0119c4" providerId="ADAL" clId="{B6745356-B6CF-45AA-ADCC-AC8F740A00DA}" dt="2022-07-21T13:11:55.166" v="25736" actId="20577"/>
          <ac:spMkLst>
            <pc:docMk/>
            <pc:sldMk cId="1874073578" sldId="682"/>
            <ac:spMk id="5" creationId="{4787C8D0-5BF4-4F78-B111-F926405BEEBA}"/>
          </ac:spMkLst>
        </pc:spChg>
      </pc:sldChg>
      <pc:sldChg chg="addSp delSp modSp add del mod">
        <pc:chgData name="Matthäus Alberding" userId="89cdd4c9-d044-4ab4-9e6f-8f065e0119c4" providerId="ADAL" clId="{B6745356-B6CF-45AA-ADCC-AC8F740A00DA}" dt="2022-07-21T13:10:41.800" v="25520" actId="47"/>
        <pc:sldMkLst>
          <pc:docMk/>
          <pc:sldMk cId="958702478" sldId="683"/>
        </pc:sldMkLst>
        <pc:spChg chg="mod">
          <ac:chgData name="Matthäus Alberding" userId="89cdd4c9-d044-4ab4-9e6f-8f065e0119c4" providerId="ADAL" clId="{B6745356-B6CF-45AA-ADCC-AC8F740A00DA}" dt="2022-07-21T13:08:30.173" v="25477" actId="948"/>
          <ac:spMkLst>
            <pc:docMk/>
            <pc:sldMk cId="958702478" sldId="683"/>
            <ac:spMk id="4" creationId="{01F40244-FB4A-4410-B38E-9BD636EC5CEB}"/>
          </ac:spMkLst>
        </pc:spChg>
        <pc:spChg chg="add del mod modVis">
          <ac:chgData name="Matthäus Alberding" userId="89cdd4c9-d044-4ab4-9e6f-8f065e0119c4" providerId="ADAL" clId="{B6745356-B6CF-45AA-ADCC-AC8F740A00DA}" dt="2022-07-21T13:08:04.824" v="25363"/>
          <ac:spMkLst>
            <pc:docMk/>
            <pc:sldMk cId="958702478" sldId="683"/>
            <ac:spMk id="6" creationId="{9A41F29C-2F86-4AE2-BA79-1C7294118B71}"/>
          </ac:spMkLst>
        </pc:spChg>
        <pc:spChg chg="add del mod modVis">
          <ac:chgData name="Matthäus Alberding" userId="89cdd4c9-d044-4ab4-9e6f-8f065e0119c4" providerId="ADAL" clId="{B6745356-B6CF-45AA-ADCC-AC8F740A00DA}" dt="2022-07-21T13:08:10.212" v="25414"/>
          <ac:spMkLst>
            <pc:docMk/>
            <pc:sldMk cId="958702478" sldId="683"/>
            <ac:spMk id="8" creationId="{63FBDB9A-BD6B-49DF-B422-BBE9C6883B85}"/>
          </ac:spMkLst>
        </pc:spChg>
        <pc:spChg chg="add del mod modVis">
          <ac:chgData name="Matthäus Alberding" userId="89cdd4c9-d044-4ab4-9e6f-8f065e0119c4" providerId="ADAL" clId="{B6745356-B6CF-45AA-ADCC-AC8F740A00DA}" dt="2022-07-21T13:08:29.090" v="25465"/>
          <ac:spMkLst>
            <pc:docMk/>
            <pc:sldMk cId="958702478" sldId="683"/>
            <ac:spMk id="9" creationId="{BB144CFE-6A99-4372-A18D-B67AECB7EC4C}"/>
          </ac:spMkLst>
        </pc:spChg>
        <pc:spChg chg="add del mod modVis">
          <ac:chgData name="Matthäus Alberding" userId="89cdd4c9-d044-4ab4-9e6f-8f065e0119c4" providerId="ADAL" clId="{B6745356-B6CF-45AA-ADCC-AC8F740A00DA}" dt="2022-07-21T13:08:30.192" v="25516"/>
          <ac:spMkLst>
            <pc:docMk/>
            <pc:sldMk cId="958702478" sldId="683"/>
            <ac:spMk id="10" creationId="{ECEB33B0-9C1E-422D-817E-13F02DD8521D}"/>
          </ac:spMkLst>
        </pc:spChg>
        <pc:graphicFrameChg chg="mod">
          <ac:chgData name="Matthäus Alberding" userId="89cdd4c9-d044-4ab4-9e6f-8f065e0119c4" providerId="ADAL" clId="{B6745356-B6CF-45AA-ADCC-AC8F740A00DA}" dt="2022-07-21T13:08:30.193" v="25518"/>
          <ac:graphicFrameMkLst>
            <pc:docMk/>
            <pc:sldMk cId="958702478" sldId="683"/>
            <ac:graphicFrameMk id="7" creationId="{6B016243-C6B0-4DAE-9FBA-F1812C79A857}"/>
          </ac:graphicFrameMkLst>
        </pc:graphicFrameChg>
      </pc:sldChg>
      <pc:sldChg chg="addSp delSp modSp add del mod">
        <pc:chgData name="Matthäus Alberding" userId="89cdd4c9-d044-4ab4-9e6f-8f065e0119c4" providerId="ADAL" clId="{B6745356-B6CF-45AA-ADCC-AC8F740A00DA}" dt="2022-07-21T17:27:26.985" v="33214" actId="47"/>
        <pc:sldMkLst>
          <pc:docMk/>
          <pc:sldMk cId="2171065895" sldId="683"/>
        </pc:sldMkLst>
        <pc:spChg chg="del">
          <ac:chgData name="Matthäus Alberding" userId="89cdd4c9-d044-4ab4-9e6f-8f065e0119c4" providerId="ADAL" clId="{B6745356-B6CF-45AA-ADCC-AC8F740A00DA}" dt="2022-07-21T14:20:39.131" v="25905" actId="478"/>
          <ac:spMkLst>
            <pc:docMk/>
            <pc:sldMk cId="2171065895" sldId="683"/>
            <ac:spMk id="7" creationId="{D0EB53E4-2DEF-4227-9E70-8D414011A0B1}"/>
          </ac:spMkLst>
        </pc:spChg>
        <pc:spChg chg="del">
          <ac:chgData name="Matthäus Alberding" userId="89cdd4c9-d044-4ab4-9e6f-8f065e0119c4" providerId="ADAL" clId="{B6745356-B6CF-45AA-ADCC-AC8F740A00DA}" dt="2022-07-21T14:20:39.131" v="25905" actId="478"/>
          <ac:spMkLst>
            <pc:docMk/>
            <pc:sldMk cId="2171065895" sldId="683"/>
            <ac:spMk id="9" creationId="{20B17745-8561-4BD4-BD10-92FCDB602F44}"/>
          </ac:spMkLst>
        </pc:spChg>
        <pc:spChg chg="del">
          <ac:chgData name="Matthäus Alberding" userId="89cdd4c9-d044-4ab4-9e6f-8f065e0119c4" providerId="ADAL" clId="{B6745356-B6CF-45AA-ADCC-AC8F740A00DA}" dt="2022-07-21T14:20:39.131" v="25905" actId="478"/>
          <ac:spMkLst>
            <pc:docMk/>
            <pc:sldMk cId="2171065895" sldId="683"/>
            <ac:spMk id="10" creationId="{86D28C4C-D92D-4B98-9C99-5D3991874E9D}"/>
          </ac:spMkLst>
        </pc:spChg>
        <pc:spChg chg="del">
          <ac:chgData name="Matthäus Alberding" userId="89cdd4c9-d044-4ab4-9e6f-8f065e0119c4" providerId="ADAL" clId="{B6745356-B6CF-45AA-ADCC-AC8F740A00DA}" dt="2022-07-21T14:20:39.131" v="25905" actId="478"/>
          <ac:spMkLst>
            <pc:docMk/>
            <pc:sldMk cId="2171065895" sldId="683"/>
            <ac:spMk id="11" creationId="{88C0A350-0D21-45DD-A9DD-B93A0E2245A6}"/>
          </ac:spMkLst>
        </pc:spChg>
        <pc:spChg chg="del">
          <ac:chgData name="Matthäus Alberding" userId="89cdd4c9-d044-4ab4-9e6f-8f065e0119c4" providerId="ADAL" clId="{B6745356-B6CF-45AA-ADCC-AC8F740A00DA}" dt="2022-07-21T14:20:39.131" v="25905" actId="478"/>
          <ac:spMkLst>
            <pc:docMk/>
            <pc:sldMk cId="2171065895" sldId="683"/>
            <ac:spMk id="12" creationId="{E4B1E14A-5901-4FB3-8E23-834A2430DBF3}"/>
          </ac:spMkLst>
        </pc:spChg>
        <pc:spChg chg="del">
          <ac:chgData name="Matthäus Alberding" userId="89cdd4c9-d044-4ab4-9e6f-8f065e0119c4" providerId="ADAL" clId="{B6745356-B6CF-45AA-ADCC-AC8F740A00DA}" dt="2022-07-21T14:20:39.131" v="25905" actId="478"/>
          <ac:spMkLst>
            <pc:docMk/>
            <pc:sldMk cId="2171065895" sldId="683"/>
            <ac:spMk id="13" creationId="{507CBCE2-04B9-4E13-A63A-4155E16F3E33}"/>
          </ac:spMkLst>
        </pc:spChg>
        <pc:spChg chg="del">
          <ac:chgData name="Matthäus Alberding" userId="89cdd4c9-d044-4ab4-9e6f-8f065e0119c4" providerId="ADAL" clId="{B6745356-B6CF-45AA-ADCC-AC8F740A00DA}" dt="2022-07-21T14:20:39.131" v="25905" actId="478"/>
          <ac:spMkLst>
            <pc:docMk/>
            <pc:sldMk cId="2171065895" sldId="683"/>
            <ac:spMk id="14" creationId="{A8023DA7-4D3D-471C-A837-7C81E1DA9F65}"/>
          </ac:spMkLst>
        </pc:spChg>
        <pc:spChg chg="del">
          <ac:chgData name="Matthäus Alberding" userId="89cdd4c9-d044-4ab4-9e6f-8f065e0119c4" providerId="ADAL" clId="{B6745356-B6CF-45AA-ADCC-AC8F740A00DA}" dt="2022-07-21T14:20:39.131" v="25905" actId="478"/>
          <ac:spMkLst>
            <pc:docMk/>
            <pc:sldMk cId="2171065895" sldId="683"/>
            <ac:spMk id="15" creationId="{3F958D45-2794-4CB2-811C-FD582AD849BF}"/>
          </ac:spMkLst>
        </pc:spChg>
        <pc:spChg chg="add mod">
          <ac:chgData name="Matthäus Alberding" userId="89cdd4c9-d044-4ab4-9e6f-8f065e0119c4" providerId="ADAL" clId="{B6745356-B6CF-45AA-ADCC-AC8F740A00DA}" dt="2022-07-21T14:21:09.567" v="26040" actId="20577"/>
          <ac:spMkLst>
            <pc:docMk/>
            <pc:sldMk cId="2171065895" sldId="683"/>
            <ac:spMk id="16" creationId="{622A7530-0ACA-4BE4-8208-2C774F629C3D}"/>
          </ac:spMkLst>
        </pc:spChg>
      </pc:sldChg>
      <pc:sldChg chg="addSp modSp add mod ord">
        <pc:chgData name="Matthäus Alberding" userId="89cdd4c9-d044-4ab4-9e6f-8f065e0119c4" providerId="ADAL" clId="{B6745356-B6CF-45AA-ADCC-AC8F740A00DA}" dt="2022-07-21T16:01:49.368" v="26302" actId="1076"/>
        <pc:sldMkLst>
          <pc:docMk/>
          <pc:sldMk cId="1902130823" sldId="684"/>
        </pc:sldMkLst>
        <pc:spChg chg="mod">
          <ac:chgData name="Matthäus Alberding" userId="89cdd4c9-d044-4ab4-9e6f-8f065e0119c4" providerId="ADAL" clId="{B6745356-B6CF-45AA-ADCC-AC8F740A00DA}" dt="2022-07-21T16:00:36.539" v="26112" actId="5793"/>
          <ac:spMkLst>
            <pc:docMk/>
            <pc:sldMk cId="1902130823" sldId="684"/>
            <ac:spMk id="5" creationId="{14D57165-C4F4-4311-87C9-C4AD5C0FBF8D}"/>
          </ac:spMkLst>
        </pc:spChg>
        <pc:spChg chg="mod">
          <ac:chgData name="Matthäus Alberding" userId="89cdd4c9-d044-4ab4-9e6f-8f065e0119c4" providerId="ADAL" clId="{B6745356-B6CF-45AA-ADCC-AC8F740A00DA}" dt="2022-07-21T16:00:39.631" v="26121" actId="948"/>
          <ac:spMkLst>
            <pc:docMk/>
            <pc:sldMk cId="1902130823" sldId="684"/>
            <ac:spMk id="8" creationId="{E636D16C-7382-4A28-BE63-5DBBEE2B7662}"/>
          </ac:spMkLst>
        </pc:spChg>
        <pc:spChg chg="add mod">
          <ac:chgData name="Matthäus Alberding" userId="89cdd4c9-d044-4ab4-9e6f-8f065e0119c4" providerId="ADAL" clId="{B6745356-B6CF-45AA-ADCC-AC8F740A00DA}" dt="2022-07-21T16:01:01.663" v="26176" actId="20577"/>
          <ac:spMkLst>
            <pc:docMk/>
            <pc:sldMk cId="1902130823" sldId="684"/>
            <ac:spMk id="9" creationId="{4C8BBF63-3988-444E-AA0F-7B6E7450900D}"/>
          </ac:spMkLst>
        </pc:spChg>
        <pc:spChg chg="add mod">
          <ac:chgData name="Matthäus Alberding" userId="89cdd4c9-d044-4ab4-9e6f-8f065e0119c4" providerId="ADAL" clId="{B6745356-B6CF-45AA-ADCC-AC8F740A00DA}" dt="2022-07-21T16:01:11.261" v="26198" actId="20577"/>
          <ac:spMkLst>
            <pc:docMk/>
            <pc:sldMk cId="1902130823" sldId="684"/>
            <ac:spMk id="10" creationId="{B51A080D-00A5-428B-9AB6-619E683B5B93}"/>
          </ac:spMkLst>
        </pc:spChg>
        <pc:spChg chg="add mod">
          <ac:chgData name="Matthäus Alberding" userId="89cdd4c9-d044-4ab4-9e6f-8f065e0119c4" providerId="ADAL" clId="{B6745356-B6CF-45AA-ADCC-AC8F740A00DA}" dt="2022-07-21T16:01:49.368" v="26302" actId="1076"/>
          <ac:spMkLst>
            <pc:docMk/>
            <pc:sldMk cId="1902130823" sldId="684"/>
            <ac:spMk id="11" creationId="{A87F5CB7-85B2-4C26-A1B8-320D900A6B9F}"/>
          </ac:spMkLst>
        </pc:spChg>
        <pc:spChg chg="mod">
          <ac:chgData name="Matthäus Alberding" userId="89cdd4c9-d044-4ab4-9e6f-8f065e0119c4" providerId="ADAL" clId="{B6745356-B6CF-45AA-ADCC-AC8F740A00DA}" dt="2022-07-21T16:00:43.226" v="26131" actId="20577"/>
          <ac:spMkLst>
            <pc:docMk/>
            <pc:sldMk cId="1902130823" sldId="684"/>
            <ac:spMk id="16" creationId="{622A7530-0ACA-4BE4-8208-2C774F629C3D}"/>
          </ac:spMkLst>
        </pc:spChg>
        <pc:graphicFrameChg chg="mod">
          <ac:chgData name="Matthäus Alberding" userId="89cdd4c9-d044-4ab4-9e6f-8f065e0119c4" providerId="ADAL" clId="{B6745356-B6CF-45AA-ADCC-AC8F740A00DA}" dt="2022-07-21T16:00:39.635" v="26123"/>
          <ac:graphicFrameMkLst>
            <pc:docMk/>
            <pc:sldMk cId="1902130823" sldId="684"/>
            <ac:graphicFrameMk id="6" creationId="{17619F4C-4BEA-471F-B7B0-623407C2C224}"/>
          </ac:graphicFrameMkLst>
        </pc:graphicFrameChg>
      </pc:sldChg>
      <pc:sldChg chg="addSp delSp modSp add mod modTransition modShow">
        <pc:chgData name="Matthäus Alberding" userId="89cdd4c9-d044-4ab4-9e6f-8f065e0119c4" providerId="ADAL" clId="{B6745356-B6CF-45AA-ADCC-AC8F740A00DA}" dt="2022-07-29T09:07:39.562" v="103931" actId="20577"/>
        <pc:sldMkLst>
          <pc:docMk/>
          <pc:sldMk cId="104396248" sldId="685"/>
        </pc:sldMkLst>
        <pc:spChg chg="add del mod modVis">
          <ac:chgData name="Matthäus Alberding" userId="89cdd4c9-d044-4ab4-9e6f-8f065e0119c4" providerId="ADAL" clId="{B6745356-B6CF-45AA-ADCC-AC8F740A00DA}" dt="2022-07-26T15:21:49.635" v="82548"/>
          <ac:spMkLst>
            <pc:docMk/>
            <pc:sldMk cId="104396248" sldId="685"/>
            <ac:spMk id="4" creationId="{BCEDA128-295C-47B6-B438-5E95598D638A}"/>
          </ac:spMkLst>
        </pc:spChg>
        <pc:spChg chg="add del mod modVis">
          <ac:chgData name="Matthäus Alberding" userId="89cdd4c9-d044-4ab4-9e6f-8f065e0119c4" providerId="ADAL" clId="{B6745356-B6CF-45AA-ADCC-AC8F740A00DA}" dt="2022-07-27T06:32:43.024" v="94977"/>
          <ac:spMkLst>
            <pc:docMk/>
            <pc:sldMk cId="104396248" sldId="685"/>
            <ac:spMk id="4" creationId="{FD2EEEE7-4B1F-4527-AB77-460F0E2EE5DB}"/>
          </ac:spMkLst>
        </pc:spChg>
        <pc:spChg chg="mod">
          <ac:chgData name="Matthäus Alberding" userId="89cdd4c9-d044-4ab4-9e6f-8f065e0119c4" providerId="ADAL" clId="{B6745356-B6CF-45AA-ADCC-AC8F740A00DA}" dt="2022-07-26T15:12:16.130" v="81894" actId="20577"/>
          <ac:spMkLst>
            <pc:docMk/>
            <pc:sldMk cId="104396248" sldId="685"/>
            <ac:spMk id="5" creationId="{14D57165-C4F4-4311-87C9-C4AD5C0FBF8D}"/>
          </ac:spMkLst>
        </pc:spChg>
        <pc:spChg chg="add del mod modVis">
          <ac:chgData name="Matthäus Alberding" userId="89cdd4c9-d044-4ab4-9e6f-8f065e0119c4" providerId="ADAL" clId="{B6745356-B6CF-45AA-ADCC-AC8F740A00DA}" dt="2022-07-27T06:32:43.708" v="95020"/>
          <ac:spMkLst>
            <pc:docMk/>
            <pc:sldMk cId="104396248" sldId="685"/>
            <ac:spMk id="7" creationId="{554A75FC-1C50-4947-8A5A-C66FB6106EE9}"/>
          </ac:spMkLst>
        </pc:spChg>
        <pc:spChg chg="add del mod modVis">
          <ac:chgData name="Matthäus Alberding" userId="89cdd4c9-d044-4ab4-9e6f-8f065e0119c4" providerId="ADAL" clId="{B6745356-B6CF-45AA-ADCC-AC8F740A00DA}" dt="2022-07-26T15:22:10.486" v="82676"/>
          <ac:spMkLst>
            <pc:docMk/>
            <pc:sldMk cId="104396248" sldId="685"/>
            <ac:spMk id="7" creationId="{6DB03059-323B-41CC-BBF2-163E88278102}"/>
          </ac:spMkLst>
        </pc:spChg>
        <pc:spChg chg="mod">
          <ac:chgData name="Matthäus Alberding" userId="89cdd4c9-d044-4ab4-9e6f-8f065e0119c4" providerId="ADAL" clId="{B6745356-B6CF-45AA-ADCC-AC8F740A00DA}" dt="2022-07-27T06:32:49.615" v="95067" actId="948"/>
          <ac:spMkLst>
            <pc:docMk/>
            <pc:sldMk cId="104396248" sldId="685"/>
            <ac:spMk id="8" creationId="{E636D16C-7382-4A28-BE63-5DBBEE2B7662}"/>
          </ac:spMkLst>
        </pc:spChg>
        <pc:spChg chg="del">
          <ac:chgData name="Matthäus Alberding" userId="89cdd4c9-d044-4ab4-9e6f-8f065e0119c4" providerId="ADAL" clId="{B6745356-B6CF-45AA-ADCC-AC8F740A00DA}" dt="2022-07-21T16:02:04.344" v="26325" actId="478"/>
          <ac:spMkLst>
            <pc:docMk/>
            <pc:sldMk cId="104396248" sldId="685"/>
            <ac:spMk id="9" creationId="{4C8BBF63-3988-444E-AA0F-7B6E7450900D}"/>
          </ac:spMkLst>
        </pc:spChg>
        <pc:spChg chg="add del mod modVis">
          <ac:chgData name="Matthäus Alberding" userId="89cdd4c9-d044-4ab4-9e6f-8f065e0119c4" providerId="ADAL" clId="{B6745356-B6CF-45AA-ADCC-AC8F740A00DA}" dt="2022-07-27T06:32:49.059" v="95063"/>
          <ac:spMkLst>
            <pc:docMk/>
            <pc:sldMk cId="104396248" sldId="685"/>
            <ac:spMk id="9" creationId="{4EF27B78-F6C3-4897-B19D-670EC338D68A}"/>
          </ac:spMkLst>
        </pc:spChg>
        <pc:spChg chg="add del mod">
          <ac:chgData name="Matthäus Alberding" userId="89cdd4c9-d044-4ab4-9e6f-8f065e0119c4" providerId="ADAL" clId="{B6745356-B6CF-45AA-ADCC-AC8F740A00DA}" dt="2022-07-26T15:03:22.393" v="81197" actId="478"/>
          <ac:spMkLst>
            <pc:docMk/>
            <pc:sldMk cId="104396248" sldId="685"/>
            <ac:spMk id="9" creationId="{F51D87A0-D97E-4B80-A5EF-D6C5E5D7124D}"/>
          </ac:spMkLst>
        </pc:spChg>
        <pc:spChg chg="del">
          <ac:chgData name="Matthäus Alberding" userId="89cdd4c9-d044-4ab4-9e6f-8f065e0119c4" providerId="ADAL" clId="{B6745356-B6CF-45AA-ADCC-AC8F740A00DA}" dt="2022-07-21T16:02:04.344" v="26325" actId="478"/>
          <ac:spMkLst>
            <pc:docMk/>
            <pc:sldMk cId="104396248" sldId="685"/>
            <ac:spMk id="10" creationId="{B51A080D-00A5-428B-9AB6-619E683B5B93}"/>
          </ac:spMkLst>
        </pc:spChg>
        <pc:spChg chg="add mod">
          <ac:chgData name="Matthäus Alberding" userId="89cdd4c9-d044-4ab4-9e6f-8f065e0119c4" providerId="ADAL" clId="{B6745356-B6CF-45AA-ADCC-AC8F740A00DA}" dt="2022-07-29T09:07:39.562" v="103931" actId="20577"/>
          <ac:spMkLst>
            <pc:docMk/>
            <pc:sldMk cId="104396248" sldId="685"/>
            <ac:spMk id="10" creationId="{BD4114A6-A0C2-42D5-AD33-5BE300994FCB}"/>
          </ac:spMkLst>
        </pc:spChg>
        <pc:spChg chg="del mod">
          <ac:chgData name="Matthäus Alberding" userId="89cdd4c9-d044-4ab4-9e6f-8f065e0119c4" providerId="ADAL" clId="{B6745356-B6CF-45AA-ADCC-AC8F740A00DA}" dt="2022-07-26T10:29:46.410" v="60445" actId="21"/>
          <ac:spMkLst>
            <pc:docMk/>
            <pc:sldMk cId="104396248" sldId="685"/>
            <ac:spMk id="11" creationId="{A87F5CB7-85B2-4C26-A1B8-320D900A6B9F}"/>
          </ac:spMkLst>
        </pc:spChg>
        <pc:spChg chg="add mod">
          <ac:chgData name="Matthäus Alberding" userId="89cdd4c9-d044-4ab4-9e6f-8f065e0119c4" providerId="ADAL" clId="{B6745356-B6CF-45AA-ADCC-AC8F740A00DA}" dt="2022-07-26T15:17:38.485" v="82394" actId="1076"/>
          <ac:spMkLst>
            <pc:docMk/>
            <pc:sldMk cId="104396248" sldId="685"/>
            <ac:spMk id="11" creationId="{B5583010-FF07-420F-A5BC-C30D5ECFF2C6}"/>
          </ac:spMkLst>
        </pc:spChg>
        <pc:spChg chg="add mod">
          <ac:chgData name="Matthäus Alberding" userId="89cdd4c9-d044-4ab4-9e6f-8f065e0119c4" providerId="ADAL" clId="{B6745356-B6CF-45AA-ADCC-AC8F740A00DA}" dt="2022-07-26T15:21:42.758" v="82484" actId="1076"/>
          <ac:spMkLst>
            <pc:docMk/>
            <pc:sldMk cId="104396248" sldId="685"/>
            <ac:spMk id="12" creationId="{88C40125-F2E0-4CA0-8AB6-D2F5164B99F1}"/>
          </ac:spMkLst>
        </pc:spChg>
        <pc:spChg chg="add mod">
          <ac:chgData name="Matthäus Alberding" userId="89cdd4c9-d044-4ab4-9e6f-8f065e0119c4" providerId="ADAL" clId="{B6745356-B6CF-45AA-ADCC-AC8F740A00DA}" dt="2022-07-26T15:21:42.758" v="82484" actId="1076"/>
          <ac:spMkLst>
            <pc:docMk/>
            <pc:sldMk cId="104396248" sldId="685"/>
            <ac:spMk id="13" creationId="{002EA0F1-B5E0-42DC-93AE-73B04E0000F8}"/>
          </ac:spMkLst>
        </pc:spChg>
        <pc:spChg chg="add mod">
          <ac:chgData name="Matthäus Alberding" userId="89cdd4c9-d044-4ab4-9e6f-8f065e0119c4" providerId="ADAL" clId="{B6745356-B6CF-45AA-ADCC-AC8F740A00DA}" dt="2022-07-26T15:21:42.758" v="82484" actId="1076"/>
          <ac:spMkLst>
            <pc:docMk/>
            <pc:sldMk cId="104396248" sldId="685"/>
            <ac:spMk id="14" creationId="{09298BCE-083C-401C-9040-BE8B2F1B7665}"/>
          </ac:spMkLst>
        </pc:spChg>
        <pc:spChg chg="add mod">
          <ac:chgData name="Matthäus Alberding" userId="89cdd4c9-d044-4ab4-9e6f-8f065e0119c4" providerId="ADAL" clId="{B6745356-B6CF-45AA-ADCC-AC8F740A00DA}" dt="2022-07-26T15:21:42.758" v="82484" actId="1076"/>
          <ac:spMkLst>
            <pc:docMk/>
            <pc:sldMk cId="104396248" sldId="685"/>
            <ac:spMk id="15" creationId="{B56A1B48-93BF-46A2-8C65-4C23B744E51D}"/>
          </ac:spMkLst>
        </pc:spChg>
        <pc:spChg chg="add mod">
          <ac:chgData name="Matthäus Alberding" userId="89cdd4c9-d044-4ab4-9e6f-8f065e0119c4" providerId="ADAL" clId="{B6745356-B6CF-45AA-ADCC-AC8F740A00DA}" dt="2022-07-26T15:27:27.125" v="84749" actId="1076"/>
          <ac:spMkLst>
            <pc:docMk/>
            <pc:sldMk cId="104396248" sldId="685"/>
            <ac:spMk id="16" creationId="{1EE55A63-DBA2-451C-9BF2-0BB2BAF2BA0D}"/>
          </ac:spMkLst>
        </pc:spChg>
        <pc:spChg chg="del">
          <ac:chgData name="Matthäus Alberding" userId="89cdd4c9-d044-4ab4-9e6f-8f065e0119c4" providerId="ADAL" clId="{B6745356-B6CF-45AA-ADCC-AC8F740A00DA}" dt="2022-07-21T16:02:04.344" v="26325" actId="478"/>
          <ac:spMkLst>
            <pc:docMk/>
            <pc:sldMk cId="104396248" sldId="685"/>
            <ac:spMk id="16" creationId="{622A7530-0ACA-4BE4-8208-2C774F629C3D}"/>
          </ac:spMkLst>
        </pc:spChg>
        <pc:spChg chg="add mod">
          <ac:chgData name="Matthäus Alberding" userId="89cdd4c9-d044-4ab4-9e6f-8f065e0119c4" providerId="ADAL" clId="{B6745356-B6CF-45AA-ADCC-AC8F740A00DA}" dt="2022-07-26T15:29:10.633" v="84780" actId="1076"/>
          <ac:spMkLst>
            <pc:docMk/>
            <pc:sldMk cId="104396248" sldId="685"/>
            <ac:spMk id="18" creationId="{F43C0135-2F4E-4F93-BC7C-6A06E4E231A4}"/>
          </ac:spMkLst>
        </pc:spChg>
        <pc:spChg chg="add del mod">
          <ac:chgData name="Matthäus Alberding" userId="89cdd4c9-d044-4ab4-9e6f-8f065e0119c4" providerId="ADAL" clId="{B6745356-B6CF-45AA-ADCC-AC8F740A00DA}" dt="2022-07-26T15:27:29.103" v="84750" actId="478"/>
          <ac:spMkLst>
            <pc:docMk/>
            <pc:sldMk cId="104396248" sldId="685"/>
            <ac:spMk id="19" creationId="{ADAB06C0-2432-4094-B9A6-F9ACE41138DF}"/>
          </ac:spMkLst>
        </pc:spChg>
        <pc:spChg chg="add del mod modVis">
          <ac:chgData name="Matthäus Alberding" userId="89cdd4c9-d044-4ab4-9e6f-8f065e0119c4" providerId="ADAL" clId="{B6745356-B6CF-45AA-ADCC-AC8F740A00DA}" dt="2022-07-27T06:32:49.635" v="95106"/>
          <ac:spMkLst>
            <pc:docMk/>
            <pc:sldMk cId="104396248" sldId="685"/>
            <ac:spMk id="19" creationId="{B827C4A3-047B-42C5-AA78-DD74B9D2E44F}"/>
          </ac:spMkLst>
        </pc:spChg>
        <pc:spChg chg="add del mod modVis">
          <ac:chgData name="Matthäus Alberding" userId="89cdd4c9-d044-4ab4-9e6f-8f065e0119c4" providerId="ADAL" clId="{B6745356-B6CF-45AA-ADCC-AC8F740A00DA}" dt="2022-07-26T15:22:12.083" v="82723"/>
          <ac:spMkLst>
            <pc:docMk/>
            <pc:sldMk cId="104396248" sldId="685"/>
            <ac:spMk id="22" creationId="{19378D59-904A-43CA-BAFB-9078DD959085}"/>
          </ac:spMkLst>
        </pc:spChg>
        <pc:spChg chg="add del mod modVis">
          <ac:chgData name="Matthäus Alberding" userId="89cdd4c9-d044-4ab4-9e6f-8f065e0119c4" providerId="ADAL" clId="{B6745356-B6CF-45AA-ADCC-AC8F740A00DA}" dt="2022-07-26T15:22:13.951" v="82766"/>
          <ac:spMkLst>
            <pc:docMk/>
            <pc:sldMk cId="104396248" sldId="685"/>
            <ac:spMk id="23" creationId="{B5CA067C-3DEF-4DAB-B1A5-3BCADE49D332}"/>
          </ac:spMkLst>
        </pc:spChg>
        <pc:spChg chg="add del mod modVis">
          <ac:chgData name="Matthäus Alberding" userId="89cdd4c9-d044-4ab4-9e6f-8f065e0119c4" providerId="ADAL" clId="{B6745356-B6CF-45AA-ADCC-AC8F740A00DA}" dt="2022-07-26T15:22:16.807" v="82810"/>
          <ac:spMkLst>
            <pc:docMk/>
            <pc:sldMk cId="104396248" sldId="685"/>
            <ac:spMk id="24" creationId="{22C3E9D1-E830-4722-8013-633D22B5CFCB}"/>
          </ac:spMkLst>
        </pc:spChg>
        <pc:spChg chg="add del mod modVis">
          <ac:chgData name="Matthäus Alberding" userId="89cdd4c9-d044-4ab4-9e6f-8f065e0119c4" providerId="ADAL" clId="{B6745356-B6CF-45AA-ADCC-AC8F740A00DA}" dt="2022-07-26T15:22:18.962" v="82858"/>
          <ac:spMkLst>
            <pc:docMk/>
            <pc:sldMk cId="104396248" sldId="685"/>
            <ac:spMk id="25" creationId="{222820D3-BE67-4477-B2FF-1847C65BDE5C}"/>
          </ac:spMkLst>
        </pc:spChg>
        <pc:spChg chg="add del mod modVis">
          <ac:chgData name="Matthäus Alberding" userId="89cdd4c9-d044-4ab4-9e6f-8f065e0119c4" providerId="ADAL" clId="{B6745356-B6CF-45AA-ADCC-AC8F740A00DA}" dt="2022-07-26T15:22:20.982" v="82910"/>
          <ac:spMkLst>
            <pc:docMk/>
            <pc:sldMk cId="104396248" sldId="685"/>
            <ac:spMk id="26" creationId="{EB9B81F8-A0E1-400F-8F55-D14B9AD45ED4}"/>
          </ac:spMkLst>
        </pc:spChg>
        <pc:spChg chg="add del mod modVis">
          <ac:chgData name="Matthäus Alberding" userId="89cdd4c9-d044-4ab4-9e6f-8f065e0119c4" providerId="ADAL" clId="{B6745356-B6CF-45AA-ADCC-AC8F740A00DA}" dt="2022-07-26T15:22:32.338" v="82973"/>
          <ac:spMkLst>
            <pc:docMk/>
            <pc:sldMk cId="104396248" sldId="685"/>
            <ac:spMk id="27" creationId="{8520D705-B661-4D6C-8DB9-F7F982970433}"/>
          </ac:spMkLst>
        </pc:spChg>
        <pc:spChg chg="add del mod modVis">
          <ac:chgData name="Matthäus Alberding" userId="89cdd4c9-d044-4ab4-9e6f-8f065e0119c4" providerId="ADAL" clId="{B6745356-B6CF-45AA-ADCC-AC8F740A00DA}" dt="2022-07-26T15:22:34.317" v="83023"/>
          <ac:spMkLst>
            <pc:docMk/>
            <pc:sldMk cId="104396248" sldId="685"/>
            <ac:spMk id="28" creationId="{EB153944-4BD4-4FB4-9056-1EA2A7BFE5E1}"/>
          </ac:spMkLst>
        </pc:spChg>
        <pc:spChg chg="add del mod modVis">
          <ac:chgData name="Matthäus Alberding" userId="89cdd4c9-d044-4ab4-9e6f-8f065e0119c4" providerId="ADAL" clId="{B6745356-B6CF-45AA-ADCC-AC8F740A00DA}" dt="2022-07-26T15:22:40.289" v="83066"/>
          <ac:spMkLst>
            <pc:docMk/>
            <pc:sldMk cId="104396248" sldId="685"/>
            <ac:spMk id="29" creationId="{D667BBA2-DDB5-4150-94D6-530E20EDD201}"/>
          </ac:spMkLst>
        </pc:spChg>
        <pc:spChg chg="add del mod modVis">
          <ac:chgData name="Matthäus Alberding" userId="89cdd4c9-d044-4ab4-9e6f-8f065e0119c4" providerId="ADAL" clId="{B6745356-B6CF-45AA-ADCC-AC8F740A00DA}" dt="2022-07-26T15:22:41.286" v="83110"/>
          <ac:spMkLst>
            <pc:docMk/>
            <pc:sldMk cId="104396248" sldId="685"/>
            <ac:spMk id="30" creationId="{E32C180D-2256-47FC-B8C3-56B0C0600A34}"/>
          </ac:spMkLst>
        </pc:spChg>
        <pc:spChg chg="add del mod modVis">
          <ac:chgData name="Matthäus Alberding" userId="89cdd4c9-d044-4ab4-9e6f-8f065e0119c4" providerId="ADAL" clId="{B6745356-B6CF-45AA-ADCC-AC8F740A00DA}" dt="2022-07-26T15:22:45.481" v="83164"/>
          <ac:spMkLst>
            <pc:docMk/>
            <pc:sldMk cId="104396248" sldId="685"/>
            <ac:spMk id="31" creationId="{FF381BD4-A83D-44E9-BF93-1CA7582EC35E}"/>
          </ac:spMkLst>
        </pc:spChg>
        <pc:spChg chg="add del mod modVis">
          <ac:chgData name="Matthäus Alberding" userId="89cdd4c9-d044-4ab4-9e6f-8f065e0119c4" providerId="ADAL" clId="{B6745356-B6CF-45AA-ADCC-AC8F740A00DA}" dt="2022-07-26T15:22:48.998" v="83207"/>
          <ac:spMkLst>
            <pc:docMk/>
            <pc:sldMk cId="104396248" sldId="685"/>
            <ac:spMk id="32" creationId="{068C9F44-02B0-4C8F-BCCD-19E412EE22E8}"/>
          </ac:spMkLst>
        </pc:spChg>
        <pc:spChg chg="add del mod modVis">
          <ac:chgData name="Matthäus Alberding" userId="89cdd4c9-d044-4ab4-9e6f-8f065e0119c4" providerId="ADAL" clId="{B6745356-B6CF-45AA-ADCC-AC8F740A00DA}" dt="2022-07-26T15:22:52.042" v="83250"/>
          <ac:spMkLst>
            <pc:docMk/>
            <pc:sldMk cId="104396248" sldId="685"/>
            <ac:spMk id="33" creationId="{6324159C-9B4E-4C0C-B28D-369AD8791FC6}"/>
          </ac:spMkLst>
        </pc:spChg>
        <pc:spChg chg="add del mod modVis">
          <ac:chgData name="Matthäus Alberding" userId="89cdd4c9-d044-4ab4-9e6f-8f065e0119c4" providerId="ADAL" clId="{B6745356-B6CF-45AA-ADCC-AC8F740A00DA}" dt="2022-07-26T15:22:55.610" v="83303"/>
          <ac:spMkLst>
            <pc:docMk/>
            <pc:sldMk cId="104396248" sldId="685"/>
            <ac:spMk id="34" creationId="{18CC61BB-CA41-4CA4-AC40-2467D38C90AF}"/>
          </ac:spMkLst>
        </pc:spChg>
        <pc:spChg chg="add del mod modVis">
          <ac:chgData name="Matthäus Alberding" userId="89cdd4c9-d044-4ab4-9e6f-8f065e0119c4" providerId="ADAL" clId="{B6745356-B6CF-45AA-ADCC-AC8F740A00DA}" dt="2022-07-26T15:23:01.584" v="83352"/>
          <ac:spMkLst>
            <pc:docMk/>
            <pc:sldMk cId="104396248" sldId="685"/>
            <ac:spMk id="35" creationId="{74BC9254-EBBB-4AC9-A8DF-A934BF5DC7DD}"/>
          </ac:spMkLst>
        </pc:spChg>
        <pc:spChg chg="add del mod modVis">
          <ac:chgData name="Matthäus Alberding" userId="89cdd4c9-d044-4ab4-9e6f-8f065e0119c4" providerId="ADAL" clId="{B6745356-B6CF-45AA-ADCC-AC8F740A00DA}" dt="2022-07-26T15:23:10.457" v="83403"/>
          <ac:spMkLst>
            <pc:docMk/>
            <pc:sldMk cId="104396248" sldId="685"/>
            <ac:spMk id="36" creationId="{1C1C7575-69B6-4F2E-B820-14E2C9455AF3}"/>
          </ac:spMkLst>
        </pc:spChg>
        <pc:spChg chg="add del mod modVis">
          <ac:chgData name="Matthäus Alberding" userId="89cdd4c9-d044-4ab4-9e6f-8f065e0119c4" providerId="ADAL" clId="{B6745356-B6CF-45AA-ADCC-AC8F740A00DA}" dt="2022-07-26T15:23:12.451" v="83454"/>
          <ac:spMkLst>
            <pc:docMk/>
            <pc:sldMk cId="104396248" sldId="685"/>
            <ac:spMk id="37" creationId="{DC6C4092-F398-40A7-B97F-050621907C49}"/>
          </ac:spMkLst>
        </pc:spChg>
        <pc:spChg chg="add del mod modVis">
          <ac:chgData name="Matthäus Alberding" userId="89cdd4c9-d044-4ab4-9e6f-8f065e0119c4" providerId="ADAL" clId="{B6745356-B6CF-45AA-ADCC-AC8F740A00DA}" dt="2022-07-26T15:24:45.655" v="83501"/>
          <ac:spMkLst>
            <pc:docMk/>
            <pc:sldMk cId="104396248" sldId="685"/>
            <ac:spMk id="38" creationId="{0AB72859-A27A-4658-8FCE-92FFD63B231B}"/>
          </ac:spMkLst>
        </pc:spChg>
        <pc:spChg chg="add del mod modVis">
          <ac:chgData name="Matthäus Alberding" userId="89cdd4c9-d044-4ab4-9e6f-8f065e0119c4" providerId="ADAL" clId="{B6745356-B6CF-45AA-ADCC-AC8F740A00DA}" dt="2022-07-26T15:24:48.725" v="83557"/>
          <ac:spMkLst>
            <pc:docMk/>
            <pc:sldMk cId="104396248" sldId="685"/>
            <ac:spMk id="39" creationId="{DBF83D09-2D97-4A3E-AF0E-886D29555E35}"/>
          </ac:spMkLst>
        </pc:spChg>
        <pc:spChg chg="add del mod modVis">
          <ac:chgData name="Matthäus Alberding" userId="89cdd4c9-d044-4ab4-9e6f-8f065e0119c4" providerId="ADAL" clId="{B6745356-B6CF-45AA-ADCC-AC8F740A00DA}" dt="2022-07-26T15:24:53.904" v="83629"/>
          <ac:spMkLst>
            <pc:docMk/>
            <pc:sldMk cId="104396248" sldId="685"/>
            <ac:spMk id="40" creationId="{6A30BEB3-74D8-49ED-9A36-DFF0B908796A}"/>
          </ac:spMkLst>
        </pc:spChg>
        <pc:spChg chg="add del mod modVis">
          <ac:chgData name="Matthäus Alberding" userId="89cdd4c9-d044-4ab4-9e6f-8f065e0119c4" providerId="ADAL" clId="{B6745356-B6CF-45AA-ADCC-AC8F740A00DA}" dt="2022-07-26T15:24:55.847" v="83680"/>
          <ac:spMkLst>
            <pc:docMk/>
            <pc:sldMk cId="104396248" sldId="685"/>
            <ac:spMk id="41" creationId="{D8C7D0CF-4B1F-4270-9CE8-E0CB204C0B59}"/>
          </ac:spMkLst>
        </pc:spChg>
        <pc:spChg chg="add del mod modVis">
          <ac:chgData name="Matthäus Alberding" userId="89cdd4c9-d044-4ab4-9e6f-8f065e0119c4" providerId="ADAL" clId="{B6745356-B6CF-45AA-ADCC-AC8F740A00DA}" dt="2022-07-26T15:25:00.826" v="83740"/>
          <ac:spMkLst>
            <pc:docMk/>
            <pc:sldMk cId="104396248" sldId="685"/>
            <ac:spMk id="42" creationId="{CFA0B100-1137-46EE-8095-90123CFF1CF5}"/>
          </ac:spMkLst>
        </pc:spChg>
        <pc:spChg chg="add del mod modVis">
          <ac:chgData name="Matthäus Alberding" userId="89cdd4c9-d044-4ab4-9e6f-8f065e0119c4" providerId="ADAL" clId="{B6745356-B6CF-45AA-ADCC-AC8F740A00DA}" dt="2022-07-26T15:25:02.271" v="83787"/>
          <ac:spMkLst>
            <pc:docMk/>
            <pc:sldMk cId="104396248" sldId="685"/>
            <ac:spMk id="43" creationId="{DB96B562-33AB-4853-8D0C-B5E35D114B17}"/>
          </ac:spMkLst>
        </pc:spChg>
        <pc:spChg chg="add del mod modVis">
          <ac:chgData name="Matthäus Alberding" userId="89cdd4c9-d044-4ab4-9e6f-8f065e0119c4" providerId="ADAL" clId="{B6745356-B6CF-45AA-ADCC-AC8F740A00DA}" dt="2022-07-26T15:25:20.436" v="83847"/>
          <ac:spMkLst>
            <pc:docMk/>
            <pc:sldMk cId="104396248" sldId="685"/>
            <ac:spMk id="44" creationId="{627E8068-C079-487A-8430-A9F6DF1D9590}"/>
          </ac:spMkLst>
        </pc:spChg>
        <pc:spChg chg="add del mod modVis">
          <ac:chgData name="Matthäus Alberding" userId="89cdd4c9-d044-4ab4-9e6f-8f065e0119c4" providerId="ADAL" clId="{B6745356-B6CF-45AA-ADCC-AC8F740A00DA}" dt="2022-07-26T15:25:32.272" v="83898"/>
          <ac:spMkLst>
            <pc:docMk/>
            <pc:sldMk cId="104396248" sldId="685"/>
            <ac:spMk id="45" creationId="{D51C1FAA-E212-421B-AC6A-E44AFB13BF30}"/>
          </ac:spMkLst>
        </pc:spChg>
        <pc:spChg chg="add del mod modVis">
          <ac:chgData name="Matthäus Alberding" userId="89cdd4c9-d044-4ab4-9e6f-8f065e0119c4" providerId="ADAL" clId="{B6745356-B6CF-45AA-ADCC-AC8F740A00DA}" dt="2022-07-26T15:25:33.392" v="83943"/>
          <ac:spMkLst>
            <pc:docMk/>
            <pc:sldMk cId="104396248" sldId="685"/>
            <ac:spMk id="46" creationId="{22FCF225-9E05-488F-AE37-2023A42BF00B}"/>
          </ac:spMkLst>
        </pc:spChg>
        <pc:spChg chg="add del mod modVis">
          <ac:chgData name="Matthäus Alberding" userId="89cdd4c9-d044-4ab4-9e6f-8f065e0119c4" providerId="ADAL" clId="{B6745356-B6CF-45AA-ADCC-AC8F740A00DA}" dt="2022-07-26T15:25:37.610" v="84005"/>
          <ac:spMkLst>
            <pc:docMk/>
            <pc:sldMk cId="104396248" sldId="685"/>
            <ac:spMk id="47" creationId="{A0D3E3F6-330D-45A0-933B-9B00CA1535E6}"/>
          </ac:spMkLst>
        </pc:spChg>
        <pc:spChg chg="add del mod modVis">
          <ac:chgData name="Matthäus Alberding" userId="89cdd4c9-d044-4ab4-9e6f-8f065e0119c4" providerId="ADAL" clId="{B6745356-B6CF-45AA-ADCC-AC8F740A00DA}" dt="2022-07-26T15:25:41.287" v="84054"/>
          <ac:spMkLst>
            <pc:docMk/>
            <pc:sldMk cId="104396248" sldId="685"/>
            <ac:spMk id="48" creationId="{480E8EB0-A480-4A76-98C3-24C94C52D6D8}"/>
          </ac:spMkLst>
        </pc:spChg>
        <pc:spChg chg="add del mod modVis">
          <ac:chgData name="Matthäus Alberding" userId="89cdd4c9-d044-4ab4-9e6f-8f065e0119c4" providerId="ADAL" clId="{B6745356-B6CF-45AA-ADCC-AC8F740A00DA}" dt="2022-07-26T15:25:45.209" v="84098"/>
          <ac:spMkLst>
            <pc:docMk/>
            <pc:sldMk cId="104396248" sldId="685"/>
            <ac:spMk id="49" creationId="{B52F5205-D085-4D15-971B-5152FD493546}"/>
          </ac:spMkLst>
        </pc:spChg>
        <pc:spChg chg="add del mod modVis">
          <ac:chgData name="Matthäus Alberding" userId="89cdd4c9-d044-4ab4-9e6f-8f065e0119c4" providerId="ADAL" clId="{B6745356-B6CF-45AA-ADCC-AC8F740A00DA}" dt="2022-07-26T15:26:01.920" v="84141"/>
          <ac:spMkLst>
            <pc:docMk/>
            <pc:sldMk cId="104396248" sldId="685"/>
            <ac:spMk id="50" creationId="{3A6C16DD-84F6-4E48-8D41-07C5A4248921}"/>
          </ac:spMkLst>
        </pc:spChg>
        <pc:spChg chg="add del mod modVis">
          <ac:chgData name="Matthäus Alberding" userId="89cdd4c9-d044-4ab4-9e6f-8f065e0119c4" providerId="ADAL" clId="{B6745356-B6CF-45AA-ADCC-AC8F740A00DA}" dt="2022-07-26T15:26:04.305" v="84186"/>
          <ac:spMkLst>
            <pc:docMk/>
            <pc:sldMk cId="104396248" sldId="685"/>
            <ac:spMk id="51" creationId="{BBBA90C7-1350-48E7-BF12-15A4939FC578}"/>
          </ac:spMkLst>
        </pc:spChg>
        <pc:spChg chg="add del mod modVis">
          <ac:chgData name="Matthäus Alberding" userId="89cdd4c9-d044-4ab4-9e6f-8f065e0119c4" providerId="ADAL" clId="{B6745356-B6CF-45AA-ADCC-AC8F740A00DA}" dt="2022-07-26T15:26:04.936" v="84230"/>
          <ac:spMkLst>
            <pc:docMk/>
            <pc:sldMk cId="104396248" sldId="685"/>
            <ac:spMk id="52" creationId="{2BFEC654-CB29-4DC6-8AF3-B906DC740797}"/>
          </ac:spMkLst>
        </pc:spChg>
        <pc:spChg chg="add del mod modVis">
          <ac:chgData name="Matthäus Alberding" userId="89cdd4c9-d044-4ab4-9e6f-8f065e0119c4" providerId="ADAL" clId="{B6745356-B6CF-45AA-ADCC-AC8F740A00DA}" dt="2022-07-26T15:26:08.763" v="84276"/>
          <ac:spMkLst>
            <pc:docMk/>
            <pc:sldMk cId="104396248" sldId="685"/>
            <ac:spMk id="53" creationId="{52D44AE3-CD46-4820-8923-D4BA0A324096}"/>
          </ac:spMkLst>
        </pc:spChg>
        <pc:spChg chg="add del mod modVis">
          <ac:chgData name="Matthäus Alberding" userId="89cdd4c9-d044-4ab4-9e6f-8f065e0119c4" providerId="ADAL" clId="{B6745356-B6CF-45AA-ADCC-AC8F740A00DA}" dt="2022-07-26T15:26:10.010" v="84320"/>
          <ac:spMkLst>
            <pc:docMk/>
            <pc:sldMk cId="104396248" sldId="685"/>
            <ac:spMk id="54" creationId="{D9065E60-B82E-42AD-B7A7-D0610A9A765A}"/>
          </ac:spMkLst>
        </pc:spChg>
        <pc:spChg chg="add del mod modVis">
          <ac:chgData name="Matthäus Alberding" userId="89cdd4c9-d044-4ab4-9e6f-8f065e0119c4" providerId="ADAL" clId="{B6745356-B6CF-45AA-ADCC-AC8F740A00DA}" dt="2022-07-26T15:26:10.597" v="84363"/>
          <ac:spMkLst>
            <pc:docMk/>
            <pc:sldMk cId="104396248" sldId="685"/>
            <ac:spMk id="55" creationId="{3B1BDEBA-3B8E-4D5F-831C-D0B518FB9C03}"/>
          </ac:spMkLst>
        </pc:spChg>
        <pc:spChg chg="add del mod modVis">
          <ac:chgData name="Matthäus Alberding" userId="89cdd4c9-d044-4ab4-9e6f-8f065e0119c4" providerId="ADAL" clId="{B6745356-B6CF-45AA-ADCC-AC8F740A00DA}" dt="2022-07-26T15:26:12.722" v="84408"/>
          <ac:spMkLst>
            <pc:docMk/>
            <pc:sldMk cId="104396248" sldId="685"/>
            <ac:spMk id="56" creationId="{E889AA09-08E1-4C8C-9624-A990ADE9C0D2}"/>
          </ac:spMkLst>
        </pc:spChg>
        <pc:spChg chg="add del mod modVis">
          <ac:chgData name="Matthäus Alberding" userId="89cdd4c9-d044-4ab4-9e6f-8f065e0119c4" providerId="ADAL" clId="{B6745356-B6CF-45AA-ADCC-AC8F740A00DA}" dt="2022-07-26T15:26:14.670" v="84456"/>
          <ac:spMkLst>
            <pc:docMk/>
            <pc:sldMk cId="104396248" sldId="685"/>
            <ac:spMk id="57" creationId="{36C27933-BBF9-4442-A9FB-497E3B585331}"/>
          </ac:spMkLst>
        </pc:spChg>
        <pc:spChg chg="add del mod modVis">
          <ac:chgData name="Matthäus Alberding" userId="89cdd4c9-d044-4ab4-9e6f-8f065e0119c4" providerId="ADAL" clId="{B6745356-B6CF-45AA-ADCC-AC8F740A00DA}" dt="2022-07-26T15:26:17.782" v="84507"/>
          <ac:spMkLst>
            <pc:docMk/>
            <pc:sldMk cId="104396248" sldId="685"/>
            <ac:spMk id="58" creationId="{40422FD7-D221-4018-825D-330DD3B052D4}"/>
          </ac:spMkLst>
        </pc:spChg>
        <pc:spChg chg="add del mod modVis">
          <ac:chgData name="Matthäus Alberding" userId="89cdd4c9-d044-4ab4-9e6f-8f065e0119c4" providerId="ADAL" clId="{B6745356-B6CF-45AA-ADCC-AC8F740A00DA}" dt="2022-07-26T15:26:18.439" v="84550"/>
          <ac:spMkLst>
            <pc:docMk/>
            <pc:sldMk cId="104396248" sldId="685"/>
            <ac:spMk id="59" creationId="{BCBDF2CB-1230-4B72-BE7F-4F4A995400FC}"/>
          </ac:spMkLst>
        </pc:spChg>
        <pc:spChg chg="add del mod modVis">
          <ac:chgData name="Matthäus Alberding" userId="89cdd4c9-d044-4ab4-9e6f-8f065e0119c4" providerId="ADAL" clId="{B6745356-B6CF-45AA-ADCC-AC8F740A00DA}" dt="2022-07-26T15:26:24.165" v="84594"/>
          <ac:spMkLst>
            <pc:docMk/>
            <pc:sldMk cId="104396248" sldId="685"/>
            <ac:spMk id="60" creationId="{B0F02F6F-F4E9-4380-92F5-AF8C150AFAA7}"/>
          </ac:spMkLst>
        </pc:spChg>
        <pc:spChg chg="add del mod modVis">
          <ac:chgData name="Matthäus Alberding" userId="89cdd4c9-d044-4ab4-9e6f-8f065e0119c4" providerId="ADAL" clId="{B6745356-B6CF-45AA-ADCC-AC8F740A00DA}" dt="2022-07-26T15:26:27.940" v="84644"/>
          <ac:spMkLst>
            <pc:docMk/>
            <pc:sldMk cId="104396248" sldId="685"/>
            <ac:spMk id="61" creationId="{5BA7C056-0FE1-4353-A073-6EFE41F3237C}"/>
          </ac:spMkLst>
        </pc:spChg>
        <pc:spChg chg="add del mod modVis">
          <ac:chgData name="Matthäus Alberding" userId="89cdd4c9-d044-4ab4-9e6f-8f065e0119c4" providerId="ADAL" clId="{B6745356-B6CF-45AA-ADCC-AC8F740A00DA}" dt="2022-07-26T15:26:30.837" v="84694"/>
          <ac:spMkLst>
            <pc:docMk/>
            <pc:sldMk cId="104396248" sldId="685"/>
            <ac:spMk id="62" creationId="{FD1A11E9-BE49-422A-A55F-D5054025B6D4}"/>
          </ac:spMkLst>
        </pc:spChg>
        <pc:spChg chg="add mod">
          <ac:chgData name="Matthäus Alberding" userId="89cdd4c9-d044-4ab4-9e6f-8f065e0119c4" providerId="ADAL" clId="{B6745356-B6CF-45AA-ADCC-AC8F740A00DA}" dt="2022-07-26T15:29:00.582" v="84777" actId="1076"/>
          <ac:spMkLst>
            <pc:docMk/>
            <pc:sldMk cId="104396248" sldId="685"/>
            <ac:spMk id="63" creationId="{4C068091-225C-406D-AEB4-34939E5AE0A6}"/>
          </ac:spMkLst>
        </pc:spChg>
        <pc:spChg chg="add mod">
          <ac:chgData name="Matthäus Alberding" userId="89cdd4c9-d044-4ab4-9e6f-8f065e0119c4" providerId="ADAL" clId="{B6745356-B6CF-45AA-ADCC-AC8F740A00DA}" dt="2022-07-26T15:29:05.555" v="84778" actId="1076"/>
          <ac:spMkLst>
            <pc:docMk/>
            <pc:sldMk cId="104396248" sldId="685"/>
            <ac:spMk id="66" creationId="{2348DD6D-E1B5-4D72-A0B0-977CEF44381D}"/>
          </ac:spMkLst>
        </pc:spChg>
        <pc:spChg chg="add del mod modVis">
          <ac:chgData name="Matthäus Alberding" userId="89cdd4c9-d044-4ab4-9e6f-8f065e0119c4" providerId="ADAL" clId="{B6745356-B6CF-45AA-ADCC-AC8F740A00DA}" dt="2022-07-26T15:29:47.388" v="85545" actId="962"/>
          <ac:spMkLst>
            <pc:docMk/>
            <pc:sldMk cId="104396248" sldId="685"/>
            <ac:spMk id="70" creationId="{7E054CC9-6F6B-4D5E-8942-5616E4A33D22}"/>
          </ac:spMkLst>
        </pc:spChg>
        <pc:spChg chg="add del mod modVis">
          <ac:chgData name="Matthäus Alberding" userId="89cdd4c9-d044-4ab4-9e6f-8f065e0119c4" providerId="ADAL" clId="{B6745356-B6CF-45AA-ADCC-AC8F740A00DA}" dt="2022-07-26T15:29:47.177" v="85501" actId="962"/>
          <ac:spMkLst>
            <pc:docMk/>
            <pc:sldMk cId="104396248" sldId="685"/>
            <ac:spMk id="71" creationId="{017E20A1-A1D0-432A-A4D1-31F8133BC590}"/>
          </ac:spMkLst>
        </pc:spChg>
        <pc:spChg chg="add del mod modVis">
          <ac:chgData name="Matthäus Alberding" userId="89cdd4c9-d044-4ab4-9e6f-8f065e0119c4" providerId="ADAL" clId="{B6745356-B6CF-45AA-ADCC-AC8F740A00DA}" dt="2022-07-26T15:29:46.995" v="85459" actId="962"/>
          <ac:spMkLst>
            <pc:docMk/>
            <pc:sldMk cId="104396248" sldId="685"/>
            <ac:spMk id="72" creationId="{2E92ED7E-7E64-4A88-8F1D-B9474A33FFFF}"/>
          </ac:spMkLst>
        </pc:spChg>
        <pc:spChg chg="add del mod modVis">
          <ac:chgData name="Matthäus Alberding" userId="89cdd4c9-d044-4ab4-9e6f-8f065e0119c4" providerId="ADAL" clId="{B6745356-B6CF-45AA-ADCC-AC8F740A00DA}" dt="2022-07-26T15:29:46.621" v="85416" actId="962"/>
          <ac:spMkLst>
            <pc:docMk/>
            <pc:sldMk cId="104396248" sldId="685"/>
            <ac:spMk id="73" creationId="{8C80E63B-B351-45C1-A846-A38ED2BAEEA6}"/>
          </ac:spMkLst>
        </pc:spChg>
        <pc:spChg chg="add del mod modVis">
          <ac:chgData name="Matthäus Alberding" userId="89cdd4c9-d044-4ab4-9e6f-8f065e0119c4" providerId="ADAL" clId="{B6745356-B6CF-45AA-ADCC-AC8F740A00DA}" dt="2022-07-26T15:29:46.425" v="85373" actId="962"/>
          <ac:spMkLst>
            <pc:docMk/>
            <pc:sldMk cId="104396248" sldId="685"/>
            <ac:spMk id="74" creationId="{89F4B8F3-0179-4EB9-B514-705C38F279AB}"/>
          </ac:spMkLst>
        </pc:spChg>
        <pc:spChg chg="add del mod modVis">
          <ac:chgData name="Matthäus Alberding" userId="89cdd4c9-d044-4ab4-9e6f-8f065e0119c4" providerId="ADAL" clId="{B6745356-B6CF-45AA-ADCC-AC8F740A00DA}" dt="2022-07-26T15:29:46.196" v="85331" actId="962"/>
          <ac:spMkLst>
            <pc:docMk/>
            <pc:sldMk cId="104396248" sldId="685"/>
            <ac:spMk id="75" creationId="{8BBF1000-5D97-4652-A897-5AAA97441566}"/>
          </ac:spMkLst>
        </pc:spChg>
        <pc:spChg chg="add del mod modVis">
          <ac:chgData name="Matthäus Alberding" userId="89cdd4c9-d044-4ab4-9e6f-8f065e0119c4" providerId="ADAL" clId="{B6745356-B6CF-45AA-ADCC-AC8F740A00DA}" dt="2022-07-26T15:29:46.045" v="85289" actId="962"/>
          <ac:spMkLst>
            <pc:docMk/>
            <pc:sldMk cId="104396248" sldId="685"/>
            <ac:spMk id="76" creationId="{ABADBC58-5CDD-4903-8106-15AF58783DDC}"/>
          </ac:spMkLst>
        </pc:spChg>
        <pc:spChg chg="add del mod modVis">
          <ac:chgData name="Matthäus Alberding" userId="89cdd4c9-d044-4ab4-9e6f-8f065e0119c4" providerId="ADAL" clId="{B6745356-B6CF-45AA-ADCC-AC8F740A00DA}" dt="2022-07-26T15:29:45.884" v="85247" actId="962"/>
          <ac:spMkLst>
            <pc:docMk/>
            <pc:sldMk cId="104396248" sldId="685"/>
            <ac:spMk id="77" creationId="{486F8E5E-17AC-4904-B2E9-6B6F967165B6}"/>
          </ac:spMkLst>
        </pc:spChg>
        <pc:spChg chg="add del mod modVis">
          <ac:chgData name="Matthäus Alberding" userId="89cdd4c9-d044-4ab4-9e6f-8f065e0119c4" providerId="ADAL" clId="{B6745356-B6CF-45AA-ADCC-AC8F740A00DA}" dt="2022-07-26T15:30:09.542" v="85591"/>
          <ac:spMkLst>
            <pc:docMk/>
            <pc:sldMk cId="104396248" sldId="685"/>
            <ac:spMk id="78" creationId="{8E191043-261A-4174-ABBF-FD6D44F5B1DC}"/>
          </ac:spMkLst>
        </pc:spChg>
        <pc:spChg chg="add del mod modVis">
          <ac:chgData name="Matthäus Alberding" userId="89cdd4c9-d044-4ab4-9e6f-8f065e0119c4" providerId="ADAL" clId="{B6745356-B6CF-45AA-ADCC-AC8F740A00DA}" dt="2022-07-26T15:30:12.054" v="85648"/>
          <ac:spMkLst>
            <pc:docMk/>
            <pc:sldMk cId="104396248" sldId="685"/>
            <ac:spMk id="79" creationId="{3BA5945D-0C87-4038-9BDE-A3962CF2F710}"/>
          </ac:spMkLst>
        </pc:spChg>
        <pc:spChg chg="add del mod modVis">
          <ac:chgData name="Matthäus Alberding" userId="89cdd4c9-d044-4ab4-9e6f-8f065e0119c4" providerId="ADAL" clId="{B6745356-B6CF-45AA-ADCC-AC8F740A00DA}" dt="2022-07-26T15:30:16.267" v="85718"/>
          <ac:spMkLst>
            <pc:docMk/>
            <pc:sldMk cId="104396248" sldId="685"/>
            <ac:spMk id="80" creationId="{4810938A-3524-4E3B-8597-8E59E38EB2F6}"/>
          </ac:spMkLst>
        </pc:spChg>
        <pc:spChg chg="add del mod modVis">
          <ac:chgData name="Matthäus Alberding" userId="89cdd4c9-d044-4ab4-9e6f-8f065e0119c4" providerId="ADAL" clId="{B6745356-B6CF-45AA-ADCC-AC8F740A00DA}" dt="2022-07-26T15:30:17.891" v="85767"/>
          <ac:spMkLst>
            <pc:docMk/>
            <pc:sldMk cId="104396248" sldId="685"/>
            <ac:spMk id="81" creationId="{DF31FA06-A99C-47DA-A02E-66FDDCCA27C8}"/>
          </ac:spMkLst>
        </pc:spChg>
        <pc:spChg chg="add del mod modVis">
          <ac:chgData name="Matthäus Alberding" userId="89cdd4c9-d044-4ab4-9e6f-8f065e0119c4" providerId="ADAL" clId="{B6745356-B6CF-45AA-ADCC-AC8F740A00DA}" dt="2022-07-26T15:30:18.983" v="85812"/>
          <ac:spMkLst>
            <pc:docMk/>
            <pc:sldMk cId="104396248" sldId="685"/>
            <ac:spMk id="82" creationId="{AF37E03C-CD0C-4F72-8E46-DF0A19818AFF}"/>
          </ac:spMkLst>
        </pc:spChg>
        <pc:spChg chg="add del mod modVis">
          <ac:chgData name="Matthäus Alberding" userId="89cdd4c9-d044-4ab4-9e6f-8f065e0119c4" providerId="ADAL" clId="{B6745356-B6CF-45AA-ADCC-AC8F740A00DA}" dt="2022-07-26T15:30:23.896" v="85881"/>
          <ac:spMkLst>
            <pc:docMk/>
            <pc:sldMk cId="104396248" sldId="685"/>
            <ac:spMk id="83" creationId="{052DEBD1-DF5E-4554-A735-B4DCAF599DD4}"/>
          </ac:spMkLst>
        </pc:spChg>
        <pc:spChg chg="add del mod modVis">
          <ac:chgData name="Matthäus Alberding" userId="89cdd4c9-d044-4ab4-9e6f-8f065e0119c4" providerId="ADAL" clId="{B6745356-B6CF-45AA-ADCC-AC8F740A00DA}" dt="2022-07-26T15:30:25.277" v="85924"/>
          <ac:spMkLst>
            <pc:docMk/>
            <pc:sldMk cId="104396248" sldId="685"/>
            <ac:spMk id="84" creationId="{40F44ED1-627C-4296-8925-F53424951D58}"/>
          </ac:spMkLst>
        </pc:spChg>
        <pc:spChg chg="add del mod modVis">
          <ac:chgData name="Matthäus Alberding" userId="89cdd4c9-d044-4ab4-9e6f-8f065e0119c4" providerId="ADAL" clId="{B6745356-B6CF-45AA-ADCC-AC8F740A00DA}" dt="2022-07-26T15:30:25.974" v="85968"/>
          <ac:spMkLst>
            <pc:docMk/>
            <pc:sldMk cId="104396248" sldId="685"/>
            <ac:spMk id="85" creationId="{80B6670E-902C-4D58-8222-DC94D6B6F0C0}"/>
          </ac:spMkLst>
        </pc:spChg>
        <pc:spChg chg="add del mod modVis">
          <ac:chgData name="Matthäus Alberding" userId="89cdd4c9-d044-4ab4-9e6f-8f065e0119c4" providerId="ADAL" clId="{B6745356-B6CF-45AA-ADCC-AC8F740A00DA}" dt="2022-07-26T15:30:27.095" v="86011"/>
          <ac:spMkLst>
            <pc:docMk/>
            <pc:sldMk cId="104396248" sldId="685"/>
            <ac:spMk id="86" creationId="{280BA4AA-88AC-44EF-AD5E-AB6C52460FC7}"/>
          </ac:spMkLst>
        </pc:spChg>
        <pc:spChg chg="add del mod modVis">
          <ac:chgData name="Matthäus Alberding" userId="89cdd4c9-d044-4ab4-9e6f-8f065e0119c4" providerId="ADAL" clId="{B6745356-B6CF-45AA-ADCC-AC8F740A00DA}" dt="2022-07-26T15:30:28.562" v="86054"/>
          <ac:spMkLst>
            <pc:docMk/>
            <pc:sldMk cId="104396248" sldId="685"/>
            <ac:spMk id="87" creationId="{10AEDE3A-4124-4245-9E80-537858781CAE}"/>
          </ac:spMkLst>
        </pc:spChg>
        <pc:spChg chg="add del mod modVis">
          <ac:chgData name="Matthäus Alberding" userId="89cdd4c9-d044-4ab4-9e6f-8f065e0119c4" providerId="ADAL" clId="{B6745356-B6CF-45AA-ADCC-AC8F740A00DA}" dt="2022-07-26T15:30:30.513" v="86109"/>
          <ac:spMkLst>
            <pc:docMk/>
            <pc:sldMk cId="104396248" sldId="685"/>
            <ac:spMk id="88" creationId="{8D7E6F89-E008-4D6D-9EF8-E5B9D3DDAE5D}"/>
          </ac:spMkLst>
        </pc:spChg>
        <pc:spChg chg="add del mod modVis">
          <ac:chgData name="Matthäus Alberding" userId="89cdd4c9-d044-4ab4-9e6f-8f065e0119c4" providerId="ADAL" clId="{B6745356-B6CF-45AA-ADCC-AC8F740A00DA}" dt="2022-07-26T15:30:31.460" v="86152"/>
          <ac:spMkLst>
            <pc:docMk/>
            <pc:sldMk cId="104396248" sldId="685"/>
            <ac:spMk id="89" creationId="{00060717-2B88-484D-983D-DB654A3020C9}"/>
          </ac:spMkLst>
        </pc:spChg>
        <pc:spChg chg="add del mod modVis">
          <ac:chgData name="Matthäus Alberding" userId="89cdd4c9-d044-4ab4-9e6f-8f065e0119c4" providerId="ADAL" clId="{B6745356-B6CF-45AA-ADCC-AC8F740A00DA}" dt="2022-07-26T15:30:46.331" v="86196"/>
          <ac:spMkLst>
            <pc:docMk/>
            <pc:sldMk cId="104396248" sldId="685"/>
            <ac:spMk id="90" creationId="{03CF9911-B52C-436B-93EB-849EB1D94155}"/>
          </ac:spMkLst>
        </pc:spChg>
        <pc:spChg chg="add del mod modVis">
          <ac:chgData name="Matthäus Alberding" userId="89cdd4c9-d044-4ab4-9e6f-8f065e0119c4" providerId="ADAL" clId="{B6745356-B6CF-45AA-ADCC-AC8F740A00DA}" dt="2022-07-26T15:30:55.364" v="86240"/>
          <ac:spMkLst>
            <pc:docMk/>
            <pc:sldMk cId="104396248" sldId="685"/>
            <ac:spMk id="91" creationId="{0E20108F-8856-46B3-A965-694744F06CA1}"/>
          </ac:spMkLst>
        </pc:spChg>
        <pc:spChg chg="add del mod modVis">
          <ac:chgData name="Matthäus Alberding" userId="89cdd4c9-d044-4ab4-9e6f-8f065e0119c4" providerId="ADAL" clId="{B6745356-B6CF-45AA-ADCC-AC8F740A00DA}" dt="2022-07-26T15:33:07.454" v="86379"/>
          <ac:spMkLst>
            <pc:docMk/>
            <pc:sldMk cId="104396248" sldId="685"/>
            <ac:spMk id="92" creationId="{2970EE83-F8DB-492B-8239-D82AA2011AA8}"/>
          </ac:spMkLst>
        </pc:spChg>
        <pc:spChg chg="add del mod modVis">
          <ac:chgData name="Matthäus Alberding" userId="89cdd4c9-d044-4ab4-9e6f-8f065e0119c4" providerId="ADAL" clId="{B6745356-B6CF-45AA-ADCC-AC8F740A00DA}" dt="2022-07-26T15:33:49.739" v="86427"/>
          <ac:spMkLst>
            <pc:docMk/>
            <pc:sldMk cId="104396248" sldId="685"/>
            <ac:spMk id="93" creationId="{747A5F02-2FCF-4003-8019-A5D1779A1B69}"/>
          </ac:spMkLst>
        </pc:spChg>
        <pc:graphicFrameChg chg="mod">
          <ac:chgData name="Matthäus Alberding" userId="89cdd4c9-d044-4ab4-9e6f-8f065e0119c4" providerId="ADAL" clId="{B6745356-B6CF-45AA-ADCC-AC8F740A00DA}" dt="2022-07-27T06:32:49.636" v="95108"/>
          <ac:graphicFrameMkLst>
            <pc:docMk/>
            <pc:sldMk cId="104396248" sldId="685"/>
            <ac:graphicFrameMk id="6" creationId="{17619F4C-4BEA-471F-B7B0-623407C2C224}"/>
          </ac:graphicFrameMkLst>
        </pc:graphicFrameChg>
        <pc:cxnChg chg="add mod">
          <ac:chgData name="Matthäus Alberding" userId="89cdd4c9-d044-4ab4-9e6f-8f065e0119c4" providerId="ADAL" clId="{B6745356-B6CF-45AA-ADCC-AC8F740A00DA}" dt="2022-07-26T15:27:32.569" v="84752" actId="14100"/>
          <ac:cxnSpMkLst>
            <pc:docMk/>
            <pc:sldMk cId="104396248" sldId="685"/>
            <ac:cxnSpMk id="17" creationId="{CA55A27B-4D05-438F-82B3-205223C19789}"/>
          </ac:cxnSpMkLst>
        </pc:cxnChg>
        <pc:cxnChg chg="add mod">
          <ac:chgData name="Matthäus Alberding" userId="89cdd4c9-d044-4ab4-9e6f-8f065e0119c4" providerId="ADAL" clId="{B6745356-B6CF-45AA-ADCC-AC8F740A00DA}" dt="2022-07-26T15:21:42.758" v="82484" actId="1076"/>
          <ac:cxnSpMkLst>
            <pc:docMk/>
            <pc:sldMk cId="104396248" sldId="685"/>
            <ac:cxnSpMk id="20" creationId="{B2C5CDAD-C659-47D7-A749-98695E9190E6}"/>
          </ac:cxnSpMkLst>
        </pc:cxnChg>
        <pc:cxnChg chg="add mod">
          <ac:chgData name="Matthäus Alberding" userId="89cdd4c9-d044-4ab4-9e6f-8f065e0119c4" providerId="ADAL" clId="{B6745356-B6CF-45AA-ADCC-AC8F740A00DA}" dt="2022-07-26T15:21:42.758" v="82484" actId="1076"/>
          <ac:cxnSpMkLst>
            <pc:docMk/>
            <pc:sldMk cId="104396248" sldId="685"/>
            <ac:cxnSpMk id="21" creationId="{C78A54F4-13FC-43C3-B531-DD87C0FAB686}"/>
          </ac:cxnSpMkLst>
        </pc:cxnChg>
        <pc:cxnChg chg="add mod">
          <ac:chgData name="Matthäus Alberding" userId="89cdd4c9-d044-4ab4-9e6f-8f065e0119c4" providerId="ADAL" clId="{B6745356-B6CF-45AA-ADCC-AC8F740A00DA}" dt="2022-07-26T15:29:07.490" v="84779" actId="14100"/>
          <ac:cxnSpMkLst>
            <pc:docMk/>
            <pc:sldMk cId="104396248" sldId="685"/>
            <ac:cxnSpMk id="67" creationId="{DCAD5726-3866-4728-817F-951229C09F09}"/>
          </ac:cxnSpMkLst>
        </pc:cxnChg>
      </pc:sldChg>
      <pc:sldChg chg="addSp delSp modSp add mod ord modTransition modShow">
        <pc:chgData name="Matthäus Alberding" userId="89cdd4c9-d044-4ab4-9e6f-8f065e0119c4" providerId="ADAL" clId="{B6745356-B6CF-45AA-ADCC-AC8F740A00DA}" dt="2022-07-21T17:44:47.623" v="35619"/>
        <pc:sldMkLst>
          <pc:docMk/>
          <pc:sldMk cId="2899816649" sldId="686"/>
        </pc:sldMkLst>
        <pc:spChg chg="add del mod modVis">
          <ac:chgData name="Matthäus Alberding" userId="89cdd4c9-d044-4ab4-9e6f-8f065e0119c4" providerId="ADAL" clId="{B6745356-B6CF-45AA-ADCC-AC8F740A00DA}" dt="2022-07-21T16:07:46.886" v="27894"/>
          <ac:spMkLst>
            <pc:docMk/>
            <pc:sldMk cId="2899816649" sldId="686"/>
            <ac:spMk id="4" creationId="{EB0D9219-7793-4234-92C0-7B47C845D913}"/>
          </ac:spMkLst>
        </pc:spChg>
        <pc:spChg chg="del">
          <ac:chgData name="Matthäus Alberding" userId="89cdd4c9-d044-4ab4-9e6f-8f065e0119c4" providerId="ADAL" clId="{B6745356-B6CF-45AA-ADCC-AC8F740A00DA}" dt="2022-07-21T16:07:41.532" v="27846" actId="478"/>
          <ac:spMkLst>
            <pc:docMk/>
            <pc:sldMk cId="2899816649" sldId="686"/>
            <ac:spMk id="7" creationId="{D0EB53E4-2DEF-4227-9E70-8D414011A0B1}"/>
          </ac:spMkLst>
        </pc:spChg>
        <pc:spChg chg="mod">
          <ac:chgData name="Matthäus Alberding" userId="89cdd4c9-d044-4ab4-9e6f-8f065e0119c4" providerId="ADAL" clId="{B6745356-B6CF-45AA-ADCC-AC8F740A00DA}" dt="2022-07-21T17:44:45.024" v="35576" actId="948"/>
          <ac:spMkLst>
            <pc:docMk/>
            <pc:sldMk cId="2899816649" sldId="686"/>
            <ac:spMk id="8" creationId="{E636D16C-7382-4A28-BE63-5DBBEE2B7662}"/>
          </ac:spMkLst>
        </pc:spChg>
        <pc:spChg chg="del">
          <ac:chgData name="Matthäus Alberding" userId="89cdd4c9-d044-4ab4-9e6f-8f065e0119c4" providerId="ADAL" clId="{B6745356-B6CF-45AA-ADCC-AC8F740A00DA}" dt="2022-07-21T16:07:41.532" v="27846" actId="478"/>
          <ac:spMkLst>
            <pc:docMk/>
            <pc:sldMk cId="2899816649" sldId="686"/>
            <ac:spMk id="9" creationId="{20B17745-8561-4BD4-BD10-92FCDB602F44}"/>
          </ac:spMkLst>
        </pc:spChg>
        <pc:spChg chg="del">
          <ac:chgData name="Matthäus Alberding" userId="89cdd4c9-d044-4ab4-9e6f-8f065e0119c4" providerId="ADAL" clId="{B6745356-B6CF-45AA-ADCC-AC8F740A00DA}" dt="2022-07-21T16:07:41.532" v="27846" actId="478"/>
          <ac:spMkLst>
            <pc:docMk/>
            <pc:sldMk cId="2899816649" sldId="686"/>
            <ac:spMk id="10" creationId="{86D28C4C-D92D-4B98-9C99-5D3991874E9D}"/>
          </ac:spMkLst>
        </pc:spChg>
        <pc:spChg chg="add del">
          <ac:chgData name="Matthäus Alberding" userId="89cdd4c9-d044-4ab4-9e6f-8f065e0119c4" providerId="ADAL" clId="{B6745356-B6CF-45AA-ADCC-AC8F740A00DA}" dt="2022-07-21T16:09:07.629" v="29032" actId="478"/>
          <ac:spMkLst>
            <pc:docMk/>
            <pc:sldMk cId="2899816649" sldId="686"/>
            <ac:spMk id="11" creationId="{88C0A350-0D21-45DD-A9DD-B93A0E2245A6}"/>
          </ac:spMkLst>
        </pc:spChg>
        <pc:spChg chg="add del">
          <ac:chgData name="Matthäus Alberding" userId="89cdd4c9-d044-4ab4-9e6f-8f065e0119c4" providerId="ADAL" clId="{B6745356-B6CF-45AA-ADCC-AC8F740A00DA}" dt="2022-07-21T17:33:52.246" v="33322" actId="478"/>
          <ac:spMkLst>
            <pc:docMk/>
            <pc:sldMk cId="2899816649" sldId="686"/>
            <ac:spMk id="12" creationId="{E4B1E14A-5901-4FB3-8E23-834A2430DBF3}"/>
          </ac:spMkLst>
        </pc:spChg>
        <pc:spChg chg="add del">
          <ac:chgData name="Matthäus Alberding" userId="89cdd4c9-d044-4ab4-9e6f-8f065e0119c4" providerId="ADAL" clId="{B6745356-B6CF-45AA-ADCC-AC8F740A00DA}" dt="2022-07-21T16:09:08.769" v="29033" actId="478"/>
          <ac:spMkLst>
            <pc:docMk/>
            <pc:sldMk cId="2899816649" sldId="686"/>
            <ac:spMk id="13" creationId="{507CBCE2-04B9-4E13-A63A-4155E16F3E33}"/>
          </ac:spMkLst>
        </pc:spChg>
        <pc:spChg chg="del">
          <ac:chgData name="Matthäus Alberding" userId="89cdd4c9-d044-4ab4-9e6f-8f065e0119c4" providerId="ADAL" clId="{B6745356-B6CF-45AA-ADCC-AC8F740A00DA}" dt="2022-07-21T16:07:41.532" v="27846" actId="478"/>
          <ac:spMkLst>
            <pc:docMk/>
            <pc:sldMk cId="2899816649" sldId="686"/>
            <ac:spMk id="14" creationId="{A8023DA7-4D3D-471C-A837-7C81E1DA9F65}"/>
          </ac:spMkLst>
        </pc:spChg>
        <pc:spChg chg="del">
          <ac:chgData name="Matthäus Alberding" userId="89cdd4c9-d044-4ab4-9e6f-8f065e0119c4" providerId="ADAL" clId="{B6745356-B6CF-45AA-ADCC-AC8F740A00DA}" dt="2022-07-21T16:07:41.532" v="27846" actId="478"/>
          <ac:spMkLst>
            <pc:docMk/>
            <pc:sldMk cId="2899816649" sldId="686"/>
            <ac:spMk id="15" creationId="{3F958D45-2794-4CB2-811C-FD582AD849BF}"/>
          </ac:spMkLst>
        </pc:spChg>
        <pc:spChg chg="add del">
          <ac:chgData name="Matthäus Alberding" userId="89cdd4c9-d044-4ab4-9e6f-8f065e0119c4" providerId="ADAL" clId="{B6745356-B6CF-45AA-ADCC-AC8F740A00DA}" dt="2022-07-21T17:33:55.004" v="33323" actId="478"/>
          <ac:spMkLst>
            <pc:docMk/>
            <pc:sldMk cId="2899816649" sldId="686"/>
            <ac:spMk id="16" creationId="{7896C66C-7DB0-4E75-A090-E1F7E238E0F0}"/>
          </ac:spMkLst>
        </pc:spChg>
        <pc:spChg chg="add del">
          <ac:chgData name="Matthäus Alberding" userId="89cdd4c9-d044-4ab4-9e6f-8f065e0119c4" providerId="ADAL" clId="{B6745356-B6CF-45AA-ADCC-AC8F740A00DA}" dt="2022-07-21T16:09:10.304" v="29034" actId="478"/>
          <ac:spMkLst>
            <pc:docMk/>
            <pc:sldMk cId="2899816649" sldId="686"/>
            <ac:spMk id="17" creationId="{6FE544C2-0180-449A-8DD4-3B3CC08F396D}"/>
          </ac:spMkLst>
        </pc:spChg>
        <pc:spChg chg="add del mod modVis">
          <ac:chgData name="Matthäus Alberding" userId="89cdd4c9-d044-4ab4-9e6f-8f065e0119c4" providerId="ADAL" clId="{B6745356-B6CF-45AA-ADCC-AC8F740A00DA}" dt="2022-07-21T16:07:48.126" v="27940"/>
          <ac:spMkLst>
            <pc:docMk/>
            <pc:sldMk cId="2899816649" sldId="686"/>
            <ac:spMk id="18" creationId="{F592517B-C2EB-4BC0-B9C5-EAA48895EB65}"/>
          </ac:spMkLst>
        </pc:spChg>
        <pc:spChg chg="add del mod modVis">
          <ac:chgData name="Matthäus Alberding" userId="89cdd4c9-d044-4ab4-9e6f-8f065e0119c4" providerId="ADAL" clId="{B6745356-B6CF-45AA-ADCC-AC8F740A00DA}" dt="2022-07-21T16:07:52.410" v="28007"/>
          <ac:spMkLst>
            <pc:docMk/>
            <pc:sldMk cId="2899816649" sldId="686"/>
            <ac:spMk id="19" creationId="{741D620B-80CE-49C5-A475-EF84338433DE}"/>
          </ac:spMkLst>
        </pc:spChg>
        <pc:spChg chg="add del mod modVis">
          <ac:chgData name="Matthäus Alberding" userId="89cdd4c9-d044-4ab4-9e6f-8f065e0119c4" providerId="ADAL" clId="{B6745356-B6CF-45AA-ADCC-AC8F740A00DA}" dt="2022-07-21T16:07:56.210" v="28080"/>
          <ac:spMkLst>
            <pc:docMk/>
            <pc:sldMk cId="2899816649" sldId="686"/>
            <ac:spMk id="20" creationId="{29BB800E-EA2C-478A-8997-F0DE39CE2B70}"/>
          </ac:spMkLst>
        </pc:spChg>
        <pc:spChg chg="add del mod modVis">
          <ac:chgData name="Matthäus Alberding" userId="89cdd4c9-d044-4ab4-9e6f-8f065e0119c4" providerId="ADAL" clId="{B6745356-B6CF-45AA-ADCC-AC8F740A00DA}" dt="2022-07-21T16:08:01.022" v="28153"/>
          <ac:spMkLst>
            <pc:docMk/>
            <pc:sldMk cId="2899816649" sldId="686"/>
            <ac:spMk id="21" creationId="{9C0661B7-9FE8-4B3B-A90F-1374D0012B75}"/>
          </ac:spMkLst>
        </pc:spChg>
        <pc:spChg chg="add del mod modVis">
          <ac:chgData name="Matthäus Alberding" userId="89cdd4c9-d044-4ab4-9e6f-8f065e0119c4" providerId="ADAL" clId="{B6745356-B6CF-45AA-ADCC-AC8F740A00DA}" dt="2022-07-21T16:08:04.040" v="28206"/>
          <ac:spMkLst>
            <pc:docMk/>
            <pc:sldMk cId="2899816649" sldId="686"/>
            <ac:spMk id="22" creationId="{C058E818-267C-4C4A-8978-3D1256E97366}"/>
          </ac:spMkLst>
        </pc:spChg>
        <pc:spChg chg="add del mod modVis">
          <ac:chgData name="Matthäus Alberding" userId="89cdd4c9-d044-4ab4-9e6f-8f065e0119c4" providerId="ADAL" clId="{B6745356-B6CF-45AA-ADCC-AC8F740A00DA}" dt="2022-07-21T16:08:05.494" v="28253"/>
          <ac:spMkLst>
            <pc:docMk/>
            <pc:sldMk cId="2899816649" sldId="686"/>
            <ac:spMk id="23" creationId="{54B8FFF7-6718-4F33-B831-A264AE0A0BBF}"/>
          </ac:spMkLst>
        </pc:spChg>
        <pc:spChg chg="add del mod modVis">
          <ac:chgData name="Matthäus Alberding" userId="89cdd4c9-d044-4ab4-9e6f-8f065e0119c4" providerId="ADAL" clId="{B6745356-B6CF-45AA-ADCC-AC8F740A00DA}" dt="2022-07-21T16:08:10.626" v="28313"/>
          <ac:spMkLst>
            <pc:docMk/>
            <pc:sldMk cId="2899816649" sldId="686"/>
            <ac:spMk id="24" creationId="{B9700C53-5384-4F16-9BBA-53AF5FC70267}"/>
          </ac:spMkLst>
        </pc:spChg>
        <pc:spChg chg="add del mod modVis">
          <ac:chgData name="Matthäus Alberding" userId="89cdd4c9-d044-4ab4-9e6f-8f065e0119c4" providerId="ADAL" clId="{B6745356-B6CF-45AA-ADCC-AC8F740A00DA}" dt="2022-07-21T16:08:11.896" v="28356"/>
          <ac:spMkLst>
            <pc:docMk/>
            <pc:sldMk cId="2899816649" sldId="686"/>
            <ac:spMk id="25" creationId="{A0FB024F-2139-496D-AA3F-C925D7815818}"/>
          </ac:spMkLst>
        </pc:spChg>
        <pc:spChg chg="add del mod modVis">
          <ac:chgData name="Matthäus Alberding" userId="89cdd4c9-d044-4ab4-9e6f-8f065e0119c4" providerId="ADAL" clId="{B6745356-B6CF-45AA-ADCC-AC8F740A00DA}" dt="2022-07-21T16:08:15.916" v="28433"/>
          <ac:spMkLst>
            <pc:docMk/>
            <pc:sldMk cId="2899816649" sldId="686"/>
            <ac:spMk id="26" creationId="{A4CBF3DC-17C8-4BEF-B51E-F98FCE49AD4A}"/>
          </ac:spMkLst>
        </pc:spChg>
        <pc:spChg chg="add del mod modVis">
          <ac:chgData name="Matthäus Alberding" userId="89cdd4c9-d044-4ab4-9e6f-8f065e0119c4" providerId="ADAL" clId="{B6745356-B6CF-45AA-ADCC-AC8F740A00DA}" dt="2022-07-21T16:08:17.343" v="28483"/>
          <ac:spMkLst>
            <pc:docMk/>
            <pc:sldMk cId="2899816649" sldId="686"/>
            <ac:spMk id="27" creationId="{7E8283A2-0581-4976-9840-49FC324EC03A}"/>
          </ac:spMkLst>
        </pc:spChg>
        <pc:spChg chg="add del mod modVis">
          <ac:chgData name="Matthäus Alberding" userId="89cdd4c9-d044-4ab4-9e6f-8f065e0119c4" providerId="ADAL" clId="{B6745356-B6CF-45AA-ADCC-AC8F740A00DA}" dt="2022-07-21T16:08:18.774" v="28529"/>
          <ac:spMkLst>
            <pc:docMk/>
            <pc:sldMk cId="2899816649" sldId="686"/>
            <ac:spMk id="28" creationId="{F59481AE-B1A8-4EB2-9146-6D4D52BB67F3}"/>
          </ac:spMkLst>
        </pc:spChg>
        <pc:spChg chg="add del mod modVis">
          <ac:chgData name="Matthäus Alberding" userId="89cdd4c9-d044-4ab4-9e6f-8f065e0119c4" providerId="ADAL" clId="{B6745356-B6CF-45AA-ADCC-AC8F740A00DA}" dt="2022-07-21T16:08:21.062" v="28583"/>
          <ac:spMkLst>
            <pc:docMk/>
            <pc:sldMk cId="2899816649" sldId="686"/>
            <ac:spMk id="29" creationId="{04536D6D-9B59-4D9B-8618-22AB3FBC9EF4}"/>
          </ac:spMkLst>
        </pc:spChg>
        <pc:spChg chg="add del mod modVis">
          <ac:chgData name="Matthäus Alberding" userId="89cdd4c9-d044-4ab4-9e6f-8f065e0119c4" providerId="ADAL" clId="{B6745356-B6CF-45AA-ADCC-AC8F740A00DA}" dt="2022-07-21T16:08:24.522" v="28629"/>
          <ac:spMkLst>
            <pc:docMk/>
            <pc:sldMk cId="2899816649" sldId="686"/>
            <ac:spMk id="30" creationId="{4FAF8969-6999-4FF6-B8ED-959F0DDF96BE}"/>
          </ac:spMkLst>
        </pc:spChg>
        <pc:spChg chg="add del mod modVis">
          <ac:chgData name="Matthäus Alberding" userId="89cdd4c9-d044-4ab4-9e6f-8f065e0119c4" providerId="ADAL" clId="{B6745356-B6CF-45AA-ADCC-AC8F740A00DA}" dt="2022-07-21T16:08:25.329" v="28675"/>
          <ac:spMkLst>
            <pc:docMk/>
            <pc:sldMk cId="2899816649" sldId="686"/>
            <ac:spMk id="31" creationId="{5B416C0C-A362-4A58-B850-8199A2BE7DEE}"/>
          </ac:spMkLst>
        </pc:spChg>
        <pc:spChg chg="add del mod modVis">
          <ac:chgData name="Matthäus Alberding" userId="89cdd4c9-d044-4ab4-9e6f-8f065e0119c4" providerId="ADAL" clId="{B6745356-B6CF-45AA-ADCC-AC8F740A00DA}" dt="2022-07-21T16:08:28.943" v="28737"/>
          <ac:spMkLst>
            <pc:docMk/>
            <pc:sldMk cId="2899816649" sldId="686"/>
            <ac:spMk id="32" creationId="{E1B9CC8F-EFCF-4155-A080-DABC0323649B}"/>
          </ac:spMkLst>
        </pc:spChg>
        <pc:spChg chg="add del mod modVis">
          <ac:chgData name="Matthäus Alberding" userId="89cdd4c9-d044-4ab4-9e6f-8f065e0119c4" providerId="ADAL" clId="{B6745356-B6CF-45AA-ADCC-AC8F740A00DA}" dt="2022-07-21T16:08:30.774" v="28788"/>
          <ac:spMkLst>
            <pc:docMk/>
            <pc:sldMk cId="2899816649" sldId="686"/>
            <ac:spMk id="33" creationId="{0884A5D0-A17C-466F-89AE-0130603433D8}"/>
          </ac:spMkLst>
        </pc:spChg>
        <pc:spChg chg="add del mod modVis">
          <ac:chgData name="Matthäus Alberding" userId="89cdd4c9-d044-4ab4-9e6f-8f065e0119c4" providerId="ADAL" clId="{B6745356-B6CF-45AA-ADCC-AC8F740A00DA}" dt="2022-07-21T16:08:32.760" v="28840"/>
          <ac:spMkLst>
            <pc:docMk/>
            <pc:sldMk cId="2899816649" sldId="686"/>
            <ac:spMk id="34" creationId="{85F28700-8BB7-4972-91DC-8A7A59D2FC1C}"/>
          </ac:spMkLst>
        </pc:spChg>
        <pc:spChg chg="add del mod modVis">
          <ac:chgData name="Matthäus Alberding" userId="89cdd4c9-d044-4ab4-9e6f-8f065e0119c4" providerId="ADAL" clId="{B6745356-B6CF-45AA-ADCC-AC8F740A00DA}" dt="2022-07-21T16:09:01.642" v="28897"/>
          <ac:spMkLst>
            <pc:docMk/>
            <pc:sldMk cId="2899816649" sldId="686"/>
            <ac:spMk id="35" creationId="{9FE523DB-4F78-4C9C-8FD6-94762EB5BE7F}"/>
          </ac:spMkLst>
        </pc:spChg>
        <pc:spChg chg="add del mod modVis">
          <ac:chgData name="Matthäus Alberding" userId="89cdd4c9-d044-4ab4-9e6f-8f065e0119c4" providerId="ADAL" clId="{B6745356-B6CF-45AA-ADCC-AC8F740A00DA}" dt="2022-07-21T16:09:02.398" v="28941"/>
          <ac:spMkLst>
            <pc:docMk/>
            <pc:sldMk cId="2899816649" sldId="686"/>
            <ac:spMk id="36" creationId="{2338900F-3271-4FC8-B51B-415CE80AEA87}"/>
          </ac:spMkLst>
        </pc:spChg>
        <pc:spChg chg="add del mod modVis">
          <ac:chgData name="Matthäus Alberding" userId="89cdd4c9-d044-4ab4-9e6f-8f065e0119c4" providerId="ADAL" clId="{B6745356-B6CF-45AA-ADCC-AC8F740A00DA}" dt="2022-07-21T16:09:03.730" v="28985"/>
          <ac:spMkLst>
            <pc:docMk/>
            <pc:sldMk cId="2899816649" sldId="686"/>
            <ac:spMk id="37" creationId="{358776D9-952E-4C65-9905-66E0CEADB2D3}"/>
          </ac:spMkLst>
        </pc:spChg>
        <pc:spChg chg="add del mod modVis">
          <ac:chgData name="Matthäus Alberding" userId="89cdd4c9-d044-4ab4-9e6f-8f065e0119c4" providerId="ADAL" clId="{B6745356-B6CF-45AA-ADCC-AC8F740A00DA}" dt="2022-07-21T17:29:17.428" v="33269"/>
          <ac:spMkLst>
            <pc:docMk/>
            <pc:sldMk cId="2899816649" sldId="686"/>
            <ac:spMk id="38" creationId="{19401248-4467-486F-B623-1D967283DA6F}"/>
          </ac:spMkLst>
        </pc:spChg>
        <pc:spChg chg="add del mod modVis">
          <ac:chgData name="Matthäus Alberding" userId="89cdd4c9-d044-4ab4-9e6f-8f065e0119c4" providerId="ADAL" clId="{B6745356-B6CF-45AA-ADCC-AC8F740A00DA}" dt="2022-07-21T17:29:18.834" v="33319"/>
          <ac:spMkLst>
            <pc:docMk/>
            <pc:sldMk cId="2899816649" sldId="686"/>
            <ac:spMk id="39" creationId="{DFC6B38A-3862-4BB7-971D-A58ED596D205}"/>
          </ac:spMkLst>
        </pc:spChg>
        <pc:spChg chg="add mod">
          <ac:chgData name="Matthäus Alberding" userId="89cdd4c9-d044-4ab4-9e6f-8f065e0119c4" providerId="ADAL" clId="{B6745356-B6CF-45AA-ADCC-AC8F740A00DA}" dt="2022-07-21T17:37:50.855" v="34026" actId="14100"/>
          <ac:spMkLst>
            <pc:docMk/>
            <pc:sldMk cId="2899816649" sldId="686"/>
            <ac:spMk id="41" creationId="{FA9A4904-B30F-4721-9F77-6082C561486B}"/>
          </ac:spMkLst>
        </pc:spChg>
        <pc:spChg chg="add del mod modVis">
          <ac:chgData name="Matthäus Alberding" userId="89cdd4c9-d044-4ab4-9e6f-8f065e0119c4" providerId="ADAL" clId="{B6745356-B6CF-45AA-ADCC-AC8F740A00DA}" dt="2022-07-21T17:35:20.117" v="33437"/>
          <ac:spMkLst>
            <pc:docMk/>
            <pc:sldMk cId="2899816649" sldId="686"/>
            <ac:spMk id="42" creationId="{6151D49A-D2DA-40F1-8F2E-1EDE0C1578DF}"/>
          </ac:spMkLst>
        </pc:spChg>
        <pc:spChg chg="add del mod modVis">
          <ac:chgData name="Matthäus Alberding" userId="89cdd4c9-d044-4ab4-9e6f-8f065e0119c4" providerId="ADAL" clId="{B6745356-B6CF-45AA-ADCC-AC8F740A00DA}" dt="2022-07-21T17:35:23.903" v="33499"/>
          <ac:spMkLst>
            <pc:docMk/>
            <pc:sldMk cId="2899816649" sldId="686"/>
            <ac:spMk id="43" creationId="{DD42A348-1333-48B9-B296-27C44A1A49FD}"/>
          </ac:spMkLst>
        </pc:spChg>
        <pc:spChg chg="add del mod modVis">
          <ac:chgData name="Matthäus Alberding" userId="89cdd4c9-d044-4ab4-9e6f-8f065e0119c4" providerId="ADAL" clId="{B6745356-B6CF-45AA-ADCC-AC8F740A00DA}" dt="2022-07-21T17:35:28.051" v="33556"/>
          <ac:spMkLst>
            <pc:docMk/>
            <pc:sldMk cId="2899816649" sldId="686"/>
            <ac:spMk id="44" creationId="{58BD4F83-9BD2-4FDF-AE19-60F4D929EA7F}"/>
          </ac:spMkLst>
        </pc:spChg>
        <pc:spChg chg="add del mod modVis">
          <ac:chgData name="Matthäus Alberding" userId="89cdd4c9-d044-4ab4-9e6f-8f065e0119c4" providerId="ADAL" clId="{B6745356-B6CF-45AA-ADCC-AC8F740A00DA}" dt="2022-07-21T17:35:30.856" v="33599"/>
          <ac:spMkLst>
            <pc:docMk/>
            <pc:sldMk cId="2899816649" sldId="686"/>
            <ac:spMk id="45" creationId="{72F47075-FD92-45E4-9356-1E70E33945DA}"/>
          </ac:spMkLst>
        </pc:spChg>
        <pc:spChg chg="add del mod modVis">
          <ac:chgData name="Matthäus Alberding" userId="89cdd4c9-d044-4ab4-9e6f-8f065e0119c4" providerId="ADAL" clId="{B6745356-B6CF-45AA-ADCC-AC8F740A00DA}" dt="2022-07-21T17:35:38.282" v="33690"/>
          <ac:spMkLst>
            <pc:docMk/>
            <pc:sldMk cId="2899816649" sldId="686"/>
            <ac:spMk id="46" creationId="{2764248A-C261-440A-913D-9C472F817B31}"/>
          </ac:spMkLst>
        </pc:spChg>
        <pc:spChg chg="add del mod modVis">
          <ac:chgData name="Matthäus Alberding" userId="89cdd4c9-d044-4ab4-9e6f-8f065e0119c4" providerId="ADAL" clId="{B6745356-B6CF-45AA-ADCC-AC8F740A00DA}" dt="2022-07-21T17:35:48.876" v="33779"/>
          <ac:spMkLst>
            <pc:docMk/>
            <pc:sldMk cId="2899816649" sldId="686"/>
            <ac:spMk id="47" creationId="{F0A02011-CBDB-44E3-B647-EE3FC78611EB}"/>
          </ac:spMkLst>
        </pc:spChg>
        <pc:spChg chg="add del mod modVis">
          <ac:chgData name="Matthäus Alberding" userId="89cdd4c9-d044-4ab4-9e6f-8f065e0119c4" providerId="ADAL" clId="{B6745356-B6CF-45AA-ADCC-AC8F740A00DA}" dt="2022-07-21T17:35:50.488" v="33825"/>
          <ac:spMkLst>
            <pc:docMk/>
            <pc:sldMk cId="2899816649" sldId="686"/>
            <ac:spMk id="48" creationId="{74C1E346-A97B-455F-AF82-00CFD548D752}"/>
          </ac:spMkLst>
        </pc:spChg>
        <pc:spChg chg="add del mod modVis">
          <ac:chgData name="Matthäus Alberding" userId="89cdd4c9-d044-4ab4-9e6f-8f065e0119c4" providerId="ADAL" clId="{B6745356-B6CF-45AA-ADCC-AC8F740A00DA}" dt="2022-07-21T17:35:53.513" v="33886"/>
          <ac:spMkLst>
            <pc:docMk/>
            <pc:sldMk cId="2899816649" sldId="686"/>
            <ac:spMk id="49" creationId="{973378D1-12F3-4A11-91E9-44A67A110E9D}"/>
          </ac:spMkLst>
        </pc:spChg>
        <pc:spChg chg="add mod">
          <ac:chgData name="Matthäus Alberding" userId="89cdd4c9-d044-4ab4-9e6f-8f065e0119c4" providerId="ADAL" clId="{B6745356-B6CF-45AA-ADCC-AC8F740A00DA}" dt="2022-07-21T17:36:53.234" v="33898" actId="1076"/>
          <ac:spMkLst>
            <pc:docMk/>
            <pc:sldMk cId="2899816649" sldId="686"/>
            <ac:spMk id="50" creationId="{A1F56A74-0565-4020-A768-D7614AC1549D}"/>
          </ac:spMkLst>
        </pc:spChg>
        <pc:spChg chg="add del mod modVis">
          <ac:chgData name="Matthäus Alberding" userId="89cdd4c9-d044-4ab4-9e6f-8f065e0119c4" providerId="ADAL" clId="{B6745356-B6CF-45AA-ADCC-AC8F740A00DA}" dt="2022-07-21T17:37:01.656" v="33948"/>
          <ac:spMkLst>
            <pc:docMk/>
            <pc:sldMk cId="2899816649" sldId="686"/>
            <ac:spMk id="51" creationId="{E75E2ADC-5368-449A-8331-682C0351E25A}"/>
          </ac:spMkLst>
        </pc:spChg>
        <pc:spChg chg="add del mod modVis">
          <ac:chgData name="Matthäus Alberding" userId="89cdd4c9-d044-4ab4-9e6f-8f065e0119c4" providerId="ADAL" clId="{B6745356-B6CF-45AA-ADCC-AC8F740A00DA}" dt="2022-07-21T17:37:06.920" v="34022"/>
          <ac:spMkLst>
            <pc:docMk/>
            <pc:sldMk cId="2899816649" sldId="686"/>
            <ac:spMk id="52" creationId="{02B880D2-BFF2-4E31-AB07-5272FF2122D3}"/>
          </ac:spMkLst>
        </pc:spChg>
        <pc:spChg chg="add mod">
          <ac:chgData name="Matthäus Alberding" userId="89cdd4c9-d044-4ab4-9e6f-8f065e0119c4" providerId="ADAL" clId="{B6745356-B6CF-45AA-ADCC-AC8F740A00DA}" dt="2022-07-21T17:42:10.813" v="34311" actId="1076"/>
          <ac:spMkLst>
            <pc:docMk/>
            <pc:sldMk cId="2899816649" sldId="686"/>
            <ac:spMk id="53" creationId="{B7F8402D-2007-406F-846E-19F8D33760E7}"/>
          </ac:spMkLst>
        </pc:spChg>
        <pc:spChg chg="add del mod modVis">
          <ac:chgData name="Matthäus Alberding" userId="89cdd4c9-d044-4ab4-9e6f-8f065e0119c4" providerId="ADAL" clId="{B6745356-B6CF-45AA-ADCC-AC8F740A00DA}" dt="2022-07-21T17:43:13.746" v="34353"/>
          <ac:spMkLst>
            <pc:docMk/>
            <pc:sldMk cId="2899816649" sldId="686"/>
            <ac:spMk id="54" creationId="{1B67AA3C-AA48-4F9A-84A9-0E1CA99E7B05}"/>
          </ac:spMkLst>
        </pc:spChg>
        <pc:spChg chg="add del mod modVis">
          <ac:chgData name="Matthäus Alberding" userId="89cdd4c9-d044-4ab4-9e6f-8f065e0119c4" providerId="ADAL" clId="{B6745356-B6CF-45AA-ADCC-AC8F740A00DA}" dt="2022-07-21T17:43:15.511" v="34396"/>
          <ac:spMkLst>
            <pc:docMk/>
            <pc:sldMk cId="2899816649" sldId="686"/>
            <ac:spMk id="55" creationId="{6C975F64-FD35-4BBD-88CA-77837861921B}"/>
          </ac:spMkLst>
        </pc:spChg>
        <pc:spChg chg="add del mod modVis">
          <ac:chgData name="Matthäus Alberding" userId="89cdd4c9-d044-4ab4-9e6f-8f065e0119c4" providerId="ADAL" clId="{B6745356-B6CF-45AA-ADCC-AC8F740A00DA}" dt="2022-07-21T17:43:16.120" v="34439"/>
          <ac:spMkLst>
            <pc:docMk/>
            <pc:sldMk cId="2899816649" sldId="686"/>
            <ac:spMk id="56" creationId="{27D68B64-EF10-41B1-8BC3-E6A9F3B0A3D9}"/>
          </ac:spMkLst>
        </pc:spChg>
        <pc:spChg chg="add del mod modVis">
          <ac:chgData name="Matthäus Alberding" userId="89cdd4c9-d044-4ab4-9e6f-8f065e0119c4" providerId="ADAL" clId="{B6745356-B6CF-45AA-ADCC-AC8F740A00DA}" dt="2022-07-21T17:43:20.963" v="34507"/>
          <ac:spMkLst>
            <pc:docMk/>
            <pc:sldMk cId="2899816649" sldId="686"/>
            <ac:spMk id="57" creationId="{8C41FCA8-B241-40DA-8B3A-FDD8AD2AB1EA}"/>
          </ac:spMkLst>
        </pc:spChg>
        <pc:spChg chg="add del mod modVis">
          <ac:chgData name="Matthäus Alberding" userId="89cdd4c9-d044-4ab4-9e6f-8f065e0119c4" providerId="ADAL" clId="{B6745356-B6CF-45AA-ADCC-AC8F740A00DA}" dt="2022-07-21T17:43:25.285" v="34597"/>
          <ac:spMkLst>
            <pc:docMk/>
            <pc:sldMk cId="2899816649" sldId="686"/>
            <ac:spMk id="58" creationId="{FCF5C4CF-5272-4F04-BC81-7BBF8DAF6CD7}"/>
          </ac:spMkLst>
        </pc:spChg>
        <pc:spChg chg="add del mod modVis">
          <ac:chgData name="Matthäus Alberding" userId="89cdd4c9-d044-4ab4-9e6f-8f065e0119c4" providerId="ADAL" clId="{B6745356-B6CF-45AA-ADCC-AC8F740A00DA}" dt="2022-07-21T17:43:27.411" v="34651"/>
          <ac:spMkLst>
            <pc:docMk/>
            <pc:sldMk cId="2899816649" sldId="686"/>
            <ac:spMk id="59" creationId="{DC27B36D-AD7C-4372-BCFA-2CA30F097AD5}"/>
          </ac:spMkLst>
        </pc:spChg>
        <pc:spChg chg="add del mod modVis">
          <ac:chgData name="Matthäus Alberding" userId="89cdd4c9-d044-4ab4-9e6f-8f065e0119c4" providerId="ADAL" clId="{B6745356-B6CF-45AA-ADCC-AC8F740A00DA}" dt="2022-07-21T17:43:32.405" v="34734"/>
          <ac:spMkLst>
            <pc:docMk/>
            <pc:sldMk cId="2899816649" sldId="686"/>
            <ac:spMk id="60" creationId="{8D4DE98D-B675-4A20-B146-0AAB44592E8E}"/>
          </ac:spMkLst>
        </pc:spChg>
        <pc:spChg chg="add del mod modVis">
          <ac:chgData name="Matthäus Alberding" userId="89cdd4c9-d044-4ab4-9e6f-8f065e0119c4" providerId="ADAL" clId="{B6745356-B6CF-45AA-ADCC-AC8F740A00DA}" dt="2022-07-21T17:43:34.388" v="34788"/>
          <ac:spMkLst>
            <pc:docMk/>
            <pc:sldMk cId="2899816649" sldId="686"/>
            <ac:spMk id="61" creationId="{2BD33C6F-811B-4BB3-A802-E15C68C7F5B1}"/>
          </ac:spMkLst>
        </pc:spChg>
        <pc:spChg chg="add del mod modVis">
          <ac:chgData name="Matthäus Alberding" userId="89cdd4c9-d044-4ab4-9e6f-8f065e0119c4" providerId="ADAL" clId="{B6745356-B6CF-45AA-ADCC-AC8F740A00DA}" dt="2022-07-21T17:43:37.590" v="34853"/>
          <ac:spMkLst>
            <pc:docMk/>
            <pc:sldMk cId="2899816649" sldId="686"/>
            <ac:spMk id="62" creationId="{1DF12973-2A25-42A5-8AEC-C20BA8432DF9}"/>
          </ac:spMkLst>
        </pc:spChg>
        <pc:spChg chg="add del mod modVis">
          <ac:chgData name="Matthäus Alberding" userId="89cdd4c9-d044-4ab4-9e6f-8f065e0119c4" providerId="ADAL" clId="{B6745356-B6CF-45AA-ADCC-AC8F740A00DA}" dt="2022-07-21T17:43:38.492" v="34897"/>
          <ac:spMkLst>
            <pc:docMk/>
            <pc:sldMk cId="2899816649" sldId="686"/>
            <ac:spMk id="63" creationId="{27BA942B-8762-402E-BFC8-C3E139CCD5DF}"/>
          </ac:spMkLst>
        </pc:spChg>
        <pc:spChg chg="add del mod modVis">
          <ac:chgData name="Matthäus Alberding" userId="89cdd4c9-d044-4ab4-9e6f-8f065e0119c4" providerId="ADAL" clId="{B6745356-B6CF-45AA-ADCC-AC8F740A00DA}" dt="2022-07-21T17:43:39.765" v="34943"/>
          <ac:spMkLst>
            <pc:docMk/>
            <pc:sldMk cId="2899816649" sldId="686"/>
            <ac:spMk id="64" creationId="{6386605C-5E8E-439C-9370-4A0ED2AA0386}"/>
          </ac:spMkLst>
        </pc:spChg>
        <pc:spChg chg="add del mod modVis">
          <ac:chgData name="Matthäus Alberding" userId="89cdd4c9-d044-4ab4-9e6f-8f065e0119c4" providerId="ADAL" clId="{B6745356-B6CF-45AA-ADCC-AC8F740A00DA}" dt="2022-07-21T17:43:43.575" v="35003"/>
          <ac:spMkLst>
            <pc:docMk/>
            <pc:sldMk cId="2899816649" sldId="686"/>
            <ac:spMk id="65" creationId="{FA3F272C-11B3-4701-AEAE-D20E95966250}"/>
          </ac:spMkLst>
        </pc:spChg>
        <pc:spChg chg="add del mod modVis">
          <ac:chgData name="Matthäus Alberding" userId="89cdd4c9-d044-4ab4-9e6f-8f065e0119c4" providerId="ADAL" clId="{B6745356-B6CF-45AA-ADCC-AC8F740A00DA}" dt="2022-07-21T17:43:54.051" v="35047"/>
          <ac:spMkLst>
            <pc:docMk/>
            <pc:sldMk cId="2899816649" sldId="686"/>
            <ac:spMk id="66" creationId="{ED3D868B-7A7A-4219-A948-86B9C635B263}"/>
          </ac:spMkLst>
        </pc:spChg>
        <pc:spChg chg="add del mod modVis">
          <ac:chgData name="Matthäus Alberding" userId="89cdd4c9-d044-4ab4-9e6f-8f065e0119c4" providerId="ADAL" clId="{B6745356-B6CF-45AA-ADCC-AC8F740A00DA}" dt="2022-07-21T17:43:55.541" v="35099"/>
          <ac:spMkLst>
            <pc:docMk/>
            <pc:sldMk cId="2899816649" sldId="686"/>
            <ac:spMk id="67" creationId="{541479D2-9B98-4594-9053-7B86C84178D4}"/>
          </ac:spMkLst>
        </pc:spChg>
        <pc:spChg chg="add del mod modVis">
          <ac:chgData name="Matthäus Alberding" userId="89cdd4c9-d044-4ab4-9e6f-8f065e0119c4" providerId="ADAL" clId="{B6745356-B6CF-45AA-ADCC-AC8F740A00DA}" dt="2022-07-21T17:43:57.278" v="35142"/>
          <ac:spMkLst>
            <pc:docMk/>
            <pc:sldMk cId="2899816649" sldId="686"/>
            <ac:spMk id="68" creationId="{7B7DF2A1-0EBB-4D9B-BD60-E67CE0FD074D}"/>
          </ac:spMkLst>
        </pc:spChg>
        <pc:spChg chg="add del mod modVis">
          <ac:chgData name="Matthäus Alberding" userId="89cdd4c9-d044-4ab4-9e6f-8f065e0119c4" providerId="ADAL" clId="{B6745356-B6CF-45AA-ADCC-AC8F740A00DA}" dt="2022-07-21T17:44:02.493" v="35187"/>
          <ac:spMkLst>
            <pc:docMk/>
            <pc:sldMk cId="2899816649" sldId="686"/>
            <ac:spMk id="69" creationId="{E3DCC8AB-3A06-4E94-878F-D3AD51355D09}"/>
          </ac:spMkLst>
        </pc:spChg>
        <pc:spChg chg="add del mod modVis">
          <ac:chgData name="Matthäus Alberding" userId="89cdd4c9-d044-4ab4-9e6f-8f065e0119c4" providerId="ADAL" clId="{B6745356-B6CF-45AA-ADCC-AC8F740A00DA}" dt="2022-07-21T17:44:05.032" v="35230"/>
          <ac:spMkLst>
            <pc:docMk/>
            <pc:sldMk cId="2899816649" sldId="686"/>
            <ac:spMk id="70" creationId="{A09B1116-17F0-40AA-BADC-0D6AD5D53CE8}"/>
          </ac:spMkLst>
        </pc:spChg>
        <pc:spChg chg="add del mod modVis">
          <ac:chgData name="Matthäus Alberding" userId="89cdd4c9-d044-4ab4-9e6f-8f065e0119c4" providerId="ADAL" clId="{B6745356-B6CF-45AA-ADCC-AC8F740A00DA}" dt="2022-07-21T17:44:06.339" v="35274"/>
          <ac:spMkLst>
            <pc:docMk/>
            <pc:sldMk cId="2899816649" sldId="686"/>
            <ac:spMk id="71" creationId="{9A9EF5B2-EBD5-4214-AA47-1FB8F8AE55A9}"/>
          </ac:spMkLst>
        </pc:spChg>
        <pc:spChg chg="add del mod modVis">
          <ac:chgData name="Matthäus Alberding" userId="89cdd4c9-d044-4ab4-9e6f-8f065e0119c4" providerId="ADAL" clId="{B6745356-B6CF-45AA-ADCC-AC8F740A00DA}" dt="2022-07-21T17:44:08.336" v="35325"/>
          <ac:spMkLst>
            <pc:docMk/>
            <pc:sldMk cId="2899816649" sldId="686"/>
            <ac:spMk id="72" creationId="{DAB710CE-C045-4181-9C87-8829EEF58376}"/>
          </ac:spMkLst>
        </pc:spChg>
        <pc:spChg chg="add del mod modVis">
          <ac:chgData name="Matthäus Alberding" userId="89cdd4c9-d044-4ab4-9e6f-8f065e0119c4" providerId="ADAL" clId="{B6745356-B6CF-45AA-ADCC-AC8F740A00DA}" dt="2022-07-21T17:44:11.058" v="35368"/>
          <ac:spMkLst>
            <pc:docMk/>
            <pc:sldMk cId="2899816649" sldId="686"/>
            <ac:spMk id="73" creationId="{9B91E125-9763-4C57-83F4-3F3311C5DA24}"/>
          </ac:spMkLst>
        </pc:spChg>
        <pc:spChg chg="add del mod modVis">
          <ac:chgData name="Matthäus Alberding" userId="89cdd4c9-d044-4ab4-9e6f-8f065e0119c4" providerId="ADAL" clId="{B6745356-B6CF-45AA-ADCC-AC8F740A00DA}" dt="2022-07-21T17:44:19.548" v="35414"/>
          <ac:spMkLst>
            <pc:docMk/>
            <pc:sldMk cId="2899816649" sldId="686"/>
            <ac:spMk id="74" creationId="{03BDF018-ED76-4114-AB13-121A36A80008}"/>
          </ac:spMkLst>
        </pc:spChg>
        <pc:spChg chg="add del mod modVis">
          <ac:chgData name="Matthäus Alberding" userId="89cdd4c9-d044-4ab4-9e6f-8f065e0119c4" providerId="ADAL" clId="{B6745356-B6CF-45AA-ADCC-AC8F740A00DA}" dt="2022-07-21T17:44:31.468" v="35460"/>
          <ac:spMkLst>
            <pc:docMk/>
            <pc:sldMk cId="2899816649" sldId="686"/>
            <ac:spMk id="75" creationId="{486E5FC1-202B-4821-A923-0443040B63D6}"/>
          </ac:spMkLst>
        </pc:spChg>
        <pc:spChg chg="add del mod modVis">
          <ac:chgData name="Matthäus Alberding" userId="89cdd4c9-d044-4ab4-9e6f-8f065e0119c4" providerId="ADAL" clId="{B6745356-B6CF-45AA-ADCC-AC8F740A00DA}" dt="2022-07-21T17:44:37.714" v="35504"/>
          <ac:spMkLst>
            <pc:docMk/>
            <pc:sldMk cId="2899816649" sldId="686"/>
            <ac:spMk id="76" creationId="{B418F4A4-F9FE-4E11-A4E4-9C2920471178}"/>
          </ac:spMkLst>
        </pc:spChg>
        <pc:spChg chg="add del mod modVis">
          <ac:chgData name="Matthäus Alberding" userId="89cdd4c9-d044-4ab4-9e6f-8f065e0119c4" providerId="ADAL" clId="{B6745356-B6CF-45AA-ADCC-AC8F740A00DA}" dt="2022-07-21T17:44:44.155" v="35569"/>
          <ac:spMkLst>
            <pc:docMk/>
            <pc:sldMk cId="2899816649" sldId="686"/>
            <ac:spMk id="77" creationId="{FA2FEF1E-FC96-4F78-A5FC-427C4A743242}"/>
          </ac:spMkLst>
        </pc:spChg>
        <pc:spChg chg="add del mod modVis">
          <ac:chgData name="Matthäus Alberding" userId="89cdd4c9-d044-4ab4-9e6f-8f065e0119c4" providerId="ADAL" clId="{B6745356-B6CF-45AA-ADCC-AC8F740A00DA}" dt="2022-07-21T17:44:45.041" v="35615"/>
          <ac:spMkLst>
            <pc:docMk/>
            <pc:sldMk cId="2899816649" sldId="686"/>
            <ac:spMk id="78" creationId="{21AE4992-AC4F-40CD-A096-9FB0A78FAFCB}"/>
          </ac:spMkLst>
        </pc:spChg>
        <pc:graphicFrameChg chg="mod">
          <ac:chgData name="Matthäus Alberding" userId="89cdd4c9-d044-4ab4-9e6f-8f065e0119c4" providerId="ADAL" clId="{B6745356-B6CF-45AA-ADCC-AC8F740A00DA}" dt="2022-07-21T17:44:45.042" v="35617"/>
          <ac:graphicFrameMkLst>
            <pc:docMk/>
            <pc:sldMk cId="2899816649" sldId="686"/>
            <ac:graphicFrameMk id="6" creationId="{17619F4C-4BEA-471F-B7B0-623407C2C224}"/>
          </ac:graphicFrameMkLst>
        </pc:graphicFrameChg>
        <pc:graphicFrameChg chg="add mod">
          <ac:chgData name="Matthäus Alberding" userId="89cdd4c9-d044-4ab4-9e6f-8f065e0119c4" providerId="ADAL" clId="{B6745356-B6CF-45AA-ADCC-AC8F740A00DA}" dt="2022-07-21T17:37:33.789" v="34025"/>
          <ac:graphicFrameMkLst>
            <pc:docMk/>
            <pc:sldMk cId="2899816649" sldId="686"/>
            <ac:graphicFrameMk id="40" creationId="{9F47CC8C-520E-4925-B9AC-A9537712CB3F}"/>
          </ac:graphicFrameMkLst>
        </pc:graphicFrameChg>
      </pc:sldChg>
      <pc:sldChg chg="delSp modSp add del mod">
        <pc:chgData name="Matthäus Alberding" userId="89cdd4c9-d044-4ab4-9e6f-8f065e0119c4" providerId="ADAL" clId="{B6745356-B6CF-45AA-ADCC-AC8F740A00DA}" dt="2022-07-21T17:27:08.259" v="33213" actId="47"/>
        <pc:sldMkLst>
          <pc:docMk/>
          <pc:sldMk cId="2987799675" sldId="687"/>
        </pc:sldMkLst>
        <pc:spChg chg="mod">
          <ac:chgData name="Matthäus Alberding" userId="89cdd4c9-d044-4ab4-9e6f-8f065e0119c4" providerId="ADAL" clId="{B6745356-B6CF-45AA-ADCC-AC8F740A00DA}" dt="2022-07-21T16:08:49.815" v="28845" actId="948"/>
          <ac:spMkLst>
            <pc:docMk/>
            <pc:sldMk cId="2987799675" sldId="687"/>
            <ac:spMk id="8" creationId="{E636D16C-7382-4A28-BE63-5DBBEE2B7662}"/>
          </ac:spMkLst>
        </pc:spChg>
        <pc:spChg chg="del">
          <ac:chgData name="Matthäus Alberding" userId="89cdd4c9-d044-4ab4-9e6f-8f065e0119c4" providerId="ADAL" clId="{B6745356-B6CF-45AA-ADCC-AC8F740A00DA}" dt="2022-07-21T16:08:51.866" v="28848" actId="478"/>
          <ac:spMkLst>
            <pc:docMk/>
            <pc:sldMk cId="2987799675" sldId="687"/>
            <ac:spMk id="11" creationId="{88C0A350-0D21-45DD-A9DD-B93A0E2245A6}"/>
          </ac:spMkLst>
        </pc:spChg>
        <pc:spChg chg="del">
          <ac:chgData name="Matthäus Alberding" userId="89cdd4c9-d044-4ab4-9e6f-8f065e0119c4" providerId="ADAL" clId="{B6745356-B6CF-45AA-ADCC-AC8F740A00DA}" dt="2022-07-21T16:08:57.235" v="28849" actId="478"/>
          <ac:spMkLst>
            <pc:docMk/>
            <pc:sldMk cId="2987799675" sldId="687"/>
            <ac:spMk id="12" creationId="{E4B1E14A-5901-4FB3-8E23-834A2430DBF3}"/>
          </ac:spMkLst>
        </pc:spChg>
        <pc:spChg chg="del">
          <ac:chgData name="Matthäus Alberding" userId="89cdd4c9-d044-4ab4-9e6f-8f065e0119c4" providerId="ADAL" clId="{B6745356-B6CF-45AA-ADCC-AC8F740A00DA}" dt="2022-07-21T16:08:57.235" v="28849" actId="478"/>
          <ac:spMkLst>
            <pc:docMk/>
            <pc:sldMk cId="2987799675" sldId="687"/>
            <ac:spMk id="13" creationId="{507CBCE2-04B9-4E13-A63A-4155E16F3E33}"/>
          </ac:spMkLst>
        </pc:spChg>
        <pc:spChg chg="del">
          <ac:chgData name="Matthäus Alberding" userId="89cdd4c9-d044-4ab4-9e6f-8f065e0119c4" providerId="ADAL" clId="{B6745356-B6CF-45AA-ADCC-AC8F740A00DA}" dt="2022-07-21T16:08:57.235" v="28849" actId="478"/>
          <ac:spMkLst>
            <pc:docMk/>
            <pc:sldMk cId="2987799675" sldId="687"/>
            <ac:spMk id="16" creationId="{7896C66C-7DB0-4E75-A090-E1F7E238E0F0}"/>
          </ac:spMkLst>
        </pc:spChg>
        <pc:spChg chg="del">
          <ac:chgData name="Matthäus Alberding" userId="89cdd4c9-d044-4ab4-9e6f-8f065e0119c4" providerId="ADAL" clId="{B6745356-B6CF-45AA-ADCC-AC8F740A00DA}" dt="2022-07-21T16:08:57.235" v="28849" actId="478"/>
          <ac:spMkLst>
            <pc:docMk/>
            <pc:sldMk cId="2987799675" sldId="687"/>
            <ac:spMk id="17" creationId="{6FE544C2-0180-449A-8DD4-3B3CC08F396D}"/>
          </ac:spMkLst>
        </pc:spChg>
        <pc:graphicFrameChg chg="mod">
          <ac:chgData name="Matthäus Alberding" userId="89cdd4c9-d044-4ab4-9e6f-8f065e0119c4" providerId="ADAL" clId="{B6745356-B6CF-45AA-ADCC-AC8F740A00DA}" dt="2022-07-21T16:08:49.819" v="28847"/>
          <ac:graphicFrameMkLst>
            <pc:docMk/>
            <pc:sldMk cId="2987799675" sldId="687"/>
            <ac:graphicFrameMk id="6" creationId="{17619F4C-4BEA-471F-B7B0-623407C2C224}"/>
          </ac:graphicFrameMkLst>
        </pc:graphicFrameChg>
      </pc:sldChg>
      <pc:sldChg chg="addSp delSp modSp new add del mod">
        <pc:chgData name="Matthäus Alberding" userId="89cdd4c9-d044-4ab4-9e6f-8f065e0119c4" providerId="ADAL" clId="{B6745356-B6CF-45AA-ADCC-AC8F740A00DA}" dt="2022-07-21T17:25:11.370" v="32864" actId="47"/>
        <pc:sldMkLst>
          <pc:docMk/>
          <pc:sldMk cId="2271249084" sldId="688"/>
        </pc:sldMkLst>
        <pc:spChg chg="mod">
          <ac:chgData name="Matthäus Alberding" userId="89cdd4c9-d044-4ab4-9e6f-8f065e0119c4" providerId="ADAL" clId="{B6745356-B6CF-45AA-ADCC-AC8F740A00DA}" dt="2022-07-21T16:22:49.021" v="29996" actId="948"/>
          <ac:spMkLst>
            <pc:docMk/>
            <pc:sldMk cId="2271249084" sldId="688"/>
            <ac:spMk id="4" creationId="{9E0927F3-91FE-46A6-B836-CD8C850D1817}"/>
          </ac:spMkLst>
        </pc:spChg>
        <pc:spChg chg="mod">
          <ac:chgData name="Matthäus Alberding" userId="89cdd4c9-d044-4ab4-9e6f-8f065e0119c4" providerId="ADAL" clId="{B6745356-B6CF-45AA-ADCC-AC8F740A00DA}" dt="2022-07-21T16:17:57.958" v="29042" actId="20577"/>
          <ac:spMkLst>
            <pc:docMk/>
            <pc:sldMk cId="2271249084" sldId="688"/>
            <ac:spMk id="5" creationId="{0D09B918-64B6-47E7-8194-39D0A18B3542}"/>
          </ac:spMkLst>
        </pc:spChg>
        <pc:spChg chg="add del mod modVis">
          <ac:chgData name="Matthäus Alberding" userId="89cdd4c9-d044-4ab4-9e6f-8f065e0119c4" providerId="ADAL" clId="{B6745356-B6CF-45AA-ADCC-AC8F740A00DA}" dt="2022-07-21T16:18:00.625" v="29089"/>
          <ac:spMkLst>
            <pc:docMk/>
            <pc:sldMk cId="2271249084" sldId="688"/>
            <ac:spMk id="6" creationId="{DEAE6E41-8919-4CD2-A4D2-294257DCDBAB}"/>
          </ac:spMkLst>
        </pc:spChg>
        <pc:spChg chg="add del mod modVis">
          <ac:chgData name="Matthäus Alberding" userId="89cdd4c9-d044-4ab4-9e6f-8f065e0119c4" providerId="ADAL" clId="{B6745356-B6CF-45AA-ADCC-AC8F740A00DA}" dt="2022-07-21T16:18:02.459" v="29156"/>
          <ac:spMkLst>
            <pc:docMk/>
            <pc:sldMk cId="2271249084" sldId="688"/>
            <ac:spMk id="8" creationId="{67F1B448-6679-436B-97BC-4ACE77433856}"/>
          </ac:spMkLst>
        </pc:spChg>
        <pc:spChg chg="add del mod modVis">
          <ac:chgData name="Matthäus Alberding" userId="89cdd4c9-d044-4ab4-9e6f-8f065e0119c4" providerId="ADAL" clId="{B6745356-B6CF-45AA-ADCC-AC8F740A00DA}" dt="2022-07-21T16:18:04.912" v="29221"/>
          <ac:spMkLst>
            <pc:docMk/>
            <pc:sldMk cId="2271249084" sldId="688"/>
            <ac:spMk id="9" creationId="{C4D2AFC9-2FEB-493C-A512-47921C26878C}"/>
          </ac:spMkLst>
        </pc:spChg>
        <pc:spChg chg="add del mod modVis">
          <ac:chgData name="Matthäus Alberding" userId="89cdd4c9-d044-4ab4-9e6f-8f065e0119c4" providerId="ADAL" clId="{B6745356-B6CF-45AA-ADCC-AC8F740A00DA}" dt="2022-07-21T16:18:05.743" v="29265"/>
          <ac:spMkLst>
            <pc:docMk/>
            <pc:sldMk cId="2271249084" sldId="688"/>
            <ac:spMk id="10" creationId="{FF35670E-C2AE-40A3-9B44-38B8CFDE4A5E}"/>
          </ac:spMkLst>
        </pc:spChg>
        <pc:spChg chg="add del mod modVis">
          <ac:chgData name="Matthäus Alberding" userId="89cdd4c9-d044-4ab4-9e6f-8f065e0119c4" providerId="ADAL" clId="{B6745356-B6CF-45AA-ADCC-AC8F740A00DA}" dt="2022-07-21T16:18:15.020" v="29323"/>
          <ac:spMkLst>
            <pc:docMk/>
            <pc:sldMk cId="2271249084" sldId="688"/>
            <ac:spMk id="11" creationId="{DEA0BEE5-A07A-4857-8563-7175B26DF2AD}"/>
          </ac:spMkLst>
        </pc:spChg>
        <pc:spChg chg="add del mod modVis">
          <ac:chgData name="Matthäus Alberding" userId="89cdd4c9-d044-4ab4-9e6f-8f065e0119c4" providerId="ADAL" clId="{B6745356-B6CF-45AA-ADCC-AC8F740A00DA}" dt="2022-07-21T16:18:15.849" v="29366"/>
          <ac:spMkLst>
            <pc:docMk/>
            <pc:sldMk cId="2271249084" sldId="688"/>
            <ac:spMk id="12" creationId="{0101470A-60DB-4BD3-B7EE-85E31378D63D}"/>
          </ac:spMkLst>
        </pc:spChg>
        <pc:spChg chg="add del mod modVis">
          <ac:chgData name="Matthäus Alberding" userId="89cdd4c9-d044-4ab4-9e6f-8f065e0119c4" providerId="ADAL" clId="{B6745356-B6CF-45AA-ADCC-AC8F740A00DA}" dt="2022-07-21T16:18:21.572" v="29441"/>
          <ac:spMkLst>
            <pc:docMk/>
            <pc:sldMk cId="2271249084" sldId="688"/>
            <ac:spMk id="13" creationId="{8A02009F-68F8-427B-BF79-858AD7FDC9A7}"/>
          </ac:spMkLst>
        </pc:spChg>
        <pc:spChg chg="add del mod modVis">
          <ac:chgData name="Matthäus Alberding" userId="89cdd4c9-d044-4ab4-9e6f-8f065e0119c4" providerId="ADAL" clId="{B6745356-B6CF-45AA-ADCC-AC8F740A00DA}" dt="2022-07-21T16:18:25.543" v="29492"/>
          <ac:spMkLst>
            <pc:docMk/>
            <pc:sldMk cId="2271249084" sldId="688"/>
            <ac:spMk id="14" creationId="{52E61EB0-4134-4ADE-A2C2-5B487B8DBAD1}"/>
          </ac:spMkLst>
        </pc:spChg>
        <pc:spChg chg="add del mod modVis">
          <ac:chgData name="Matthäus Alberding" userId="89cdd4c9-d044-4ab4-9e6f-8f065e0119c4" providerId="ADAL" clId="{B6745356-B6CF-45AA-ADCC-AC8F740A00DA}" dt="2022-07-21T16:18:28.550" v="29535"/>
          <ac:spMkLst>
            <pc:docMk/>
            <pc:sldMk cId="2271249084" sldId="688"/>
            <ac:spMk id="15" creationId="{47541B23-1450-4811-B2E2-1220FEC4CE9C}"/>
          </ac:spMkLst>
        </pc:spChg>
        <pc:spChg chg="add del mod modVis">
          <ac:chgData name="Matthäus Alberding" userId="89cdd4c9-d044-4ab4-9e6f-8f065e0119c4" providerId="ADAL" clId="{B6745356-B6CF-45AA-ADCC-AC8F740A00DA}" dt="2022-07-21T16:18:29.678" v="29578"/>
          <ac:spMkLst>
            <pc:docMk/>
            <pc:sldMk cId="2271249084" sldId="688"/>
            <ac:spMk id="16" creationId="{5996E90C-1FEA-48E1-8B9C-D2F6156019F9}"/>
          </ac:spMkLst>
        </pc:spChg>
        <pc:spChg chg="add del mod modVis">
          <ac:chgData name="Matthäus Alberding" userId="89cdd4c9-d044-4ab4-9e6f-8f065e0119c4" providerId="ADAL" clId="{B6745356-B6CF-45AA-ADCC-AC8F740A00DA}" dt="2022-07-21T16:18:33.559" v="29625"/>
          <ac:spMkLst>
            <pc:docMk/>
            <pc:sldMk cId="2271249084" sldId="688"/>
            <ac:spMk id="17" creationId="{485A70B0-1ED0-4F29-9BB8-FB278FC98AC9}"/>
          </ac:spMkLst>
        </pc:spChg>
        <pc:spChg chg="add del mod modVis">
          <ac:chgData name="Matthäus Alberding" userId="89cdd4c9-d044-4ab4-9e6f-8f065e0119c4" providerId="ADAL" clId="{B6745356-B6CF-45AA-ADCC-AC8F740A00DA}" dt="2022-07-21T16:18:41.263" v="29719"/>
          <ac:spMkLst>
            <pc:docMk/>
            <pc:sldMk cId="2271249084" sldId="688"/>
            <ac:spMk id="18" creationId="{BFBC7FF6-E825-4916-B824-64F8E6D7DE3F}"/>
          </ac:spMkLst>
        </pc:spChg>
        <pc:spChg chg="del mod modVis">
          <ac:chgData name="Matthäus Alberding" userId="89cdd4c9-d044-4ab4-9e6f-8f065e0119c4" providerId="ADAL" clId="{B6745356-B6CF-45AA-ADCC-AC8F740A00DA}" dt="2022-07-21T16:18:49.271" v="29758" actId="478"/>
          <ac:spMkLst>
            <pc:docMk/>
            <pc:sldMk cId="2271249084" sldId="688"/>
            <ac:spMk id="19" creationId="{25015E19-C084-4B3B-B4A1-DA5C2CC874F0}"/>
          </ac:spMkLst>
        </pc:spChg>
        <pc:spChg chg="add del mod modVis">
          <ac:chgData name="Matthäus Alberding" userId="89cdd4c9-d044-4ab4-9e6f-8f065e0119c4" providerId="ADAL" clId="{B6745356-B6CF-45AA-ADCC-AC8F740A00DA}" dt="2022-07-21T16:18:52.659" v="29800"/>
          <ac:spMkLst>
            <pc:docMk/>
            <pc:sldMk cId="2271249084" sldId="688"/>
            <ac:spMk id="20" creationId="{132EC64C-FB2D-4E12-AEDC-EB0DEE70AD92}"/>
          </ac:spMkLst>
        </pc:spChg>
        <pc:spChg chg="add mod">
          <ac:chgData name="Matthäus Alberding" userId="89cdd4c9-d044-4ab4-9e6f-8f065e0119c4" providerId="ADAL" clId="{B6745356-B6CF-45AA-ADCC-AC8F740A00DA}" dt="2022-07-21T16:21:33.983" v="29885" actId="20577"/>
          <ac:spMkLst>
            <pc:docMk/>
            <pc:sldMk cId="2271249084" sldId="688"/>
            <ac:spMk id="22" creationId="{ECFA6999-18AE-49BB-BEDC-F7DB00E64348}"/>
          </ac:spMkLst>
        </pc:spChg>
        <pc:spChg chg="add mod">
          <ac:chgData name="Matthäus Alberding" userId="89cdd4c9-d044-4ab4-9e6f-8f065e0119c4" providerId="ADAL" clId="{B6745356-B6CF-45AA-ADCC-AC8F740A00DA}" dt="2022-07-21T16:41:10.939" v="30234"/>
          <ac:spMkLst>
            <pc:docMk/>
            <pc:sldMk cId="2271249084" sldId="688"/>
            <ac:spMk id="23" creationId="{03116AD9-DD76-4F82-98CF-40DFE4A8AF87}"/>
          </ac:spMkLst>
        </pc:spChg>
        <pc:spChg chg="add del mod modVis">
          <ac:chgData name="Matthäus Alberding" userId="89cdd4c9-d044-4ab4-9e6f-8f065e0119c4" providerId="ADAL" clId="{B6745356-B6CF-45AA-ADCC-AC8F740A00DA}" dt="2022-07-21T16:22:47.378" v="29983"/>
          <ac:spMkLst>
            <pc:docMk/>
            <pc:sldMk cId="2271249084" sldId="688"/>
            <ac:spMk id="24" creationId="{4589730F-39F3-4C8D-96FB-1ACEFFC72901}"/>
          </ac:spMkLst>
        </pc:spChg>
        <pc:spChg chg="add del mod modVis">
          <ac:chgData name="Matthäus Alberding" userId="89cdd4c9-d044-4ab4-9e6f-8f065e0119c4" providerId="ADAL" clId="{B6745356-B6CF-45AA-ADCC-AC8F740A00DA}" dt="2022-07-21T16:22:49.040" v="30035"/>
          <ac:spMkLst>
            <pc:docMk/>
            <pc:sldMk cId="2271249084" sldId="688"/>
            <ac:spMk id="25" creationId="{3E89894A-4AC5-4861-BAC3-FCAB78EF5EFE}"/>
          </ac:spMkLst>
        </pc:spChg>
        <pc:graphicFrameChg chg="add mod ord modVis">
          <ac:chgData name="Matthäus Alberding" userId="89cdd4c9-d044-4ab4-9e6f-8f065e0119c4" providerId="ADAL" clId="{B6745356-B6CF-45AA-ADCC-AC8F740A00DA}" dt="2022-07-21T17:21:32.826" v="31819"/>
          <ac:graphicFrameMkLst>
            <pc:docMk/>
            <pc:sldMk cId="2271249084" sldId="688"/>
            <ac:graphicFrameMk id="7" creationId="{CD5642D7-A8E9-4B47-9E7C-CA33B1F639B8}"/>
          </ac:graphicFrameMkLst>
        </pc:graphicFrameChg>
        <pc:graphicFrameChg chg="add mod">
          <ac:chgData name="Matthäus Alberding" userId="89cdd4c9-d044-4ab4-9e6f-8f065e0119c4" providerId="ADAL" clId="{B6745356-B6CF-45AA-ADCC-AC8F740A00DA}" dt="2022-07-21T16:21:16.572" v="29844" actId="1076"/>
          <ac:graphicFrameMkLst>
            <pc:docMk/>
            <pc:sldMk cId="2271249084" sldId="688"/>
            <ac:graphicFrameMk id="21" creationId="{3F632287-F931-435A-A8B8-AE917ACE955E}"/>
          </ac:graphicFrameMkLst>
        </pc:graphicFrameChg>
      </pc:sldChg>
      <pc:sldChg chg="addSp delSp modSp new add del mod">
        <pc:chgData name="Matthäus Alberding" userId="89cdd4c9-d044-4ab4-9e6f-8f065e0119c4" providerId="ADAL" clId="{B6745356-B6CF-45AA-ADCC-AC8F740A00DA}" dt="2022-07-21T17:21:17.136" v="31815" actId="47"/>
        <pc:sldMkLst>
          <pc:docMk/>
          <pc:sldMk cId="2343956325" sldId="689"/>
        </pc:sldMkLst>
        <pc:spChg chg="mod">
          <ac:chgData name="Matthäus Alberding" userId="89cdd4c9-d044-4ab4-9e6f-8f065e0119c4" providerId="ADAL" clId="{B6745356-B6CF-45AA-ADCC-AC8F740A00DA}" dt="2022-07-21T16:23:57.937" v="30148" actId="948"/>
          <ac:spMkLst>
            <pc:docMk/>
            <pc:sldMk cId="2343956325" sldId="689"/>
            <ac:spMk id="4" creationId="{16CEF0AA-F21E-4C91-90C8-30EBED0E9888}"/>
          </ac:spMkLst>
        </pc:spChg>
        <pc:spChg chg="mod">
          <ac:chgData name="Matthäus Alberding" userId="89cdd4c9-d044-4ab4-9e6f-8f065e0119c4" providerId="ADAL" clId="{B6745356-B6CF-45AA-ADCC-AC8F740A00DA}" dt="2022-07-21T16:25:24.670" v="30200" actId="20577"/>
          <ac:spMkLst>
            <pc:docMk/>
            <pc:sldMk cId="2343956325" sldId="689"/>
            <ac:spMk id="5" creationId="{6B4C0030-46CA-4837-A231-087960FFD4EC}"/>
          </ac:spMkLst>
        </pc:spChg>
        <pc:spChg chg="add del">
          <ac:chgData name="Matthäus Alberding" userId="89cdd4c9-d044-4ab4-9e6f-8f065e0119c4" providerId="ADAL" clId="{B6745356-B6CF-45AA-ADCC-AC8F740A00DA}" dt="2022-07-21T16:23:45.519" v="30045" actId="478"/>
          <ac:spMkLst>
            <pc:docMk/>
            <pc:sldMk cId="2343956325" sldId="689"/>
            <ac:spMk id="7" creationId="{B3E6BD87-1ACE-4B99-8098-6758CB432B2C}"/>
          </ac:spMkLst>
        </pc:spChg>
        <pc:spChg chg="add del mod modVis">
          <ac:chgData name="Matthäus Alberding" userId="89cdd4c9-d044-4ab4-9e6f-8f065e0119c4" providerId="ADAL" clId="{B6745356-B6CF-45AA-ADCC-AC8F740A00DA}" dt="2022-07-21T16:23:47.040" v="30087"/>
          <ac:spMkLst>
            <pc:docMk/>
            <pc:sldMk cId="2343956325" sldId="689"/>
            <ac:spMk id="8" creationId="{CE64A64B-49CA-4FE4-8281-D5167A951460}"/>
          </ac:spMkLst>
        </pc:spChg>
        <pc:spChg chg="add del mod modVis">
          <ac:chgData name="Matthäus Alberding" userId="89cdd4c9-d044-4ab4-9e6f-8f065e0119c4" providerId="ADAL" clId="{B6745356-B6CF-45AA-ADCC-AC8F740A00DA}" dt="2022-07-21T16:23:50.958" v="30144"/>
          <ac:spMkLst>
            <pc:docMk/>
            <pc:sldMk cId="2343956325" sldId="689"/>
            <ac:spMk id="10" creationId="{8910B86D-0D85-4994-AF09-3CF394883B4B}"/>
          </ac:spMkLst>
        </pc:spChg>
        <pc:spChg chg="add del mod modVis">
          <ac:chgData name="Matthäus Alberding" userId="89cdd4c9-d044-4ab4-9e6f-8f065e0119c4" providerId="ADAL" clId="{B6745356-B6CF-45AA-ADCC-AC8F740A00DA}" dt="2022-07-21T16:23:57.955" v="30187"/>
          <ac:spMkLst>
            <pc:docMk/>
            <pc:sldMk cId="2343956325" sldId="689"/>
            <ac:spMk id="11" creationId="{6CF8B7B1-6237-4453-A663-EC7F674EB617}"/>
          </ac:spMkLst>
        </pc:spChg>
        <pc:spChg chg="add mod">
          <ac:chgData name="Matthäus Alberding" userId="89cdd4c9-d044-4ab4-9e6f-8f065e0119c4" providerId="ADAL" clId="{B6745356-B6CF-45AA-ADCC-AC8F740A00DA}" dt="2022-07-21T16:41:14.430" v="30235"/>
          <ac:spMkLst>
            <pc:docMk/>
            <pc:sldMk cId="2343956325" sldId="689"/>
            <ac:spMk id="14" creationId="{59DD1EE5-573F-4C5D-BAC9-9B7C625303AF}"/>
          </ac:spMkLst>
        </pc:spChg>
        <pc:graphicFrameChg chg="add mod ord modVis">
          <ac:chgData name="Matthäus Alberding" userId="89cdd4c9-d044-4ab4-9e6f-8f065e0119c4" providerId="ADAL" clId="{B6745356-B6CF-45AA-ADCC-AC8F740A00DA}" dt="2022-07-21T16:23:57.956" v="30189"/>
          <ac:graphicFrameMkLst>
            <pc:docMk/>
            <pc:sldMk cId="2343956325" sldId="689"/>
            <ac:graphicFrameMk id="9" creationId="{5973B4CD-6B2E-4962-8F2C-AEF27AA67B75}"/>
          </ac:graphicFrameMkLst>
        </pc:graphicFrameChg>
        <pc:picChg chg="add mod">
          <ac:chgData name="Matthäus Alberding" userId="89cdd4c9-d044-4ab4-9e6f-8f065e0119c4" providerId="ADAL" clId="{B6745356-B6CF-45AA-ADCC-AC8F740A00DA}" dt="2022-07-21T16:25:01.003" v="30197" actId="1076"/>
          <ac:picMkLst>
            <pc:docMk/>
            <pc:sldMk cId="2343956325" sldId="689"/>
            <ac:picMk id="13" creationId="{61DE1F2C-9F97-4ABB-B312-436CBB87B6E3}"/>
          </ac:picMkLst>
        </pc:picChg>
      </pc:sldChg>
      <pc:sldChg chg="addSp delSp modSp new add del mod modTransition modShow">
        <pc:chgData name="Matthäus Alberding" userId="89cdd4c9-d044-4ab4-9e6f-8f065e0119c4" providerId="ADAL" clId="{B6745356-B6CF-45AA-ADCC-AC8F740A00DA}" dt="2022-07-21T17:20:37.659" v="31803" actId="47"/>
        <pc:sldMkLst>
          <pc:docMk/>
          <pc:sldMk cId="205915485" sldId="690"/>
        </pc:sldMkLst>
        <pc:spChg chg="mod">
          <ac:chgData name="Matthäus Alberding" userId="89cdd4c9-d044-4ab4-9e6f-8f065e0119c4" providerId="ADAL" clId="{B6745356-B6CF-45AA-ADCC-AC8F740A00DA}" dt="2022-07-21T16:49:55.476" v="30393" actId="948"/>
          <ac:spMkLst>
            <pc:docMk/>
            <pc:sldMk cId="205915485" sldId="690"/>
            <ac:spMk id="4" creationId="{EB853CC6-0C15-4A06-9034-A929741B366C}"/>
          </ac:spMkLst>
        </pc:spChg>
        <pc:spChg chg="mod">
          <ac:chgData name="Matthäus Alberding" userId="89cdd4c9-d044-4ab4-9e6f-8f065e0119c4" providerId="ADAL" clId="{B6745356-B6CF-45AA-ADCC-AC8F740A00DA}" dt="2022-07-21T16:49:44.909" v="30294" actId="20577"/>
          <ac:spMkLst>
            <pc:docMk/>
            <pc:sldMk cId="205915485" sldId="690"/>
            <ac:spMk id="5" creationId="{3459F8DD-F033-4CF9-B3D8-8307889930FB}"/>
          </ac:spMkLst>
        </pc:spChg>
        <pc:spChg chg="add mod">
          <ac:chgData name="Matthäus Alberding" userId="89cdd4c9-d044-4ab4-9e6f-8f065e0119c4" providerId="ADAL" clId="{B6745356-B6CF-45AA-ADCC-AC8F740A00DA}" dt="2022-07-21T16:48:42.682" v="30263" actId="14100"/>
          <ac:spMkLst>
            <pc:docMk/>
            <pc:sldMk cId="205915485" sldId="690"/>
            <ac:spMk id="9" creationId="{A53EC486-A5C3-439E-907C-393B6BC8CE90}"/>
          </ac:spMkLst>
        </pc:spChg>
        <pc:spChg chg="add del mod">
          <ac:chgData name="Matthäus Alberding" userId="89cdd4c9-d044-4ab4-9e6f-8f065e0119c4" providerId="ADAL" clId="{B6745356-B6CF-45AA-ADCC-AC8F740A00DA}" dt="2022-07-21T16:49:24.672" v="30290" actId="478"/>
          <ac:spMkLst>
            <pc:docMk/>
            <pc:sldMk cId="205915485" sldId="690"/>
            <ac:spMk id="10" creationId="{ECE843F3-CAB5-4C8F-87F7-52F74F1F9EFA}"/>
          </ac:spMkLst>
        </pc:spChg>
        <pc:spChg chg="add del mod modVis">
          <ac:chgData name="Matthäus Alberding" userId="89cdd4c9-d044-4ab4-9e6f-8f065e0119c4" providerId="ADAL" clId="{B6745356-B6CF-45AA-ADCC-AC8F740A00DA}" dt="2022-07-21T16:49:52.262" v="30360"/>
          <ac:spMkLst>
            <pc:docMk/>
            <pc:sldMk cId="205915485" sldId="690"/>
            <ac:spMk id="11" creationId="{CCDC4AAB-AC18-48F5-AE3B-41F04E55773C}"/>
          </ac:spMkLst>
        </pc:spChg>
        <pc:spChg chg="add del mod modVis">
          <ac:chgData name="Matthäus Alberding" userId="89cdd4c9-d044-4ab4-9e6f-8f065e0119c4" providerId="ADAL" clId="{B6745356-B6CF-45AA-ADCC-AC8F740A00DA}" dt="2022-07-21T16:49:55.494" v="30432"/>
          <ac:spMkLst>
            <pc:docMk/>
            <pc:sldMk cId="205915485" sldId="690"/>
            <ac:spMk id="13" creationId="{C11427FF-34EA-4D21-B7AB-FE4606FE61D4}"/>
          </ac:spMkLst>
        </pc:spChg>
        <pc:graphicFrameChg chg="add mod">
          <ac:chgData name="Matthäus Alberding" userId="89cdd4c9-d044-4ab4-9e6f-8f065e0119c4" providerId="ADAL" clId="{B6745356-B6CF-45AA-ADCC-AC8F740A00DA}" dt="2022-07-21T16:49:34.785" v="30292" actId="1076"/>
          <ac:graphicFrameMkLst>
            <pc:docMk/>
            <pc:sldMk cId="205915485" sldId="690"/>
            <ac:graphicFrameMk id="8" creationId="{F40AD9CC-FC56-420D-9C85-F5D3D80CF9EC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1T16:49:55.495" v="30434"/>
          <ac:graphicFrameMkLst>
            <pc:docMk/>
            <pc:sldMk cId="205915485" sldId="690"/>
            <ac:graphicFrameMk id="12" creationId="{2AC293A9-6002-4410-9E35-05E1877BE9BF}"/>
          </ac:graphicFrameMkLst>
        </pc:graphicFrameChg>
        <pc:picChg chg="add del mod">
          <ac:chgData name="Matthäus Alberding" userId="89cdd4c9-d044-4ab4-9e6f-8f065e0119c4" providerId="ADAL" clId="{B6745356-B6CF-45AA-ADCC-AC8F740A00DA}" dt="2022-07-21T16:49:23.262" v="30289" actId="478"/>
          <ac:picMkLst>
            <pc:docMk/>
            <pc:sldMk cId="205915485" sldId="690"/>
            <ac:picMk id="7" creationId="{0F9B4EE9-88A0-4960-8575-D2BB71F523B3}"/>
          </ac:picMkLst>
        </pc:picChg>
      </pc:sldChg>
      <pc:sldChg chg="addSp delSp modSp add mod ord">
        <pc:chgData name="Matthäus Alberding" userId="89cdd4c9-d044-4ab4-9e6f-8f065e0119c4" providerId="ADAL" clId="{B6745356-B6CF-45AA-ADCC-AC8F740A00DA}" dt="2022-07-21T17:26:08.848" v="32962"/>
        <pc:sldMkLst>
          <pc:docMk/>
          <pc:sldMk cId="2860812818" sldId="691"/>
        </pc:sldMkLst>
        <pc:spChg chg="mod">
          <ac:chgData name="Matthäus Alberding" userId="89cdd4c9-d044-4ab4-9e6f-8f065e0119c4" providerId="ADAL" clId="{B6745356-B6CF-45AA-ADCC-AC8F740A00DA}" dt="2022-07-21T17:26:08.820" v="32921" actId="948"/>
          <ac:spMkLst>
            <pc:docMk/>
            <pc:sldMk cId="2860812818" sldId="691"/>
            <ac:spMk id="4" creationId="{16CEF0AA-F21E-4C91-90C8-30EBED0E9888}"/>
          </ac:spMkLst>
        </pc:spChg>
        <pc:spChg chg="add del mod modVis">
          <ac:chgData name="Matthäus Alberding" userId="89cdd4c9-d044-4ab4-9e6f-8f065e0119c4" providerId="ADAL" clId="{B6745356-B6CF-45AA-ADCC-AC8F740A00DA}" dt="2022-07-21T17:21:40.488" v="31872"/>
          <ac:spMkLst>
            <pc:docMk/>
            <pc:sldMk cId="2860812818" sldId="691"/>
            <ac:spMk id="6" creationId="{C8B1AF0D-F47A-47E6-800F-7E370968AF07}"/>
          </ac:spMkLst>
        </pc:spChg>
        <pc:spChg chg="add del mod modVis">
          <ac:chgData name="Matthäus Alberding" userId="89cdd4c9-d044-4ab4-9e6f-8f065e0119c4" providerId="ADAL" clId="{B6745356-B6CF-45AA-ADCC-AC8F740A00DA}" dt="2022-07-21T17:21:41.615" v="31918"/>
          <ac:spMkLst>
            <pc:docMk/>
            <pc:sldMk cId="2860812818" sldId="691"/>
            <ac:spMk id="7" creationId="{A9B0530B-91AB-41CC-BEA9-EBAB58482BB7}"/>
          </ac:spMkLst>
        </pc:spChg>
        <pc:spChg chg="add del mod modVis">
          <ac:chgData name="Matthäus Alberding" userId="89cdd4c9-d044-4ab4-9e6f-8f065e0119c4" providerId="ADAL" clId="{B6745356-B6CF-45AA-ADCC-AC8F740A00DA}" dt="2022-07-21T17:21:44.351" v="31979"/>
          <ac:spMkLst>
            <pc:docMk/>
            <pc:sldMk cId="2860812818" sldId="691"/>
            <ac:spMk id="8" creationId="{95FBA430-F1DE-4465-8D0C-187E742D148E}"/>
          </ac:spMkLst>
        </pc:spChg>
        <pc:spChg chg="add mod">
          <ac:chgData name="Matthäus Alberding" userId="89cdd4c9-d044-4ab4-9e6f-8f065e0119c4" providerId="ADAL" clId="{B6745356-B6CF-45AA-ADCC-AC8F740A00DA}" dt="2022-07-21T17:25:47.039" v="32914" actId="1076"/>
          <ac:spMkLst>
            <pc:docMk/>
            <pc:sldMk cId="2860812818" sldId="691"/>
            <ac:spMk id="11" creationId="{5093A338-F9A1-4E84-BF4B-D9F8256DB620}"/>
          </ac:spMkLst>
        </pc:spChg>
        <pc:spChg chg="add del mod modVis">
          <ac:chgData name="Matthäus Alberding" userId="89cdd4c9-d044-4ab4-9e6f-8f065e0119c4" providerId="ADAL" clId="{B6745356-B6CF-45AA-ADCC-AC8F740A00DA}" dt="2022-07-21T17:26:08.838" v="32960"/>
          <ac:spMkLst>
            <pc:docMk/>
            <pc:sldMk cId="2860812818" sldId="691"/>
            <ac:spMk id="12" creationId="{44826ADB-38DB-4157-92E8-1AF333AFDFED}"/>
          </ac:spMkLst>
        </pc:spChg>
        <pc:spChg chg="mod">
          <ac:chgData name="Matthäus Alberding" userId="89cdd4c9-d044-4ab4-9e6f-8f065e0119c4" providerId="ADAL" clId="{B6745356-B6CF-45AA-ADCC-AC8F740A00DA}" dt="2022-07-21T17:21:14.435" v="31814" actId="1076"/>
          <ac:spMkLst>
            <pc:docMk/>
            <pc:sldMk cId="2860812818" sldId="691"/>
            <ac:spMk id="14" creationId="{59DD1EE5-573F-4C5D-BAC9-9B7C625303AF}"/>
          </ac:spMkLst>
        </pc:spChg>
        <pc:spChg chg="add mod">
          <ac:chgData name="Matthäus Alberding" userId="89cdd4c9-d044-4ab4-9e6f-8f065e0119c4" providerId="ADAL" clId="{B6745356-B6CF-45AA-ADCC-AC8F740A00DA}" dt="2022-07-21T17:25:28.153" v="32912" actId="20577"/>
          <ac:spMkLst>
            <pc:docMk/>
            <pc:sldMk cId="2860812818" sldId="691"/>
            <ac:spMk id="15" creationId="{3FA740CB-B684-46C8-A254-3900E2817115}"/>
          </ac:spMkLst>
        </pc:spChg>
        <pc:graphicFrameChg chg="mod">
          <ac:chgData name="Matthäus Alberding" userId="89cdd4c9-d044-4ab4-9e6f-8f065e0119c4" providerId="ADAL" clId="{B6745356-B6CF-45AA-ADCC-AC8F740A00DA}" dt="2022-07-21T17:26:08.848" v="32962"/>
          <ac:graphicFrameMkLst>
            <pc:docMk/>
            <pc:sldMk cId="2860812818" sldId="691"/>
            <ac:graphicFrameMk id="9" creationId="{5973B4CD-6B2E-4962-8F2C-AEF27AA67B75}"/>
          </ac:graphicFrameMkLst>
        </pc:graphicFrameChg>
        <pc:graphicFrameChg chg="add mod">
          <ac:chgData name="Matthäus Alberding" userId="89cdd4c9-d044-4ab4-9e6f-8f065e0119c4" providerId="ADAL" clId="{B6745356-B6CF-45AA-ADCC-AC8F740A00DA}" dt="2022-07-21T17:21:04.813" v="31811" actId="14100"/>
          <ac:graphicFrameMkLst>
            <pc:docMk/>
            <pc:sldMk cId="2860812818" sldId="691"/>
            <ac:graphicFrameMk id="10" creationId="{F5A93986-58C1-44B6-9F7F-0AFB9E0DE462}"/>
          </ac:graphicFrameMkLst>
        </pc:graphicFrameChg>
        <pc:picChg chg="mod">
          <ac:chgData name="Matthäus Alberding" userId="89cdd4c9-d044-4ab4-9e6f-8f065e0119c4" providerId="ADAL" clId="{B6745356-B6CF-45AA-ADCC-AC8F740A00DA}" dt="2022-07-21T17:25:54.733" v="32915" actId="14100"/>
          <ac:picMkLst>
            <pc:docMk/>
            <pc:sldMk cId="2860812818" sldId="691"/>
            <ac:picMk id="13" creationId="{61DE1F2C-9F97-4ABB-B312-436CBB87B6E3}"/>
          </ac:picMkLst>
        </pc:picChg>
      </pc:sldChg>
      <pc:sldChg chg="addSp delSp modSp new add del mod modTransition modShow">
        <pc:chgData name="Matthäus Alberding" userId="89cdd4c9-d044-4ab4-9e6f-8f065e0119c4" providerId="ADAL" clId="{B6745356-B6CF-45AA-ADCC-AC8F740A00DA}" dt="2022-07-21T17:43:08.381" v="34312" actId="47"/>
        <pc:sldMkLst>
          <pc:docMk/>
          <pc:sldMk cId="833960643" sldId="692"/>
        </pc:sldMkLst>
        <pc:spChg chg="mod">
          <ac:chgData name="Matthäus Alberding" userId="89cdd4c9-d044-4ab4-9e6f-8f065e0119c4" providerId="ADAL" clId="{B6745356-B6CF-45AA-ADCC-AC8F740A00DA}" dt="2022-07-21T17:40:09.644" v="34237" actId="948"/>
          <ac:spMkLst>
            <pc:docMk/>
            <pc:sldMk cId="833960643" sldId="692"/>
            <ac:spMk id="4" creationId="{68E9E5B2-BE0A-4336-9F3B-99BAE4BFD605}"/>
          </ac:spMkLst>
        </pc:spChg>
        <pc:spChg chg="add del mod modVis">
          <ac:chgData name="Matthäus Alberding" userId="89cdd4c9-d044-4ab4-9e6f-8f065e0119c4" providerId="ADAL" clId="{B6745356-B6CF-45AA-ADCC-AC8F740A00DA}" dt="2022-07-21T17:40:01.625" v="34113"/>
          <ac:spMkLst>
            <pc:docMk/>
            <pc:sldMk cId="833960643" sldId="692"/>
            <ac:spMk id="8" creationId="{24D989F1-4610-4C52-A419-B6B5A317F86F}"/>
          </ac:spMkLst>
        </pc:spChg>
        <pc:spChg chg="add del mod modVis">
          <ac:chgData name="Matthäus Alberding" userId="89cdd4c9-d044-4ab4-9e6f-8f065e0119c4" providerId="ADAL" clId="{B6745356-B6CF-45AA-ADCC-AC8F740A00DA}" dt="2022-07-21T17:40:06.730" v="34186"/>
          <ac:spMkLst>
            <pc:docMk/>
            <pc:sldMk cId="833960643" sldId="692"/>
            <ac:spMk id="9" creationId="{BB457724-D7FF-4CDB-A644-A30F130FE8FF}"/>
          </ac:spMkLst>
        </pc:spChg>
        <pc:spChg chg="add del mod modVis">
          <ac:chgData name="Matthäus Alberding" userId="89cdd4c9-d044-4ab4-9e6f-8f065e0119c4" providerId="ADAL" clId="{B6745356-B6CF-45AA-ADCC-AC8F740A00DA}" dt="2022-07-21T17:40:09.022" v="34233"/>
          <ac:spMkLst>
            <pc:docMk/>
            <pc:sldMk cId="833960643" sldId="692"/>
            <ac:spMk id="10" creationId="{C894BE47-7204-4359-B58B-A310CF856D28}"/>
          </ac:spMkLst>
        </pc:spChg>
        <pc:spChg chg="add del mod modVis">
          <ac:chgData name="Matthäus Alberding" userId="89cdd4c9-d044-4ab4-9e6f-8f065e0119c4" providerId="ADAL" clId="{B6745356-B6CF-45AA-ADCC-AC8F740A00DA}" dt="2022-07-21T17:40:09.662" v="34276"/>
          <ac:spMkLst>
            <pc:docMk/>
            <pc:sldMk cId="833960643" sldId="692"/>
            <ac:spMk id="11" creationId="{D88A1E1F-D5A2-4B48-80C1-FD4C36252F9A}"/>
          </ac:spMkLst>
        </pc:spChg>
        <pc:spChg chg="add mod">
          <ac:chgData name="Matthäus Alberding" userId="89cdd4c9-d044-4ab4-9e6f-8f065e0119c4" providerId="ADAL" clId="{B6745356-B6CF-45AA-ADCC-AC8F740A00DA}" dt="2022-07-21T17:41:13.421" v="34294" actId="1076"/>
          <ac:spMkLst>
            <pc:docMk/>
            <pc:sldMk cId="833960643" sldId="692"/>
            <ac:spMk id="12" creationId="{9BF1F623-41D1-41A3-BC7D-3520B0A45EB0}"/>
          </ac:spMkLst>
        </pc:spChg>
        <pc:spChg chg="add mod">
          <ac:chgData name="Matthäus Alberding" userId="89cdd4c9-d044-4ab4-9e6f-8f065e0119c4" providerId="ADAL" clId="{B6745356-B6CF-45AA-ADCC-AC8F740A00DA}" dt="2022-07-21T17:40:56.820" v="34285" actId="2711"/>
          <ac:spMkLst>
            <pc:docMk/>
            <pc:sldMk cId="833960643" sldId="692"/>
            <ac:spMk id="13" creationId="{3665E4F5-1931-49FD-A04B-A0A4C199766F}"/>
          </ac:spMkLst>
        </pc:spChg>
        <pc:graphicFrameChg chg="add mod">
          <ac:chgData name="Matthäus Alberding" userId="89cdd4c9-d044-4ab4-9e6f-8f065e0119c4" providerId="ADAL" clId="{B6745356-B6CF-45AA-ADCC-AC8F740A00DA}" dt="2022-07-21T17:41:16.481" v="34295" actId="1076"/>
          <ac:graphicFrameMkLst>
            <pc:docMk/>
            <pc:sldMk cId="833960643" sldId="692"/>
            <ac:graphicFrameMk id="6" creationId="{267D38AB-F0A3-49AB-9EAA-2D9511EBB906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1T17:40:09.663" v="34278"/>
          <ac:graphicFrameMkLst>
            <pc:docMk/>
            <pc:sldMk cId="833960643" sldId="692"/>
            <ac:graphicFrameMk id="7" creationId="{8A94F8CD-ED5C-4B00-AA49-88E962CC0EB5}"/>
          </ac:graphicFrameMkLst>
        </pc:graphicFrameChg>
      </pc:sldChg>
      <pc:sldChg chg="modSp del mod">
        <pc:chgData name="Matthäus Alberding" userId="89cdd4c9-d044-4ab4-9e6f-8f065e0119c4" providerId="ADAL" clId="{B6745356-B6CF-45AA-ADCC-AC8F740A00DA}" dt="2022-07-26T11:07:29.872" v="61915" actId="47"/>
        <pc:sldMkLst>
          <pc:docMk/>
          <pc:sldMk cId="3832137676" sldId="692"/>
        </pc:sldMkLst>
        <pc:spChg chg="mod">
          <ac:chgData name="Matthäus Alberding" userId="89cdd4c9-d044-4ab4-9e6f-8f065e0119c4" providerId="ADAL" clId="{B6745356-B6CF-45AA-ADCC-AC8F740A00DA}" dt="2022-07-26T10:20:28.272" v="58975" actId="20577"/>
          <ac:spMkLst>
            <pc:docMk/>
            <pc:sldMk cId="3832137676" sldId="692"/>
            <ac:spMk id="11" creationId="{A87F5CB7-85B2-4C26-A1B8-320D900A6B9F}"/>
          </ac:spMkLst>
        </pc:spChg>
      </pc:sldChg>
      <pc:sldChg chg="addSp delSp modSp mod">
        <pc:chgData name="Matthäus Alberding" userId="89cdd4c9-d044-4ab4-9e6f-8f065e0119c4" providerId="ADAL" clId="{B6745356-B6CF-45AA-ADCC-AC8F740A00DA}" dt="2022-07-29T09:07:08.272" v="103927" actId="20577"/>
        <pc:sldMkLst>
          <pc:docMk/>
          <pc:sldMk cId="3287109482" sldId="695"/>
        </pc:sldMkLst>
        <pc:spChg chg="add del mod modVis">
          <ac:chgData name="Matthäus Alberding" userId="89cdd4c9-d044-4ab4-9e6f-8f065e0119c4" providerId="ADAL" clId="{B6745356-B6CF-45AA-ADCC-AC8F740A00DA}" dt="2022-07-22T14:13:40.254" v="42704"/>
          <ac:spMkLst>
            <pc:docMk/>
            <pc:sldMk cId="3287109482" sldId="695"/>
            <ac:spMk id="4" creationId="{BA871F1C-63DB-4728-BEDB-A1B87E410231}"/>
          </ac:spMkLst>
        </pc:spChg>
        <pc:spChg chg="add del mod modVis">
          <ac:chgData name="Matthäus Alberding" userId="89cdd4c9-d044-4ab4-9e6f-8f065e0119c4" providerId="ADAL" clId="{B6745356-B6CF-45AA-ADCC-AC8F740A00DA}" dt="2022-07-22T14:13:52.016" v="42801"/>
          <ac:spMkLst>
            <pc:docMk/>
            <pc:sldMk cId="3287109482" sldId="695"/>
            <ac:spMk id="5" creationId="{D9C3BD69-DAF2-428A-805C-C9BF35D1DDCC}"/>
          </ac:spMkLst>
        </pc:spChg>
        <pc:spChg chg="add del mod modVis">
          <ac:chgData name="Matthäus Alberding" userId="89cdd4c9-d044-4ab4-9e6f-8f065e0119c4" providerId="ADAL" clId="{B6745356-B6CF-45AA-ADCC-AC8F740A00DA}" dt="2022-07-22T14:13:53.003" v="42847"/>
          <ac:spMkLst>
            <pc:docMk/>
            <pc:sldMk cId="3287109482" sldId="695"/>
            <ac:spMk id="6" creationId="{97041A89-D406-45E7-9AD7-D143EAC4AAA4}"/>
          </ac:spMkLst>
        </pc:spChg>
        <pc:spChg chg="add del mod modVis">
          <ac:chgData name="Matthäus Alberding" userId="89cdd4c9-d044-4ab4-9e6f-8f065e0119c4" providerId="ADAL" clId="{B6745356-B6CF-45AA-ADCC-AC8F740A00DA}" dt="2022-07-22T14:13:54.691" v="42892"/>
          <ac:spMkLst>
            <pc:docMk/>
            <pc:sldMk cId="3287109482" sldId="695"/>
            <ac:spMk id="7" creationId="{B0F79C12-CBF3-4E96-8260-3D0365C9786C}"/>
          </ac:spMkLst>
        </pc:spChg>
        <pc:spChg chg="add del mod modVis">
          <ac:chgData name="Matthäus Alberding" userId="89cdd4c9-d044-4ab4-9e6f-8f065e0119c4" providerId="ADAL" clId="{B6745356-B6CF-45AA-ADCC-AC8F740A00DA}" dt="2022-07-22T14:13:55.969" v="42935"/>
          <ac:spMkLst>
            <pc:docMk/>
            <pc:sldMk cId="3287109482" sldId="695"/>
            <ac:spMk id="8" creationId="{EC9D75E5-E25A-4F4B-898F-3691949B8FEB}"/>
          </ac:spMkLst>
        </pc:spChg>
        <pc:spChg chg="add del mod modVis">
          <ac:chgData name="Matthäus Alberding" userId="89cdd4c9-d044-4ab4-9e6f-8f065e0119c4" providerId="ADAL" clId="{B6745356-B6CF-45AA-ADCC-AC8F740A00DA}" dt="2022-07-22T14:13:58.321" v="43000"/>
          <ac:spMkLst>
            <pc:docMk/>
            <pc:sldMk cId="3287109482" sldId="695"/>
            <ac:spMk id="9" creationId="{14CF8270-47B7-4A45-8C3E-6F34FFE328B7}"/>
          </ac:spMkLst>
        </pc:spChg>
        <pc:spChg chg="add del mod modVis">
          <ac:chgData name="Matthäus Alberding" userId="89cdd4c9-d044-4ab4-9e6f-8f065e0119c4" providerId="ADAL" clId="{B6745356-B6CF-45AA-ADCC-AC8F740A00DA}" dt="2022-07-22T14:14:06.585" v="43047"/>
          <ac:spMkLst>
            <pc:docMk/>
            <pc:sldMk cId="3287109482" sldId="695"/>
            <ac:spMk id="10" creationId="{55EBD12B-C4E2-405C-B3B1-3D97389A4830}"/>
          </ac:spMkLst>
        </pc:spChg>
        <pc:spChg chg="mod">
          <ac:chgData name="Matthäus Alberding" userId="89cdd4c9-d044-4ab4-9e6f-8f065e0119c4" providerId="ADAL" clId="{B6745356-B6CF-45AA-ADCC-AC8F740A00DA}" dt="2022-07-22T14:15:50.757" v="44386" actId="948"/>
          <ac:spMkLst>
            <pc:docMk/>
            <pc:sldMk cId="3287109482" sldId="695"/>
            <ac:spMk id="12" creationId="{F33540AA-1669-46A0-8CA0-78D05D9A17EB}"/>
          </ac:spMkLst>
        </pc:spChg>
        <pc:spChg chg="add del mod modVis">
          <ac:chgData name="Matthäus Alberding" userId="89cdd4c9-d044-4ab4-9e6f-8f065e0119c4" providerId="ADAL" clId="{B6745356-B6CF-45AA-ADCC-AC8F740A00DA}" dt="2022-07-22T14:14:08.285" v="43097"/>
          <ac:spMkLst>
            <pc:docMk/>
            <pc:sldMk cId="3287109482" sldId="695"/>
            <ac:spMk id="13" creationId="{33CAB36E-5FF2-480C-A690-C250AA8E6EA4}"/>
          </ac:spMkLst>
        </pc:spChg>
        <pc:spChg chg="add del mod modVis">
          <ac:chgData name="Matthäus Alberding" userId="89cdd4c9-d044-4ab4-9e6f-8f065e0119c4" providerId="ADAL" clId="{B6745356-B6CF-45AA-ADCC-AC8F740A00DA}" dt="2022-07-22T14:14:12.481" v="43159"/>
          <ac:spMkLst>
            <pc:docMk/>
            <pc:sldMk cId="3287109482" sldId="695"/>
            <ac:spMk id="14" creationId="{62E00D0D-8DB5-4CF2-98C6-AEFECDA8F617}"/>
          </ac:spMkLst>
        </pc:spChg>
        <pc:spChg chg="mod">
          <ac:chgData name="Matthäus Alberding" userId="89cdd4c9-d044-4ab4-9e6f-8f065e0119c4" providerId="ADAL" clId="{B6745356-B6CF-45AA-ADCC-AC8F740A00DA}" dt="2022-07-22T15:14:47.522" v="47984" actId="6549"/>
          <ac:spMkLst>
            <pc:docMk/>
            <pc:sldMk cId="3287109482" sldId="695"/>
            <ac:spMk id="15" creationId="{AABFCF61-FD15-4DDD-8A4A-F60B3EA49CE6}"/>
          </ac:spMkLst>
        </pc:spChg>
        <pc:spChg chg="add del mod modVis">
          <ac:chgData name="Matthäus Alberding" userId="89cdd4c9-d044-4ab4-9e6f-8f065e0119c4" providerId="ADAL" clId="{B6745356-B6CF-45AA-ADCC-AC8F740A00DA}" dt="2022-07-22T14:14:16.316" v="43217"/>
          <ac:spMkLst>
            <pc:docMk/>
            <pc:sldMk cId="3287109482" sldId="695"/>
            <ac:spMk id="16" creationId="{B19C7C1A-00B1-4217-9AFD-1BF82E80B18E}"/>
          </ac:spMkLst>
        </pc:spChg>
        <pc:spChg chg="add del mod modVis">
          <ac:chgData name="Matthäus Alberding" userId="89cdd4c9-d044-4ab4-9e6f-8f065e0119c4" providerId="ADAL" clId="{B6745356-B6CF-45AA-ADCC-AC8F740A00DA}" dt="2022-07-22T14:14:19.674" v="43264"/>
          <ac:spMkLst>
            <pc:docMk/>
            <pc:sldMk cId="3287109482" sldId="695"/>
            <ac:spMk id="17" creationId="{95744AE2-5C93-4ACF-BA2C-CF357E8691CD}"/>
          </ac:spMkLst>
        </pc:spChg>
        <pc:spChg chg="add del mod modVis">
          <ac:chgData name="Matthäus Alberding" userId="89cdd4c9-d044-4ab4-9e6f-8f065e0119c4" providerId="ADAL" clId="{B6745356-B6CF-45AA-ADCC-AC8F740A00DA}" dt="2022-07-22T14:14:20.539" v="43309"/>
          <ac:spMkLst>
            <pc:docMk/>
            <pc:sldMk cId="3287109482" sldId="695"/>
            <ac:spMk id="18" creationId="{2A3E4F1D-4248-4D7A-AC11-9F71F9CE1C82}"/>
          </ac:spMkLst>
        </pc:spChg>
        <pc:spChg chg="add del mod modVis">
          <ac:chgData name="Matthäus Alberding" userId="89cdd4c9-d044-4ab4-9e6f-8f065e0119c4" providerId="ADAL" clId="{B6745356-B6CF-45AA-ADCC-AC8F740A00DA}" dt="2022-07-22T14:14:23.469" v="43355"/>
          <ac:spMkLst>
            <pc:docMk/>
            <pc:sldMk cId="3287109482" sldId="695"/>
            <ac:spMk id="19" creationId="{A24BB931-5428-4DC3-9530-4E10FAB3B244}"/>
          </ac:spMkLst>
        </pc:spChg>
        <pc:spChg chg="add del mod modVis">
          <ac:chgData name="Matthäus Alberding" userId="89cdd4c9-d044-4ab4-9e6f-8f065e0119c4" providerId="ADAL" clId="{B6745356-B6CF-45AA-ADCC-AC8F740A00DA}" dt="2022-07-22T14:14:40.820" v="43402"/>
          <ac:spMkLst>
            <pc:docMk/>
            <pc:sldMk cId="3287109482" sldId="695"/>
            <ac:spMk id="20" creationId="{EBBA32BB-3F34-4B4B-9F28-4C194FB39DD2}"/>
          </ac:spMkLst>
        </pc:spChg>
        <pc:spChg chg="add del mod modVis">
          <ac:chgData name="Matthäus Alberding" userId="89cdd4c9-d044-4ab4-9e6f-8f065e0119c4" providerId="ADAL" clId="{B6745356-B6CF-45AA-ADCC-AC8F740A00DA}" dt="2022-07-22T14:14:42.814" v="43452"/>
          <ac:spMkLst>
            <pc:docMk/>
            <pc:sldMk cId="3287109482" sldId="695"/>
            <ac:spMk id="21" creationId="{C6394D5B-B960-4C07-A939-AC0DE4985976}"/>
          </ac:spMkLst>
        </pc:spChg>
        <pc:spChg chg="add del mod modVis">
          <ac:chgData name="Matthäus Alberding" userId="89cdd4c9-d044-4ab4-9e6f-8f065e0119c4" providerId="ADAL" clId="{B6745356-B6CF-45AA-ADCC-AC8F740A00DA}" dt="2022-07-22T14:14:45.803" v="43495"/>
          <ac:spMkLst>
            <pc:docMk/>
            <pc:sldMk cId="3287109482" sldId="695"/>
            <ac:spMk id="22" creationId="{E5761BE2-45AC-451C-9160-D558ADC6B019}"/>
          </ac:spMkLst>
        </pc:spChg>
        <pc:spChg chg="add del mod modVis">
          <ac:chgData name="Matthäus Alberding" userId="89cdd4c9-d044-4ab4-9e6f-8f065e0119c4" providerId="ADAL" clId="{B6745356-B6CF-45AA-ADCC-AC8F740A00DA}" dt="2022-07-22T14:14:48.655" v="43542"/>
          <ac:spMkLst>
            <pc:docMk/>
            <pc:sldMk cId="3287109482" sldId="695"/>
            <ac:spMk id="23" creationId="{11AB2FE3-1226-45BC-A150-34098742E471}"/>
          </ac:spMkLst>
        </pc:spChg>
        <pc:spChg chg="add del mod modVis">
          <ac:chgData name="Matthäus Alberding" userId="89cdd4c9-d044-4ab4-9e6f-8f065e0119c4" providerId="ADAL" clId="{B6745356-B6CF-45AA-ADCC-AC8F740A00DA}" dt="2022-07-22T14:14:52.771" v="43585"/>
          <ac:spMkLst>
            <pc:docMk/>
            <pc:sldMk cId="3287109482" sldId="695"/>
            <ac:spMk id="24" creationId="{378B1C9A-B9A5-4864-B24C-A735BBBBC370}"/>
          </ac:spMkLst>
        </pc:spChg>
        <pc:spChg chg="add del mod modVis">
          <ac:chgData name="Matthäus Alberding" userId="89cdd4c9-d044-4ab4-9e6f-8f065e0119c4" providerId="ADAL" clId="{B6745356-B6CF-45AA-ADCC-AC8F740A00DA}" dt="2022-07-22T14:15:44.763" v="44279"/>
          <ac:spMkLst>
            <pc:docMk/>
            <pc:sldMk cId="3287109482" sldId="695"/>
            <ac:spMk id="25" creationId="{B679C9DA-5B49-4547-8A2B-09767D48E262}"/>
          </ac:spMkLst>
        </pc:spChg>
        <pc:spChg chg="add del mod modVis">
          <ac:chgData name="Matthäus Alberding" userId="89cdd4c9-d044-4ab4-9e6f-8f065e0119c4" providerId="ADAL" clId="{B6745356-B6CF-45AA-ADCC-AC8F740A00DA}" dt="2022-07-22T14:15:47.102" v="44323"/>
          <ac:spMkLst>
            <pc:docMk/>
            <pc:sldMk cId="3287109482" sldId="695"/>
            <ac:spMk id="26" creationId="{7D6B1D6F-E9C9-4E3F-96DB-41D01057878B}"/>
          </ac:spMkLst>
        </pc:spChg>
        <pc:spChg chg="add del mod modVis">
          <ac:chgData name="Matthäus Alberding" userId="89cdd4c9-d044-4ab4-9e6f-8f065e0119c4" providerId="ADAL" clId="{B6745356-B6CF-45AA-ADCC-AC8F740A00DA}" dt="2022-07-22T14:15:48.493" v="44372"/>
          <ac:spMkLst>
            <pc:docMk/>
            <pc:sldMk cId="3287109482" sldId="695"/>
            <ac:spMk id="27" creationId="{A0A5FB84-6D1D-4CCF-B687-D0FCF65F4B3C}"/>
          </ac:spMkLst>
        </pc:spChg>
        <pc:spChg chg="add del mod modVis">
          <ac:chgData name="Matthäus Alberding" userId="89cdd4c9-d044-4ab4-9e6f-8f065e0119c4" providerId="ADAL" clId="{B6745356-B6CF-45AA-ADCC-AC8F740A00DA}" dt="2022-07-22T14:15:50.775" v="44425"/>
          <ac:spMkLst>
            <pc:docMk/>
            <pc:sldMk cId="3287109482" sldId="695"/>
            <ac:spMk id="28" creationId="{2A583213-861B-485B-9F00-58088C4D7A6D}"/>
          </ac:spMkLst>
        </pc:spChg>
        <pc:spChg chg="mod">
          <ac:chgData name="Matthäus Alberding" userId="89cdd4c9-d044-4ab4-9e6f-8f065e0119c4" providerId="ADAL" clId="{B6745356-B6CF-45AA-ADCC-AC8F740A00DA}" dt="2022-07-29T09:07:08.272" v="103927" actId="20577"/>
          <ac:spMkLst>
            <pc:docMk/>
            <pc:sldMk cId="3287109482" sldId="695"/>
            <ac:spMk id="31" creationId="{251EEE42-CD65-4E0A-9C20-106A9DF1EEF4}"/>
          </ac:spMkLst>
        </pc:spChg>
        <pc:spChg chg="mod">
          <ac:chgData name="Matthäus Alberding" userId="89cdd4c9-d044-4ab4-9e6f-8f065e0119c4" providerId="ADAL" clId="{B6745356-B6CF-45AA-ADCC-AC8F740A00DA}" dt="2022-07-22T16:53:12.334" v="57010" actId="20577"/>
          <ac:spMkLst>
            <pc:docMk/>
            <pc:sldMk cId="3287109482" sldId="695"/>
            <ac:spMk id="36" creationId="{CD07BF33-D8DC-4B1C-8E1A-983F64885C9C}"/>
          </ac:spMkLst>
        </pc:spChg>
        <pc:spChg chg="mod">
          <ac:chgData name="Matthäus Alberding" userId="89cdd4c9-d044-4ab4-9e6f-8f065e0119c4" providerId="ADAL" clId="{B6745356-B6CF-45AA-ADCC-AC8F740A00DA}" dt="2022-07-22T14:08:27.158" v="42510" actId="6549"/>
          <ac:spMkLst>
            <pc:docMk/>
            <pc:sldMk cId="3287109482" sldId="695"/>
            <ac:spMk id="37" creationId="{06DA1DA0-0E1F-4E1A-B98A-5BF8DBC62A0E}"/>
          </ac:spMkLst>
        </pc:spChg>
        <pc:graphicFrameChg chg="mod">
          <ac:chgData name="Matthäus Alberding" userId="89cdd4c9-d044-4ab4-9e6f-8f065e0119c4" providerId="ADAL" clId="{B6745356-B6CF-45AA-ADCC-AC8F740A00DA}" dt="2022-07-22T14:15:50.776" v="44427"/>
          <ac:graphicFrameMkLst>
            <pc:docMk/>
            <pc:sldMk cId="3287109482" sldId="695"/>
            <ac:graphicFrameMk id="11" creationId="{4F7BD645-EBEF-434C-A149-D9384CBB46AE}"/>
          </ac:graphicFrameMkLst>
        </pc:graphicFrameChg>
      </pc:sldChg>
      <pc:sldChg chg="addSp delSp modSp mod">
        <pc:chgData name="Matthäus Alberding" userId="89cdd4c9-d044-4ab4-9e6f-8f065e0119c4" providerId="ADAL" clId="{B6745356-B6CF-45AA-ADCC-AC8F740A00DA}" dt="2022-07-29T09:06:26.538" v="103916" actId="20577"/>
        <pc:sldMkLst>
          <pc:docMk/>
          <pc:sldMk cId="264909340" sldId="696"/>
        </pc:sldMkLst>
        <pc:spChg chg="add del mod modVis">
          <ac:chgData name="Matthäus Alberding" userId="89cdd4c9-d044-4ab4-9e6f-8f065e0119c4" providerId="ADAL" clId="{B6745356-B6CF-45AA-ADCC-AC8F740A00DA}" dt="2022-07-22T12:37:23.519" v="36664"/>
          <ac:spMkLst>
            <pc:docMk/>
            <pc:sldMk cId="264909340" sldId="696"/>
            <ac:spMk id="4" creationId="{E997F9B0-9315-4BCF-BD25-013C066E6A1D}"/>
          </ac:spMkLst>
        </pc:spChg>
        <pc:spChg chg="add del mod modVis">
          <ac:chgData name="Matthäus Alberding" userId="89cdd4c9-d044-4ab4-9e6f-8f065e0119c4" providerId="ADAL" clId="{B6745356-B6CF-45AA-ADCC-AC8F740A00DA}" dt="2022-07-22T12:37:24.318" v="36708"/>
          <ac:spMkLst>
            <pc:docMk/>
            <pc:sldMk cId="264909340" sldId="696"/>
            <ac:spMk id="5" creationId="{425D39ED-7C5D-4AED-850B-F3D4DAA749AB}"/>
          </ac:spMkLst>
        </pc:spChg>
        <pc:spChg chg="add del mod modVis">
          <ac:chgData name="Matthäus Alberding" userId="89cdd4c9-d044-4ab4-9e6f-8f065e0119c4" providerId="ADAL" clId="{B6745356-B6CF-45AA-ADCC-AC8F740A00DA}" dt="2022-07-22T12:37:28.601" v="36780"/>
          <ac:spMkLst>
            <pc:docMk/>
            <pc:sldMk cId="264909340" sldId="696"/>
            <ac:spMk id="6" creationId="{D39F9E0E-FA91-4DF0-BB75-37A3C79D92D7}"/>
          </ac:spMkLst>
        </pc:spChg>
        <pc:spChg chg="add del mod modVis">
          <ac:chgData name="Matthäus Alberding" userId="89cdd4c9-d044-4ab4-9e6f-8f065e0119c4" providerId="ADAL" clId="{B6745356-B6CF-45AA-ADCC-AC8F740A00DA}" dt="2022-07-22T12:37:29.905" v="36829"/>
          <ac:spMkLst>
            <pc:docMk/>
            <pc:sldMk cId="264909340" sldId="696"/>
            <ac:spMk id="7" creationId="{12965B6D-F6A4-4CCC-872F-E0F64EC1F818}"/>
          </ac:spMkLst>
        </pc:spChg>
        <pc:spChg chg="add del mod modVis">
          <ac:chgData name="Matthäus Alberding" userId="89cdd4c9-d044-4ab4-9e6f-8f065e0119c4" providerId="ADAL" clId="{B6745356-B6CF-45AA-ADCC-AC8F740A00DA}" dt="2022-07-22T12:37:35.208" v="36891"/>
          <ac:spMkLst>
            <pc:docMk/>
            <pc:sldMk cId="264909340" sldId="696"/>
            <ac:spMk id="8" creationId="{B3FFE7AC-4C5C-4598-8D35-9BCB5AE8DEE3}"/>
          </ac:spMkLst>
        </pc:spChg>
        <pc:spChg chg="add del mod modVis">
          <ac:chgData name="Matthäus Alberding" userId="89cdd4c9-d044-4ab4-9e6f-8f065e0119c4" providerId="ADAL" clId="{B6745356-B6CF-45AA-ADCC-AC8F740A00DA}" dt="2022-07-22T12:37:36.694" v="36943"/>
          <ac:spMkLst>
            <pc:docMk/>
            <pc:sldMk cId="264909340" sldId="696"/>
            <ac:spMk id="9" creationId="{5E554C32-1983-4CBC-8CA8-343520F40B65}"/>
          </ac:spMkLst>
        </pc:spChg>
        <pc:spChg chg="add del mod modVis">
          <ac:chgData name="Matthäus Alberding" userId="89cdd4c9-d044-4ab4-9e6f-8f065e0119c4" providerId="ADAL" clId="{B6745356-B6CF-45AA-ADCC-AC8F740A00DA}" dt="2022-07-22T13:12:30.795" v="38617"/>
          <ac:spMkLst>
            <pc:docMk/>
            <pc:sldMk cId="264909340" sldId="696"/>
            <ac:spMk id="10" creationId="{4CE6E5D0-6D75-40C1-8CD4-F9A4A76D2E97}"/>
          </ac:spMkLst>
        </pc:spChg>
        <pc:spChg chg="mod">
          <ac:chgData name="Matthäus Alberding" userId="89cdd4c9-d044-4ab4-9e6f-8f065e0119c4" providerId="ADAL" clId="{B6745356-B6CF-45AA-ADCC-AC8F740A00DA}" dt="2022-07-22T15:23:42.547" v="48546" actId="948"/>
          <ac:spMkLst>
            <pc:docMk/>
            <pc:sldMk cId="264909340" sldId="696"/>
            <ac:spMk id="12" creationId="{F33540AA-1669-46A0-8CA0-78D05D9A17EB}"/>
          </ac:spMkLst>
        </pc:spChg>
        <pc:spChg chg="add del mod modVis">
          <ac:chgData name="Matthäus Alberding" userId="89cdd4c9-d044-4ab4-9e6f-8f065e0119c4" providerId="ADAL" clId="{B6745356-B6CF-45AA-ADCC-AC8F740A00DA}" dt="2022-07-22T13:12:33.557" v="38671"/>
          <ac:spMkLst>
            <pc:docMk/>
            <pc:sldMk cId="264909340" sldId="696"/>
            <ac:spMk id="14" creationId="{39ABFE38-8F16-4A33-A75D-C0C38F2747BD}"/>
          </ac:spMkLst>
        </pc:spChg>
        <pc:spChg chg="mod">
          <ac:chgData name="Matthäus Alberding" userId="89cdd4c9-d044-4ab4-9e6f-8f065e0119c4" providerId="ADAL" clId="{B6745356-B6CF-45AA-ADCC-AC8F740A00DA}" dt="2022-07-22T15:14:42.932" v="47982" actId="6549"/>
          <ac:spMkLst>
            <pc:docMk/>
            <pc:sldMk cId="264909340" sldId="696"/>
            <ac:spMk id="15" creationId="{AABFCF61-FD15-4DDD-8A4A-F60B3EA49CE6}"/>
          </ac:spMkLst>
        </pc:spChg>
        <pc:spChg chg="mod">
          <ac:chgData name="Matthäus Alberding" userId="89cdd4c9-d044-4ab4-9e6f-8f065e0119c4" providerId="ADAL" clId="{B6745356-B6CF-45AA-ADCC-AC8F740A00DA}" dt="2022-07-29T09:06:26.538" v="103916" actId="20577"/>
          <ac:spMkLst>
            <pc:docMk/>
            <pc:sldMk cId="264909340" sldId="696"/>
            <ac:spMk id="16" creationId="{539618EE-8029-4431-B3B0-DEF304AE85F9}"/>
          </ac:spMkLst>
        </pc:spChg>
        <pc:spChg chg="add del mod modVis">
          <ac:chgData name="Matthäus Alberding" userId="89cdd4c9-d044-4ab4-9e6f-8f065e0119c4" providerId="ADAL" clId="{B6745356-B6CF-45AA-ADCC-AC8F740A00DA}" dt="2022-07-22T13:12:35.154" v="38721"/>
          <ac:spMkLst>
            <pc:docMk/>
            <pc:sldMk cId="264909340" sldId="696"/>
            <ac:spMk id="17" creationId="{04B9C120-A8E8-492A-B7C9-966C09BA8B65}"/>
          </ac:spMkLst>
        </pc:spChg>
        <pc:spChg chg="add del mod modVis">
          <ac:chgData name="Matthäus Alberding" userId="89cdd4c9-d044-4ab4-9e6f-8f065e0119c4" providerId="ADAL" clId="{B6745356-B6CF-45AA-ADCC-AC8F740A00DA}" dt="2022-07-22T13:12:42.506" v="38809"/>
          <ac:spMkLst>
            <pc:docMk/>
            <pc:sldMk cId="264909340" sldId="696"/>
            <ac:spMk id="18" creationId="{2E8873E6-865C-43BB-9D20-8395F0D03D50}"/>
          </ac:spMkLst>
        </pc:spChg>
        <pc:spChg chg="add del mod modVis">
          <ac:chgData name="Matthäus Alberding" userId="89cdd4c9-d044-4ab4-9e6f-8f065e0119c4" providerId="ADAL" clId="{B6745356-B6CF-45AA-ADCC-AC8F740A00DA}" dt="2022-07-22T13:12:48.885" v="38895"/>
          <ac:spMkLst>
            <pc:docMk/>
            <pc:sldMk cId="264909340" sldId="696"/>
            <ac:spMk id="19" creationId="{85D67447-BC55-461D-B14E-C63D30137874}"/>
          </ac:spMkLst>
        </pc:spChg>
        <pc:spChg chg="add del mod modVis">
          <ac:chgData name="Matthäus Alberding" userId="89cdd4c9-d044-4ab4-9e6f-8f065e0119c4" providerId="ADAL" clId="{B6745356-B6CF-45AA-ADCC-AC8F740A00DA}" dt="2022-07-22T13:12:52.127" v="38946"/>
          <ac:spMkLst>
            <pc:docMk/>
            <pc:sldMk cId="264909340" sldId="696"/>
            <ac:spMk id="20" creationId="{368C997A-3F77-410B-9D34-ADDE3A0FD439}"/>
          </ac:spMkLst>
        </pc:spChg>
        <pc:spChg chg="add del mod modVis">
          <ac:chgData name="Matthäus Alberding" userId="89cdd4c9-d044-4ab4-9e6f-8f065e0119c4" providerId="ADAL" clId="{B6745356-B6CF-45AA-ADCC-AC8F740A00DA}" dt="2022-07-22T13:12:57.771" v="39030"/>
          <ac:spMkLst>
            <pc:docMk/>
            <pc:sldMk cId="264909340" sldId="696"/>
            <ac:spMk id="21" creationId="{67CEE194-8440-49D2-BCF6-667510AC489A}"/>
          </ac:spMkLst>
        </pc:spChg>
        <pc:spChg chg="add del mod modVis">
          <ac:chgData name="Matthäus Alberding" userId="89cdd4c9-d044-4ab4-9e6f-8f065e0119c4" providerId="ADAL" clId="{B6745356-B6CF-45AA-ADCC-AC8F740A00DA}" dt="2022-07-22T13:56:32.761" v="41317"/>
          <ac:spMkLst>
            <pc:docMk/>
            <pc:sldMk cId="264909340" sldId="696"/>
            <ac:spMk id="22" creationId="{9FFFECA4-E63C-4379-826F-E14EB3CE491E}"/>
          </ac:spMkLst>
        </pc:spChg>
        <pc:spChg chg="add del mod modVis">
          <ac:chgData name="Matthäus Alberding" userId="89cdd4c9-d044-4ab4-9e6f-8f065e0119c4" providerId="ADAL" clId="{B6745356-B6CF-45AA-ADCC-AC8F740A00DA}" dt="2022-07-22T13:56:36.417" v="41365"/>
          <ac:spMkLst>
            <pc:docMk/>
            <pc:sldMk cId="264909340" sldId="696"/>
            <ac:spMk id="23" creationId="{8F937835-DD4C-4673-9270-9E7EEEB696F4}"/>
          </ac:spMkLst>
        </pc:spChg>
        <pc:spChg chg="add del mod modVis">
          <ac:chgData name="Matthäus Alberding" userId="89cdd4c9-d044-4ab4-9e6f-8f065e0119c4" providerId="ADAL" clId="{B6745356-B6CF-45AA-ADCC-AC8F740A00DA}" dt="2022-07-22T13:56:37.809" v="41413"/>
          <ac:spMkLst>
            <pc:docMk/>
            <pc:sldMk cId="264909340" sldId="696"/>
            <ac:spMk id="24" creationId="{897617E1-1F8C-4AB8-9E0F-DF7444595366}"/>
          </ac:spMkLst>
        </pc:spChg>
        <pc:spChg chg="add del mod modVis">
          <ac:chgData name="Matthäus Alberding" userId="89cdd4c9-d044-4ab4-9e6f-8f065e0119c4" providerId="ADAL" clId="{B6745356-B6CF-45AA-ADCC-AC8F740A00DA}" dt="2022-07-22T13:56:46.564" v="41490"/>
          <ac:spMkLst>
            <pc:docMk/>
            <pc:sldMk cId="264909340" sldId="696"/>
            <ac:spMk id="25" creationId="{38F3F0ED-4843-4592-A979-A5DDFD61FD32}"/>
          </ac:spMkLst>
        </pc:spChg>
        <pc:spChg chg="mod">
          <ac:chgData name="Matthäus Alberding" userId="89cdd4c9-d044-4ab4-9e6f-8f065e0119c4" providerId="ADAL" clId="{B6745356-B6CF-45AA-ADCC-AC8F740A00DA}" dt="2022-07-26T14:14:35.120" v="74976" actId="20577"/>
          <ac:spMkLst>
            <pc:docMk/>
            <pc:sldMk cId="264909340" sldId="696"/>
            <ac:spMk id="30" creationId="{C870E03D-E377-48DC-A97F-3F30596E18C1}"/>
          </ac:spMkLst>
        </pc:spChg>
        <pc:spChg chg="mod">
          <ac:chgData name="Matthäus Alberding" userId="89cdd4c9-d044-4ab4-9e6f-8f065e0119c4" providerId="ADAL" clId="{B6745356-B6CF-45AA-ADCC-AC8F740A00DA}" dt="2022-07-22T13:13:46.522" v="39085" actId="6549"/>
          <ac:spMkLst>
            <pc:docMk/>
            <pc:sldMk cId="264909340" sldId="696"/>
            <ac:spMk id="31" creationId="{1F5833A7-7460-4F87-8295-CD81701A09BC}"/>
          </ac:spMkLst>
        </pc:spChg>
        <pc:spChg chg="add del mod modVis">
          <ac:chgData name="Matthäus Alberding" userId="89cdd4c9-d044-4ab4-9e6f-8f065e0119c4" providerId="ADAL" clId="{B6745356-B6CF-45AA-ADCC-AC8F740A00DA}" dt="2022-07-22T13:56:51.060" v="41563"/>
          <ac:spMkLst>
            <pc:docMk/>
            <pc:sldMk cId="264909340" sldId="696"/>
            <ac:spMk id="32" creationId="{5664C30A-6263-4BCD-BE4E-A7983A0989BB}"/>
          </ac:spMkLst>
        </pc:spChg>
        <pc:spChg chg="add del mod modVis">
          <ac:chgData name="Matthäus Alberding" userId="89cdd4c9-d044-4ab4-9e6f-8f065e0119c4" providerId="ADAL" clId="{B6745356-B6CF-45AA-ADCC-AC8F740A00DA}" dt="2022-07-22T13:56:52.003" v="41606"/>
          <ac:spMkLst>
            <pc:docMk/>
            <pc:sldMk cId="264909340" sldId="696"/>
            <ac:spMk id="33" creationId="{34F0E763-E814-4782-8042-EDED1325405C}"/>
          </ac:spMkLst>
        </pc:spChg>
        <pc:spChg chg="add del mod modVis">
          <ac:chgData name="Matthäus Alberding" userId="89cdd4c9-d044-4ab4-9e6f-8f065e0119c4" providerId="ADAL" clId="{B6745356-B6CF-45AA-ADCC-AC8F740A00DA}" dt="2022-07-22T14:15:26.239" v="44045"/>
          <ac:spMkLst>
            <pc:docMk/>
            <pc:sldMk cId="264909340" sldId="696"/>
            <ac:spMk id="34" creationId="{F6504F87-E002-4057-BDA1-B0C4AFAD28E7}"/>
          </ac:spMkLst>
        </pc:spChg>
        <pc:spChg chg="add del mod modVis">
          <ac:chgData name="Matthäus Alberding" userId="89cdd4c9-d044-4ab4-9e6f-8f065e0119c4" providerId="ADAL" clId="{B6745356-B6CF-45AA-ADCC-AC8F740A00DA}" dt="2022-07-22T14:15:27.086" v="44088"/>
          <ac:spMkLst>
            <pc:docMk/>
            <pc:sldMk cId="264909340" sldId="696"/>
            <ac:spMk id="35" creationId="{569B47B8-4468-418F-B36D-2DA5093CB4B4}"/>
          </ac:spMkLst>
        </pc:spChg>
        <pc:spChg chg="add del mod modVis">
          <ac:chgData name="Matthäus Alberding" userId="89cdd4c9-d044-4ab4-9e6f-8f065e0119c4" providerId="ADAL" clId="{B6745356-B6CF-45AA-ADCC-AC8F740A00DA}" dt="2022-07-22T14:15:28.582" v="44135"/>
          <ac:spMkLst>
            <pc:docMk/>
            <pc:sldMk cId="264909340" sldId="696"/>
            <ac:spMk id="36" creationId="{F12B21F1-744E-4EA8-9B95-C3656717052A}"/>
          </ac:spMkLst>
        </pc:spChg>
        <pc:spChg chg="add del mod modVis">
          <ac:chgData name="Matthäus Alberding" userId="89cdd4c9-d044-4ab4-9e6f-8f065e0119c4" providerId="ADAL" clId="{B6745356-B6CF-45AA-ADCC-AC8F740A00DA}" dt="2022-07-22T14:15:32.850" v="44190"/>
          <ac:spMkLst>
            <pc:docMk/>
            <pc:sldMk cId="264909340" sldId="696"/>
            <ac:spMk id="37" creationId="{48C9D934-1F86-494E-8669-1C7BD6461701}"/>
          </ac:spMkLst>
        </pc:spChg>
        <pc:spChg chg="add del mod modVis">
          <ac:chgData name="Matthäus Alberding" userId="89cdd4c9-d044-4ab4-9e6f-8f065e0119c4" providerId="ADAL" clId="{B6745356-B6CF-45AA-ADCC-AC8F740A00DA}" dt="2022-07-22T15:23:36.664" v="48352"/>
          <ac:spMkLst>
            <pc:docMk/>
            <pc:sldMk cId="264909340" sldId="696"/>
            <ac:spMk id="38" creationId="{A607D7D2-196C-406C-B39B-792F39916E0A}"/>
          </ac:spMkLst>
        </pc:spChg>
        <pc:spChg chg="add del mod modVis">
          <ac:chgData name="Matthäus Alberding" userId="89cdd4c9-d044-4ab4-9e6f-8f065e0119c4" providerId="ADAL" clId="{B6745356-B6CF-45AA-ADCC-AC8F740A00DA}" dt="2022-07-22T15:23:37.458" v="48398"/>
          <ac:spMkLst>
            <pc:docMk/>
            <pc:sldMk cId="264909340" sldId="696"/>
            <ac:spMk id="39" creationId="{26A99096-1E67-43A3-8F46-A2742897E52A}"/>
          </ac:spMkLst>
        </pc:spChg>
        <pc:spChg chg="add del mod modVis">
          <ac:chgData name="Matthäus Alberding" userId="89cdd4c9-d044-4ab4-9e6f-8f065e0119c4" providerId="ADAL" clId="{B6745356-B6CF-45AA-ADCC-AC8F740A00DA}" dt="2022-07-22T15:23:39.798" v="48455"/>
          <ac:spMkLst>
            <pc:docMk/>
            <pc:sldMk cId="264909340" sldId="696"/>
            <ac:spMk id="40" creationId="{B8E7E089-F2A3-4752-8642-B1C965B79FA4}"/>
          </ac:spMkLst>
        </pc:spChg>
        <pc:spChg chg="add del mod modVis">
          <ac:chgData name="Matthäus Alberding" userId="89cdd4c9-d044-4ab4-9e6f-8f065e0119c4" providerId="ADAL" clId="{B6745356-B6CF-45AA-ADCC-AC8F740A00DA}" dt="2022-07-22T15:23:41.115" v="48499"/>
          <ac:spMkLst>
            <pc:docMk/>
            <pc:sldMk cId="264909340" sldId="696"/>
            <ac:spMk id="41" creationId="{DA00D289-AC82-46CF-877A-8B3118E0CEE0}"/>
          </ac:spMkLst>
        </pc:spChg>
        <pc:spChg chg="add del mod modVis">
          <ac:chgData name="Matthäus Alberding" userId="89cdd4c9-d044-4ab4-9e6f-8f065e0119c4" providerId="ADAL" clId="{B6745356-B6CF-45AA-ADCC-AC8F740A00DA}" dt="2022-07-22T15:23:42.015" v="48542"/>
          <ac:spMkLst>
            <pc:docMk/>
            <pc:sldMk cId="264909340" sldId="696"/>
            <ac:spMk id="42" creationId="{FA72F729-A71A-4715-949D-BE7398452E57}"/>
          </ac:spMkLst>
        </pc:spChg>
        <pc:spChg chg="add del mod modVis">
          <ac:chgData name="Matthäus Alberding" userId="89cdd4c9-d044-4ab4-9e6f-8f065e0119c4" providerId="ADAL" clId="{B6745356-B6CF-45AA-ADCC-AC8F740A00DA}" dt="2022-07-22T15:23:42.565" v="48585"/>
          <ac:spMkLst>
            <pc:docMk/>
            <pc:sldMk cId="264909340" sldId="696"/>
            <ac:spMk id="43" creationId="{ACD8A59C-88FB-4172-A474-2E4082BB4CBB}"/>
          </ac:spMkLst>
        </pc:spChg>
        <pc:graphicFrameChg chg="mod">
          <ac:chgData name="Matthäus Alberding" userId="89cdd4c9-d044-4ab4-9e6f-8f065e0119c4" providerId="ADAL" clId="{B6745356-B6CF-45AA-ADCC-AC8F740A00DA}" dt="2022-07-22T15:23:42.566" v="48587"/>
          <ac:graphicFrameMkLst>
            <pc:docMk/>
            <pc:sldMk cId="264909340" sldId="696"/>
            <ac:graphicFrameMk id="11" creationId="{4F7BD645-EBEF-434C-A149-D9384CBB46AE}"/>
          </ac:graphicFrameMkLst>
        </pc:graphicFrameChg>
      </pc:sldChg>
      <pc:sldChg chg="addSp delSp modSp mod">
        <pc:chgData name="Matthäus Alberding" userId="89cdd4c9-d044-4ab4-9e6f-8f065e0119c4" providerId="ADAL" clId="{B6745356-B6CF-45AA-ADCC-AC8F740A00DA}" dt="2022-07-26T10:28:28.195" v="60428" actId="20577"/>
        <pc:sldMkLst>
          <pc:docMk/>
          <pc:sldMk cId="1209866130" sldId="697"/>
        </pc:sldMkLst>
        <pc:spChg chg="add del mod modVis">
          <ac:chgData name="Matthäus Alberding" userId="89cdd4c9-d044-4ab4-9e6f-8f065e0119c4" providerId="ADAL" clId="{B6745356-B6CF-45AA-ADCC-AC8F740A00DA}" dt="2022-07-22T14:56:42.171" v="46257"/>
          <ac:spMkLst>
            <pc:docMk/>
            <pc:sldMk cId="1209866130" sldId="697"/>
            <ac:spMk id="4" creationId="{2D409A22-1A1B-4A07-B3B4-62FB0CB56D33}"/>
          </ac:spMkLst>
        </pc:spChg>
        <pc:spChg chg="add del mod modVis">
          <ac:chgData name="Matthäus Alberding" userId="89cdd4c9-d044-4ab4-9e6f-8f065e0119c4" providerId="ADAL" clId="{B6745356-B6CF-45AA-ADCC-AC8F740A00DA}" dt="2022-07-22T15:13:39.577" v="47482"/>
          <ac:spMkLst>
            <pc:docMk/>
            <pc:sldMk cId="1209866130" sldId="697"/>
            <ac:spMk id="5" creationId="{03FDB4FE-8C20-4334-9E7A-4D60498A9446}"/>
          </ac:spMkLst>
        </pc:spChg>
        <pc:spChg chg="add del mod modVis">
          <ac:chgData name="Matthäus Alberding" userId="89cdd4c9-d044-4ab4-9e6f-8f065e0119c4" providerId="ADAL" clId="{B6745356-B6CF-45AA-ADCC-AC8F740A00DA}" dt="2022-07-22T15:13:48.952" v="47551"/>
          <ac:spMkLst>
            <pc:docMk/>
            <pc:sldMk cId="1209866130" sldId="697"/>
            <ac:spMk id="6" creationId="{435EFA20-887B-4FC4-89CC-CBD9E17270FC}"/>
          </ac:spMkLst>
        </pc:spChg>
        <pc:spChg chg="add del mod modVis">
          <ac:chgData name="Matthäus Alberding" userId="89cdd4c9-d044-4ab4-9e6f-8f065e0119c4" providerId="ADAL" clId="{B6745356-B6CF-45AA-ADCC-AC8F740A00DA}" dt="2022-07-22T15:13:50.303" v="47602"/>
          <ac:spMkLst>
            <pc:docMk/>
            <pc:sldMk cId="1209866130" sldId="697"/>
            <ac:spMk id="7" creationId="{B88A7008-7473-4D35-92E8-89B49683FD73}"/>
          </ac:spMkLst>
        </pc:spChg>
        <pc:spChg chg="add del mod modVis">
          <ac:chgData name="Matthäus Alberding" userId="89cdd4c9-d044-4ab4-9e6f-8f065e0119c4" providerId="ADAL" clId="{B6745356-B6CF-45AA-ADCC-AC8F740A00DA}" dt="2022-07-22T15:13:55.622" v="47662"/>
          <ac:spMkLst>
            <pc:docMk/>
            <pc:sldMk cId="1209866130" sldId="697"/>
            <ac:spMk id="8" creationId="{07E78212-3EAB-4CEB-B336-71AED7D42115}"/>
          </ac:spMkLst>
        </pc:spChg>
        <pc:spChg chg="add del mod modVis">
          <ac:chgData name="Matthäus Alberding" userId="89cdd4c9-d044-4ab4-9e6f-8f065e0119c4" providerId="ADAL" clId="{B6745356-B6CF-45AA-ADCC-AC8F740A00DA}" dt="2022-07-22T15:14:00.892" v="47741"/>
          <ac:spMkLst>
            <pc:docMk/>
            <pc:sldMk cId="1209866130" sldId="697"/>
            <ac:spMk id="9" creationId="{544FFF6F-DB6A-43BC-9B54-FAF9C5E6909A}"/>
          </ac:spMkLst>
        </pc:spChg>
        <pc:spChg chg="add del mod modVis">
          <ac:chgData name="Matthäus Alberding" userId="89cdd4c9-d044-4ab4-9e6f-8f065e0119c4" providerId="ADAL" clId="{B6745356-B6CF-45AA-ADCC-AC8F740A00DA}" dt="2022-07-22T15:14:05.802" v="47784"/>
          <ac:spMkLst>
            <pc:docMk/>
            <pc:sldMk cId="1209866130" sldId="697"/>
            <ac:spMk id="10" creationId="{9C84F428-B46E-47F3-881B-C9A58C97266F}"/>
          </ac:spMkLst>
        </pc:spChg>
        <pc:spChg chg="mod">
          <ac:chgData name="Matthäus Alberding" userId="89cdd4c9-d044-4ab4-9e6f-8f065e0119c4" providerId="ADAL" clId="{B6745356-B6CF-45AA-ADCC-AC8F740A00DA}" dt="2022-07-22T15:14:16.129" v="47939" actId="948"/>
          <ac:spMkLst>
            <pc:docMk/>
            <pc:sldMk cId="1209866130" sldId="697"/>
            <ac:spMk id="12" creationId="{F33540AA-1669-46A0-8CA0-78D05D9A17EB}"/>
          </ac:spMkLst>
        </pc:spChg>
        <pc:spChg chg="add del mod modVis">
          <ac:chgData name="Matthäus Alberding" userId="89cdd4c9-d044-4ab4-9e6f-8f065e0119c4" providerId="ADAL" clId="{B6745356-B6CF-45AA-ADCC-AC8F740A00DA}" dt="2022-07-22T15:14:10.190" v="47834"/>
          <ac:spMkLst>
            <pc:docMk/>
            <pc:sldMk cId="1209866130" sldId="697"/>
            <ac:spMk id="13" creationId="{FED85587-6852-4CCE-B9DB-B0424C4DF874}"/>
          </ac:spMkLst>
        </pc:spChg>
        <pc:spChg chg="add del mod modVis">
          <ac:chgData name="Matthäus Alberding" userId="89cdd4c9-d044-4ab4-9e6f-8f065e0119c4" providerId="ADAL" clId="{B6745356-B6CF-45AA-ADCC-AC8F740A00DA}" dt="2022-07-22T15:14:12.397" v="47877"/>
          <ac:spMkLst>
            <pc:docMk/>
            <pc:sldMk cId="1209866130" sldId="697"/>
            <ac:spMk id="14" creationId="{2FFEE858-E90E-4125-9058-80E094939A02}"/>
          </ac:spMkLst>
        </pc:spChg>
        <pc:spChg chg="mod">
          <ac:chgData name="Matthäus Alberding" userId="89cdd4c9-d044-4ab4-9e6f-8f065e0119c4" providerId="ADAL" clId="{B6745356-B6CF-45AA-ADCC-AC8F740A00DA}" dt="2022-07-22T15:14:49.909" v="47985" actId="20577"/>
          <ac:spMkLst>
            <pc:docMk/>
            <pc:sldMk cId="1209866130" sldId="697"/>
            <ac:spMk id="15" creationId="{AABFCF61-FD15-4DDD-8A4A-F60B3EA49CE6}"/>
          </ac:spMkLst>
        </pc:spChg>
        <pc:spChg chg="add del mod modVis">
          <ac:chgData name="Matthäus Alberding" userId="89cdd4c9-d044-4ab4-9e6f-8f065e0119c4" providerId="ADAL" clId="{B6745356-B6CF-45AA-ADCC-AC8F740A00DA}" dt="2022-07-22T15:14:15.158" v="47921"/>
          <ac:spMkLst>
            <pc:docMk/>
            <pc:sldMk cId="1209866130" sldId="697"/>
            <ac:spMk id="16" creationId="{43B03027-334E-4ACB-90C0-D9F496844991}"/>
          </ac:spMkLst>
        </pc:spChg>
        <pc:spChg chg="add del mod modVis">
          <ac:chgData name="Matthäus Alberding" userId="89cdd4c9-d044-4ab4-9e6f-8f065e0119c4" providerId="ADAL" clId="{B6745356-B6CF-45AA-ADCC-AC8F740A00DA}" dt="2022-07-22T15:14:16.147" v="47978"/>
          <ac:spMkLst>
            <pc:docMk/>
            <pc:sldMk cId="1209866130" sldId="697"/>
            <ac:spMk id="17" creationId="{FC188539-91C8-4ADF-BBD1-020352B0CECD}"/>
          </ac:spMkLst>
        </pc:spChg>
        <pc:spChg chg="mod">
          <ac:chgData name="Matthäus Alberding" userId="89cdd4c9-d044-4ab4-9e6f-8f065e0119c4" providerId="ADAL" clId="{B6745356-B6CF-45AA-ADCC-AC8F740A00DA}" dt="2022-07-22T17:00:27.545" v="58180" actId="207"/>
          <ac:spMkLst>
            <pc:docMk/>
            <pc:sldMk cId="1209866130" sldId="697"/>
            <ac:spMk id="33" creationId="{D330E464-EC21-4914-AD47-2E5AC1A90877}"/>
          </ac:spMkLst>
        </pc:spChg>
        <pc:spChg chg="mod">
          <ac:chgData name="Matthäus Alberding" userId="89cdd4c9-d044-4ab4-9e6f-8f065e0119c4" providerId="ADAL" clId="{B6745356-B6CF-45AA-ADCC-AC8F740A00DA}" dt="2022-07-22T15:10:00.201" v="47133" actId="20577"/>
          <ac:spMkLst>
            <pc:docMk/>
            <pc:sldMk cId="1209866130" sldId="697"/>
            <ac:spMk id="38" creationId="{77EF5CAA-94F6-4F2C-938F-B4D5293EFB00}"/>
          </ac:spMkLst>
        </pc:spChg>
        <pc:spChg chg="mod">
          <ac:chgData name="Matthäus Alberding" userId="89cdd4c9-d044-4ab4-9e6f-8f065e0119c4" providerId="ADAL" clId="{B6745356-B6CF-45AA-ADCC-AC8F740A00DA}" dt="2022-07-26T10:28:28.195" v="60428" actId="20577"/>
          <ac:spMkLst>
            <pc:docMk/>
            <pc:sldMk cId="1209866130" sldId="697"/>
            <ac:spMk id="39" creationId="{5834CD45-C79B-4114-B831-C84940E48EBA}"/>
          </ac:spMkLst>
        </pc:spChg>
        <pc:graphicFrameChg chg="mod">
          <ac:chgData name="Matthäus Alberding" userId="89cdd4c9-d044-4ab4-9e6f-8f065e0119c4" providerId="ADAL" clId="{B6745356-B6CF-45AA-ADCC-AC8F740A00DA}" dt="2022-07-22T15:14:16.148" v="47980"/>
          <ac:graphicFrameMkLst>
            <pc:docMk/>
            <pc:sldMk cId="1209866130" sldId="697"/>
            <ac:graphicFrameMk id="11" creationId="{4F7BD645-EBEF-434C-A149-D9384CBB46AE}"/>
          </ac:graphicFrameMkLst>
        </pc:graphicFrameChg>
      </pc:sldChg>
      <pc:sldChg chg="addSp delSp modSp mod">
        <pc:chgData name="Matthäus Alberding" userId="89cdd4c9-d044-4ab4-9e6f-8f065e0119c4" providerId="ADAL" clId="{B6745356-B6CF-45AA-ADCC-AC8F740A00DA}" dt="2022-07-29T09:05:53.944" v="103912" actId="20577"/>
        <pc:sldMkLst>
          <pc:docMk/>
          <pc:sldMk cId="559661999" sldId="698"/>
        </pc:sldMkLst>
        <pc:spChg chg="add del mod modVis">
          <ac:chgData name="Matthäus Alberding" userId="89cdd4c9-d044-4ab4-9e6f-8f065e0119c4" providerId="ADAL" clId="{B6745356-B6CF-45AA-ADCC-AC8F740A00DA}" dt="2022-07-22T14:15:08.752" v="43757" actId="962"/>
          <ac:spMkLst>
            <pc:docMk/>
            <pc:sldMk cId="559661999" sldId="698"/>
            <ac:spMk id="4" creationId="{FB704CF6-79CC-4AAA-93C5-7CBCA580BDB8}"/>
          </ac:spMkLst>
        </pc:spChg>
        <pc:spChg chg="add del mod modVis">
          <ac:chgData name="Matthäus Alberding" userId="89cdd4c9-d044-4ab4-9e6f-8f065e0119c4" providerId="ADAL" clId="{B6745356-B6CF-45AA-ADCC-AC8F740A00DA}" dt="2022-07-22T14:15:08.302" v="43714" actId="962"/>
          <ac:spMkLst>
            <pc:docMk/>
            <pc:sldMk cId="559661999" sldId="698"/>
            <ac:spMk id="5" creationId="{78378FA6-8EF8-4A8B-8E45-25F219AF0B9F}"/>
          </ac:spMkLst>
        </pc:spChg>
        <pc:spChg chg="add del mod modVis">
          <ac:chgData name="Matthäus Alberding" userId="89cdd4c9-d044-4ab4-9e6f-8f065e0119c4" providerId="ADAL" clId="{B6745356-B6CF-45AA-ADCC-AC8F740A00DA}" dt="2022-07-22T14:15:12.827" v="43810"/>
          <ac:spMkLst>
            <pc:docMk/>
            <pc:sldMk cId="559661999" sldId="698"/>
            <ac:spMk id="6" creationId="{D2DA4933-354E-4599-8519-6B7AFEA53A0D}"/>
          </ac:spMkLst>
        </pc:spChg>
        <pc:spChg chg="add del mod modVis">
          <ac:chgData name="Matthäus Alberding" userId="89cdd4c9-d044-4ab4-9e6f-8f065e0119c4" providerId="ADAL" clId="{B6745356-B6CF-45AA-ADCC-AC8F740A00DA}" dt="2022-07-22T14:15:14.334" v="43853"/>
          <ac:spMkLst>
            <pc:docMk/>
            <pc:sldMk cId="559661999" sldId="698"/>
            <ac:spMk id="7" creationId="{9ED47B6B-40E4-4CD8-9F56-EC67954DDE5E}"/>
          </ac:spMkLst>
        </pc:spChg>
        <pc:spChg chg="add del mod modVis">
          <ac:chgData name="Matthäus Alberding" userId="89cdd4c9-d044-4ab4-9e6f-8f065e0119c4" providerId="ADAL" clId="{B6745356-B6CF-45AA-ADCC-AC8F740A00DA}" dt="2022-07-22T14:15:15.243" v="43903"/>
          <ac:spMkLst>
            <pc:docMk/>
            <pc:sldMk cId="559661999" sldId="698"/>
            <ac:spMk id="8" creationId="{5570E0AA-6822-4EE1-9E93-E237D33833A7}"/>
          </ac:spMkLst>
        </pc:spChg>
        <pc:spChg chg="add del mod modVis">
          <ac:chgData name="Matthäus Alberding" userId="89cdd4c9-d044-4ab4-9e6f-8f065e0119c4" providerId="ADAL" clId="{B6745356-B6CF-45AA-ADCC-AC8F740A00DA}" dt="2022-07-22T14:15:17.645" v="43952"/>
          <ac:spMkLst>
            <pc:docMk/>
            <pc:sldMk cId="559661999" sldId="698"/>
            <ac:spMk id="9" creationId="{32CD4ADF-45FB-498B-AFDD-B2C10B5703D4}"/>
          </ac:spMkLst>
        </pc:spChg>
        <pc:spChg chg="add del mod modVis">
          <ac:chgData name="Matthäus Alberding" userId="89cdd4c9-d044-4ab4-9e6f-8f065e0119c4" providerId="ADAL" clId="{B6745356-B6CF-45AA-ADCC-AC8F740A00DA}" dt="2022-07-22T14:15:20.946" v="44002"/>
          <ac:spMkLst>
            <pc:docMk/>
            <pc:sldMk cId="559661999" sldId="698"/>
            <ac:spMk id="10" creationId="{1C370DDA-39A3-4651-9526-21C6D8C667B8}"/>
          </ac:spMkLst>
        </pc:spChg>
        <pc:spChg chg="mod">
          <ac:chgData name="Matthäus Alberding" userId="89cdd4c9-d044-4ab4-9e6f-8f065e0119c4" providerId="ADAL" clId="{B6745356-B6CF-45AA-ADCC-AC8F740A00DA}" dt="2022-07-22T16:57:27.677" v="57939" actId="948"/>
          <ac:spMkLst>
            <pc:docMk/>
            <pc:sldMk cId="559661999" sldId="698"/>
            <ac:spMk id="12" creationId="{F33540AA-1669-46A0-8CA0-78D05D9A17EB}"/>
          </ac:spMkLst>
        </pc:spChg>
        <pc:spChg chg="add del mod modVis">
          <ac:chgData name="Matthäus Alberding" userId="89cdd4c9-d044-4ab4-9e6f-8f065e0119c4" providerId="ADAL" clId="{B6745356-B6CF-45AA-ADCC-AC8F740A00DA}" dt="2022-07-22T15:05:13.877" v="46431"/>
          <ac:spMkLst>
            <pc:docMk/>
            <pc:sldMk cId="559661999" sldId="698"/>
            <ac:spMk id="14" creationId="{3D8D3C35-F02F-4A2D-89D8-734CBF8FDF7B}"/>
          </ac:spMkLst>
        </pc:spChg>
        <pc:spChg chg="mod">
          <ac:chgData name="Matthäus Alberding" userId="89cdd4c9-d044-4ab4-9e6f-8f065e0119c4" providerId="ADAL" clId="{B6745356-B6CF-45AA-ADCC-AC8F740A00DA}" dt="2022-07-22T15:14:40.637" v="47981" actId="6549"/>
          <ac:spMkLst>
            <pc:docMk/>
            <pc:sldMk cId="559661999" sldId="698"/>
            <ac:spMk id="15" creationId="{AABFCF61-FD15-4DDD-8A4A-F60B3EA49CE6}"/>
          </ac:spMkLst>
        </pc:spChg>
        <pc:spChg chg="mod">
          <ac:chgData name="Matthäus Alberding" userId="89cdd4c9-d044-4ab4-9e6f-8f065e0119c4" providerId="ADAL" clId="{B6745356-B6CF-45AA-ADCC-AC8F740A00DA}" dt="2022-07-29T09:05:53.944" v="103912" actId="20577"/>
          <ac:spMkLst>
            <pc:docMk/>
            <pc:sldMk cId="559661999" sldId="698"/>
            <ac:spMk id="16" creationId="{539618EE-8029-4431-B3B0-DEF304AE85F9}"/>
          </ac:spMkLst>
        </pc:spChg>
        <pc:spChg chg="add del mod modVis">
          <ac:chgData name="Matthäus Alberding" userId="89cdd4c9-d044-4ab4-9e6f-8f065e0119c4" providerId="ADAL" clId="{B6745356-B6CF-45AA-ADCC-AC8F740A00DA}" dt="2022-07-22T15:05:17.836" v="46478"/>
          <ac:spMkLst>
            <pc:docMk/>
            <pc:sldMk cId="559661999" sldId="698"/>
            <ac:spMk id="17" creationId="{676E8950-92A4-42EB-B7C1-C1E7EBE3BEBE}"/>
          </ac:spMkLst>
        </pc:spChg>
        <pc:spChg chg="add del mod modVis">
          <ac:chgData name="Matthäus Alberding" userId="89cdd4c9-d044-4ab4-9e6f-8f065e0119c4" providerId="ADAL" clId="{B6745356-B6CF-45AA-ADCC-AC8F740A00DA}" dt="2022-07-22T15:05:19.640" v="46529"/>
          <ac:spMkLst>
            <pc:docMk/>
            <pc:sldMk cId="559661999" sldId="698"/>
            <ac:spMk id="18" creationId="{E209D6D6-78EE-48ED-82D8-BA46E44586FB}"/>
          </ac:spMkLst>
        </pc:spChg>
        <pc:spChg chg="add del mod modVis">
          <ac:chgData name="Matthäus Alberding" userId="89cdd4c9-d044-4ab4-9e6f-8f065e0119c4" providerId="ADAL" clId="{B6745356-B6CF-45AA-ADCC-AC8F740A00DA}" dt="2022-07-22T15:05:20.724" v="46573"/>
          <ac:spMkLst>
            <pc:docMk/>
            <pc:sldMk cId="559661999" sldId="698"/>
            <ac:spMk id="19" creationId="{C2D3B8F2-1FCE-4883-88BF-D638EC331EC1}"/>
          </ac:spMkLst>
        </pc:spChg>
        <pc:spChg chg="add del mod modVis">
          <ac:chgData name="Matthäus Alberding" userId="89cdd4c9-d044-4ab4-9e6f-8f065e0119c4" providerId="ADAL" clId="{B6745356-B6CF-45AA-ADCC-AC8F740A00DA}" dt="2022-07-22T15:05:21.454" v="46622"/>
          <ac:spMkLst>
            <pc:docMk/>
            <pc:sldMk cId="559661999" sldId="698"/>
            <ac:spMk id="20" creationId="{AD5FF044-ADC2-4265-956B-BCC29092D201}"/>
          </ac:spMkLst>
        </pc:spChg>
        <pc:spChg chg="add del mod modVis">
          <ac:chgData name="Matthäus Alberding" userId="89cdd4c9-d044-4ab4-9e6f-8f065e0119c4" providerId="ADAL" clId="{B6745356-B6CF-45AA-ADCC-AC8F740A00DA}" dt="2022-07-22T15:05:23.597" v="46675"/>
          <ac:spMkLst>
            <pc:docMk/>
            <pc:sldMk cId="559661999" sldId="698"/>
            <ac:spMk id="21" creationId="{2E6A453A-CD52-472C-A2FA-C90A83FB50A3}"/>
          </ac:spMkLst>
        </pc:spChg>
        <pc:spChg chg="add del mod modVis">
          <ac:chgData name="Matthäus Alberding" userId="89cdd4c9-d044-4ab4-9e6f-8f065e0119c4" providerId="ADAL" clId="{B6745356-B6CF-45AA-ADCC-AC8F740A00DA}" dt="2022-07-22T15:05:24.589" v="46718"/>
          <ac:spMkLst>
            <pc:docMk/>
            <pc:sldMk cId="559661999" sldId="698"/>
            <ac:spMk id="22" creationId="{F499584F-E5FC-4E50-86D9-D13E0232CD81}"/>
          </ac:spMkLst>
        </pc:spChg>
        <pc:spChg chg="add del mod modVis">
          <ac:chgData name="Matthäus Alberding" userId="89cdd4c9-d044-4ab4-9e6f-8f065e0119c4" providerId="ADAL" clId="{B6745356-B6CF-45AA-ADCC-AC8F740A00DA}" dt="2022-07-22T16:14:17.784" v="53300"/>
          <ac:spMkLst>
            <pc:docMk/>
            <pc:sldMk cId="559661999" sldId="698"/>
            <ac:spMk id="23" creationId="{038FE274-4F3A-46E8-A83E-CF8F17DA2D26}"/>
          </ac:spMkLst>
        </pc:spChg>
        <pc:spChg chg="add del mod modVis">
          <ac:chgData name="Matthäus Alberding" userId="89cdd4c9-d044-4ab4-9e6f-8f065e0119c4" providerId="ADAL" clId="{B6745356-B6CF-45AA-ADCC-AC8F740A00DA}" dt="2022-07-22T16:14:25.946" v="53388"/>
          <ac:spMkLst>
            <pc:docMk/>
            <pc:sldMk cId="559661999" sldId="698"/>
            <ac:spMk id="24" creationId="{2BF85A10-B173-4773-995B-FC491C6CF98D}"/>
          </ac:spMkLst>
        </pc:spChg>
        <pc:spChg chg="add del mod modVis">
          <ac:chgData name="Matthäus Alberding" userId="89cdd4c9-d044-4ab4-9e6f-8f065e0119c4" providerId="ADAL" clId="{B6745356-B6CF-45AA-ADCC-AC8F740A00DA}" dt="2022-07-22T16:14:27.074" v="53436"/>
          <ac:spMkLst>
            <pc:docMk/>
            <pc:sldMk cId="559661999" sldId="698"/>
            <ac:spMk id="25" creationId="{D28BD031-2558-452B-921D-E00D2FB1B241}"/>
          </ac:spMkLst>
        </pc:spChg>
        <pc:spChg chg="mod">
          <ac:chgData name="Matthäus Alberding" userId="89cdd4c9-d044-4ab4-9e6f-8f065e0119c4" providerId="ADAL" clId="{B6745356-B6CF-45AA-ADCC-AC8F740A00DA}" dt="2022-07-22T16:52:23.218" v="56992" actId="20577"/>
          <ac:spMkLst>
            <pc:docMk/>
            <pc:sldMk cId="559661999" sldId="698"/>
            <ac:spMk id="30" creationId="{C870E03D-E377-48DC-A97F-3F30596E18C1}"/>
          </ac:spMkLst>
        </pc:spChg>
        <pc:spChg chg="mod">
          <ac:chgData name="Matthäus Alberding" userId="89cdd4c9-d044-4ab4-9e6f-8f065e0119c4" providerId="ADAL" clId="{B6745356-B6CF-45AA-ADCC-AC8F740A00DA}" dt="2022-07-22T14:32:03.647" v="44754" actId="20577"/>
          <ac:spMkLst>
            <pc:docMk/>
            <pc:sldMk cId="559661999" sldId="698"/>
            <ac:spMk id="31" creationId="{1F5833A7-7460-4F87-8295-CD81701A09BC}"/>
          </ac:spMkLst>
        </pc:spChg>
        <pc:spChg chg="add del mod modVis">
          <ac:chgData name="Matthäus Alberding" userId="89cdd4c9-d044-4ab4-9e6f-8f065e0119c4" providerId="ADAL" clId="{B6745356-B6CF-45AA-ADCC-AC8F740A00DA}" dt="2022-07-22T16:20:58.447" v="54390"/>
          <ac:spMkLst>
            <pc:docMk/>
            <pc:sldMk cId="559661999" sldId="698"/>
            <ac:spMk id="32" creationId="{0649CD0B-8FB0-4439-8AA2-84D32779F61C}"/>
          </ac:spMkLst>
        </pc:spChg>
        <pc:spChg chg="add del mod modVis">
          <ac:chgData name="Matthäus Alberding" userId="89cdd4c9-d044-4ab4-9e6f-8f065e0119c4" providerId="ADAL" clId="{B6745356-B6CF-45AA-ADCC-AC8F740A00DA}" dt="2022-07-22T16:21:07.307" v="54443"/>
          <ac:spMkLst>
            <pc:docMk/>
            <pc:sldMk cId="559661999" sldId="698"/>
            <ac:spMk id="33" creationId="{EF7DB91F-9281-4B64-806A-F585B9F3D926}"/>
          </ac:spMkLst>
        </pc:spChg>
        <pc:spChg chg="add del mod modVis">
          <ac:chgData name="Matthäus Alberding" userId="89cdd4c9-d044-4ab4-9e6f-8f065e0119c4" providerId="ADAL" clId="{B6745356-B6CF-45AA-ADCC-AC8F740A00DA}" dt="2022-07-22T16:57:27.693" v="57978"/>
          <ac:spMkLst>
            <pc:docMk/>
            <pc:sldMk cId="559661999" sldId="698"/>
            <ac:spMk id="34" creationId="{83AC1713-2831-415C-AB2A-D5FFD7FACC5D}"/>
          </ac:spMkLst>
        </pc:spChg>
        <pc:graphicFrameChg chg="mod">
          <ac:chgData name="Matthäus Alberding" userId="89cdd4c9-d044-4ab4-9e6f-8f065e0119c4" providerId="ADAL" clId="{B6745356-B6CF-45AA-ADCC-AC8F740A00DA}" dt="2022-07-22T16:57:27.694" v="57980"/>
          <ac:graphicFrameMkLst>
            <pc:docMk/>
            <pc:sldMk cId="559661999" sldId="698"/>
            <ac:graphicFrameMk id="11" creationId="{4F7BD645-EBEF-434C-A149-D9384CBB46AE}"/>
          </ac:graphicFrameMkLst>
        </pc:graphicFrameChg>
      </pc:sldChg>
      <pc:sldChg chg="addSp delSp modSp new add mod">
        <pc:chgData name="Matthäus Alberding" userId="89cdd4c9-d044-4ab4-9e6f-8f065e0119c4" providerId="ADAL" clId="{B6745356-B6CF-45AA-ADCC-AC8F740A00DA}" dt="2022-07-22T12:44:25.222" v="37956" actId="1076"/>
        <pc:sldMkLst>
          <pc:docMk/>
          <pc:sldMk cId="1782078192" sldId="699"/>
        </pc:sldMkLst>
        <pc:spChg chg="mod">
          <ac:chgData name="Matthäus Alberding" userId="89cdd4c9-d044-4ab4-9e6f-8f065e0119c4" providerId="ADAL" clId="{B6745356-B6CF-45AA-ADCC-AC8F740A00DA}" dt="2022-07-22T12:43:58.381" v="37878" actId="948"/>
          <ac:spMkLst>
            <pc:docMk/>
            <pc:sldMk cId="1782078192" sldId="699"/>
            <ac:spMk id="4" creationId="{D08FE487-63EF-46B8-BB7A-91FC64DE1ADC}"/>
          </ac:spMkLst>
        </pc:spChg>
        <pc:spChg chg="mod">
          <ac:chgData name="Matthäus Alberding" userId="89cdd4c9-d044-4ab4-9e6f-8f065e0119c4" providerId="ADAL" clId="{B6745356-B6CF-45AA-ADCC-AC8F740A00DA}" dt="2022-07-22T12:38:48.455" v="36950" actId="20577"/>
          <ac:spMkLst>
            <pc:docMk/>
            <pc:sldMk cId="1782078192" sldId="699"/>
            <ac:spMk id="5" creationId="{930FC917-2471-4AF7-AFAA-3912D7648849}"/>
          </ac:spMkLst>
        </pc:spChg>
        <pc:spChg chg="add del mod modVis">
          <ac:chgData name="Matthäus Alberding" userId="89cdd4c9-d044-4ab4-9e6f-8f065e0119c4" providerId="ADAL" clId="{B6745356-B6CF-45AA-ADCC-AC8F740A00DA}" dt="2022-07-22T12:38:51.063" v="36998"/>
          <ac:spMkLst>
            <pc:docMk/>
            <pc:sldMk cId="1782078192" sldId="699"/>
            <ac:spMk id="6" creationId="{046E6B35-0CDF-4268-A31F-25781583000C}"/>
          </ac:spMkLst>
        </pc:spChg>
        <pc:spChg chg="add del mod modVis">
          <ac:chgData name="Matthäus Alberding" userId="89cdd4c9-d044-4ab4-9e6f-8f065e0119c4" providerId="ADAL" clId="{B6745356-B6CF-45AA-ADCC-AC8F740A00DA}" dt="2022-07-22T12:38:53.224" v="37061"/>
          <ac:spMkLst>
            <pc:docMk/>
            <pc:sldMk cId="1782078192" sldId="699"/>
            <ac:spMk id="8" creationId="{E2B2A71E-170A-4B11-81CE-218F855EF464}"/>
          </ac:spMkLst>
        </pc:spChg>
        <pc:spChg chg="add del mod modVis">
          <ac:chgData name="Matthäus Alberding" userId="89cdd4c9-d044-4ab4-9e6f-8f065e0119c4" providerId="ADAL" clId="{B6745356-B6CF-45AA-ADCC-AC8F740A00DA}" dt="2022-07-22T12:39:02.041" v="37132"/>
          <ac:spMkLst>
            <pc:docMk/>
            <pc:sldMk cId="1782078192" sldId="699"/>
            <ac:spMk id="9" creationId="{7EA65ACB-E780-454C-9179-3D98EBE5B7AA}"/>
          </ac:spMkLst>
        </pc:spChg>
        <pc:spChg chg="add del mod modVis">
          <ac:chgData name="Matthäus Alberding" userId="89cdd4c9-d044-4ab4-9e6f-8f065e0119c4" providerId="ADAL" clId="{B6745356-B6CF-45AA-ADCC-AC8F740A00DA}" dt="2022-07-22T12:39:03.393" v="37176"/>
          <ac:spMkLst>
            <pc:docMk/>
            <pc:sldMk cId="1782078192" sldId="699"/>
            <ac:spMk id="10" creationId="{0D900EEA-7200-489F-94D1-30594529AB8D}"/>
          </ac:spMkLst>
        </pc:spChg>
        <pc:spChg chg="add del mod modVis">
          <ac:chgData name="Matthäus Alberding" userId="89cdd4c9-d044-4ab4-9e6f-8f065e0119c4" providerId="ADAL" clId="{B6745356-B6CF-45AA-ADCC-AC8F740A00DA}" dt="2022-07-22T12:39:09.721" v="37249"/>
          <ac:spMkLst>
            <pc:docMk/>
            <pc:sldMk cId="1782078192" sldId="699"/>
            <ac:spMk id="11" creationId="{BAD0ECC6-6E66-44F5-8D81-B2C88F9B3D90}"/>
          </ac:spMkLst>
        </pc:spChg>
        <pc:spChg chg="add del mod modVis">
          <ac:chgData name="Matthäus Alberding" userId="89cdd4c9-d044-4ab4-9e6f-8f065e0119c4" providerId="ADAL" clId="{B6745356-B6CF-45AA-ADCC-AC8F740A00DA}" dt="2022-07-22T12:39:10.279" v="37293"/>
          <ac:spMkLst>
            <pc:docMk/>
            <pc:sldMk cId="1782078192" sldId="699"/>
            <ac:spMk id="12" creationId="{BAA33E45-75A9-47F4-816C-7737A394A2DC}"/>
          </ac:spMkLst>
        </pc:spChg>
        <pc:spChg chg="add del mod modVis">
          <ac:chgData name="Matthäus Alberding" userId="89cdd4c9-d044-4ab4-9e6f-8f065e0119c4" providerId="ADAL" clId="{B6745356-B6CF-45AA-ADCC-AC8F740A00DA}" dt="2022-07-22T12:39:11.048" v="37337"/>
          <ac:spMkLst>
            <pc:docMk/>
            <pc:sldMk cId="1782078192" sldId="699"/>
            <ac:spMk id="13" creationId="{D7D007A9-925B-4AB3-995F-36139594BD46}"/>
          </ac:spMkLst>
        </pc:spChg>
        <pc:spChg chg="add del mod modVis">
          <ac:chgData name="Matthäus Alberding" userId="89cdd4c9-d044-4ab4-9e6f-8f065e0119c4" providerId="ADAL" clId="{B6745356-B6CF-45AA-ADCC-AC8F740A00DA}" dt="2022-07-22T12:39:14.695" v="37380"/>
          <ac:spMkLst>
            <pc:docMk/>
            <pc:sldMk cId="1782078192" sldId="699"/>
            <ac:spMk id="14" creationId="{63230943-94D9-4DAA-8943-A2965119BFDB}"/>
          </ac:spMkLst>
        </pc:spChg>
        <pc:spChg chg="add del mod modVis">
          <ac:chgData name="Matthäus Alberding" userId="89cdd4c9-d044-4ab4-9e6f-8f065e0119c4" providerId="ADAL" clId="{B6745356-B6CF-45AA-ADCC-AC8F740A00DA}" dt="2022-07-22T12:39:16.465" v="37454"/>
          <ac:spMkLst>
            <pc:docMk/>
            <pc:sldMk cId="1782078192" sldId="699"/>
            <ac:spMk id="15" creationId="{0CCA4CBD-C396-459A-AFFA-D98F856A86B2}"/>
          </ac:spMkLst>
        </pc:spChg>
        <pc:spChg chg="add del mod modVis">
          <ac:chgData name="Matthäus Alberding" userId="89cdd4c9-d044-4ab4-9e6f-8f065e0119c4" providerId="ADAL" clId="{B6745356-B6CF-45AA-ADCC-AC8F740A00DA}" dt="2022-07-22T12:39:21.609" v="37528"/>
          <ac:spMkLst>
            <pc:docMk/>
            <pc:sldMk cId="1782078192" sldId="699"/>
            <ac:spMk id="16" creationId="{0ACB4137-D8CF-4A4C-A00A-C55A93069754}"/>
          </ac:spMkLst>
        </pc:spChg>
        <pc:spChg chg="add del mod modVis">
          <ac:chgData name="Matthäus Alberding" userId="89cdd4c9-d044-4ab4-9e6f-8f065e0119c4" providerId="ADAL" clId="{B6745356-B6CF-45AA-ADCC-AC8F740A00DA}" dt="2022-07-22T12:39:53.375" v="37581"/>
          <ac:spMkLst>
            <pc:docMk/>
            <pc:sldMk cId="1782078192" sldId="699"/>
            <ac:spMk id="17" creationId="{7DB83024-24E1-40C6-9F5E-488C9F310401}"/>
          </ac:spMkLst>
        </pc:spChg>
        <pc:spChg chg="add del mod modVis">
          <ac:chgData name="Matthäus Alberding" userId="89cdd4c9-d044-4ab4-9e6f-8f065e0119c4" providerId="ADAL" clId="{B6745356-B6CF-45AA-ADCC-AC8F740A00DA}" dt="2022-07-22T12:40:02.212" v="37669"/>
          <ac:spMkLst>
            <pc:docMk/>
            <pc:sldMk cId="1782078192" sldId="699"/>
            <ac:spMk id="18" creationId="{88F7CBE1-8DA0-42DE-BEF4-7BEB61F213EC}"/>
          </ac:spMkLst>
        </pc:spChg>
        <pc:spChg chg="add del mod modVis">
          <ac:chgData name="Matthäus Alberding" userId="89cdd4c9-d044-4ab4-9e6f-8f065e0119c4" providerId="ADAL" clId="{B6745356-B6CF-45AA-ADCC-AC8F740A00DA}" dt="2022-07-22T12:40:03.796" v="37712"/>
          <ac:spMkLst>
            <pc:docMk/>
            <pc:sldMk cId="1782078192" sldId="699"/>
            <ac:spMk id="19" creationId="{C6F9E380-9E1A-468C-B5E4-4B7F082DEA97}"/>
          </ac:spMkLst>
        </pc:spChg>
        <pc:spChg chg="add del mod modVis">
          <ac:chgData name="Matthäus Alberding" userId="89cdd4c9-d044-4ab4-9e6f-8f065e0119c4" providerId="ADAL" clId="{B6745356-B6CF-45AA-ADCC-AC8F740A00DA}" dt="2022-07-22T12:40:04.371" v="37756"/>
          <ac:spMkLst>
            <pc:docMk/>
            <pc:sldMk cId="1782078192" sldId="699"/>
            <ac:spMk id="20" creationId="{268EF1E0-F168-4172-AE6B-92208F93A457}"/>
          </ac:spMkLst>
        </pc:spChg>
        <pc:spChg chg="add del mod modVis">
          <ac:chgData name="Matthäus Alberding" userId="89cdd4c9-d044-4ab4-9e6f-8f065e0119c4" providerId="ADAL" clId="{B6745356-B6CF-45AA-ADCC-AC8F740A00DA}" dt="2022-07-22T12:40:11.175" v="37799"/>
          <ac:spMkLst>
            <pc:docMk/>
            <pc:sldMk cId="1782078192" sldId="699"/>
            <ac:spMk id="21" creationId="{4F9E3E42-818C-484A-9BA1-AF2B567981ED}"/>
          </ac:spMkLst>
        </pc:spChg>
        <pc:spChg chg="add del mod modVis">
          <ac:chgData name="Matthäus Alberding" userId="89cdd4c9-d044-4ab4-9e6f-8f065e0119c4" providerId="ADAL" clId="{B6745356-B6CF-45AA-ADCC-AC8F740A00DA}" dt="2022-07-22T12:43:57.477" v="37871"/>
          <ac:spMkLst>
            <pc:docMk/>
            <pc:sldMk cId="1782078192" sldId="699"/>
            <ac:spMk id="28" creationId="{F93A52DF-8C97-4B42-A81B-B08A0B001223}"/>
          </ac:spMkLst>
        </pc:spChg>
        <pc:spChg chg="add del mod modVis">
          <ac:chgData name="Matthäus Alberding" userId="89cdd4c9-d044-4ab4-9e6f-8f065e0119c4" providerId="ADAL" clId="{B6745356-B6CF-45AA-ADCC-AC8F740A00DA}" dt="2022-07-22T12:43:58.397" v="37917"/>
          <ac:spMkLst>
            <pc:docMk/>
            <pc:sldMk cId="1782078192" sldId="699"/>
            <ac:spMk id="29" creationId="{3B012004-6A3F-4EE9-9C58-E3E27E60B328}"/>
          </ac:spMkLst>
        </pc:spChg>
        <pc:spChg chg="add mod">
          <ac:chgData name="Matthäus Alberding" userId="89cdd4c9-d044-4ab4-9e6f-8f065e0119c4" providerId="ADAL" clId="{B6745356-B6CF-45AA-ADCC-AC8F740A00DA}" dt="2022-07-22T12:44:25.222" v="37956" actId="1076"/>
          <ac:spMkLst>
            <pc:docMk/>
            <pc:sldMk cId="1782078192" sldId="699"/>
            <ac:spMk id="30" creationId="{26412F6C-9897-4A00-B8E9-CA74F45F11DD}"/>
          </ac:spMkLst>
        </pc:spChg>
        <pc:graphicFrameChg chg="add mod ord modVis">
          <ac:chgData name="Matthäus Alberding" userId="89cdd4c9-d044-4ab4-9e6f-8f065e0119c4" providerId="ADAL" clId="{B6745356-B6CF-45AA-ADCC-AC8F740A00DA}" dt="2022-07-22T12:43:58.398" v="37919"/>
          <ac:graphicFrameMkLst>
            <pc:docMk/>
            <pc:sldMk cId="1782078192" sldId="699"/>
            <ac:graphicFrameMk id="7" creationId="{25684DE3-1DBA-453B-AE3C-12E2AB27B63B}"/>
          </ac:graphicFrameMkLst>
        </pc:graphicFrameChg>
        <pc:picChg chg="add mod">
          <ac:chgData name="Matthäus Alberding" userId="89cdd4c9-d044-4ab4-9e6f-8f065e0119c4" providerId="ADAL" clId="{B6745356-B6CF-45AA-ADCC-AC8F740A00DA}" dt="2022-07-22T12:43:24.951" v="37818" actId="1076"/>
          <ac:picMkLst>
            <pc:docMk/>
            <pc:sldMk cId="1782078192" sldId="699"/>
            <ac:picMk id="23" creationId="{715ADBBF-EDEA-48B0-ACBE-1099CA61A959}"/>
          </ac:picMkLst>
        </pc:picChg>
        <pc:picChg chg="add mod">
          <ac:chgData name="Matthäus Alberding" userId="89cdd4c9-d044-4ab4-9e6f-8f065e0119c4" providerId="ADAL" clId="{B6745356-B6CF-45AA-ADCC-AC8F740A00DA}" dt="2022-07-22T12:43:35.794" v="37822"/>
          <ac:picMkLst>
            <pc:docMk/>
            <pc:sldMk cId="1782078192" sldId="699"/>
            <ac:picMk id="25" creationId="{033110F7-8123-4F4E-A41E-2FF4977DE9B9}"/>
          </ac:picMkLst>
        </pc:picChg>
        <pc:picChg chg="add mod">
          <ac:chgData name="Matthäus Alberding" userId="89cdd4c9-d044-4ab4-9e6f-8f065e0119c4" providerId="ADAL" clId="{B6745356-B6CF-45AA-ADCC-AC8F740A00DA}" dt="2022-07-22T12:43:26.916" v="37819" actId="1076"/>
          <ac:picMkLst>
            <pc:docMk/>
            <pc:sldMk cId="1782078192" sldId="699"/>
            <ac:picMk id="27" creationId="{72665651-2203-4D86-B0C2-F0854EECFEAF}"/>
          </ac:picMkLst>
        </pc:picChg>
      </pc:sldChg>
      <pc:sldChg chg="addSp delSp modSp add mod">
        <pc:chgData name="Matthäus Alberding" userId="89cdd4c9-d044-4ab4-9e6f-8f065e0119c4" providerId="ADAL" clId="{B6745356-B6CF-45AA-ADCC-AC8F740A00DA}" dt="2022-07-29T09:06:33.076" v="103920" actId="20577"/>
        <pc:sldMkLst>
          <pc:docMk/>
          <pc:sldMk cId="676797854" sldId="700"/>
        </pc:sldMkLst>
        <pc:spChg chg="add del mod modVis">
          <ac:chgData name="Matthäus Alberding" userId="89cdd4c9-d044-4ab4-9e6f-8f065e0119c4" providerId="ADAL" clId="{B6745356-B6CF-45AA-ADCC-AC8F740A00DA}" dt="2022-07-22T13:13:04.739" v="39077"/>
          <ac:spMkLst>
            <pc:docMk/>
            <pc:sldMk cId="676797854" sldId="700"/>
            <ac:spMk id="4" creationId="{DF4BAA58-0CBE-4C80-9F11-F60F1810A3A6}"/>
          </ac:spMkLst>
        </pc:spChg>
        <pc:spChg chg="add del mod modVis">
          <ac:chgData name="Matthäus Alberding" userId="89cdd4c9-d044-4ab4-9e6f-8f065e0119c4" providerId="ADAL" clId="{B6745356-B6CF-45AA-ADCC-AC8F740A00DA}" dt="2022-07-22T13:32:27.163" v="39993"/>
          <ac:spMkLst>
            <pc:docMk/>
            <pc:sldMk cId="676797854" sldId="700"/>
            <ac:spMk id="5" creationId="{7F1E82F5-66BE-483C-B872-6C2BE7508AE3}"/>
          </ac:spMkLst>
        </pc:spChg>
        <pc:spChg chg="add del mod modVis">
          <ac:chgData name="Matthäus Alberding" userId="89cdd4c9-d044-4ab4-9e6f-8f065e0119c4" providerId="ADAL" clId="{B6745356-B6CF-45AA-ADCC-AC8F740A00DA}" dt="2022-07-22T13:44:40.648" v="40449"/>
          <ac:spMkLst>
            <pc:docMk/>
            <pc:sldMk cId="676797854" sldId="700"/>
            <ac:spMk id="6" creationId="{B09A26F4-66AE-4D7C-82CC-72996F791610}"/>
          </ac:spMkLst>
        </pc:spChg>
        <pc:spChg chg="add del mod modVis">
          <ac:chgData name="Matthäus Alberding" userId="89cdd4c9-d044-4ab4-9e6f-8f065e0119c4" providerId="ADAL" clId="{B6745356-B6CF-45AA-ADCC-AC8F740A00DA}" dt="2022-07-22T13:44:58.414" v="40536"/>
          <ac:spMkLst>
            <pc:docMk/>
            <pc:sldMk cId="676797854" sldId="700"/>
            <ac:spMk id="7" creationId="{63A8E66F-FFFF-4E52-BB53-CB3D0CC0ADA7}"/>
          </ac:spMkLst>
        </pc:spChg>
        <pc:spChg chg="add del mod modVis">
          <ac:chgData name="Matthäus Alberding" userId="89cdd4c9-d044-4ab4-9e6f-8f065e0119c4" providerId="ADAL" clId="{B6745356-B6CF-45AA-ADCC-AC8F740A00DA}" dt="2022-07-22T13:45:01.974" v="40593"/>
          <ac:spMkLst>
            <pc:docMk/>
            <pc:sldMk cId="676797854" sldId="700"/>
            <ac:spMk id="8" creationId="{1460F21B-ECF0-4190-BBB6-8816E5979915}"/>
          </ac:spMkLst>
        </pc:spChg>
        <pc:spChg chg="add del mod modVis">
          <ac:chgData name="Matthäus Alberding" userId="89cdd4c9-d044-4ab4-9e6f-8f065e0119c4" providerId="ADAL" clId="{B6745356-B6CF-45AA-ADCC-AC8F740A00DA}" dt="2022-07-22T13:45:03.027" v="40641"/>
          <ac:spMkLst>
            <pc:docMk/>
            <pc:sldMk cId="676797854" sldId="700"/>
            <ac:spMk id="9" creationId="{12795A91-98C8-4F9F-B3E4-093D5519F66E}"/>
          </ac:spMkLst>
        </pc:spChg>
        <pc:spChg chg="add del mod modVis">
          <ac:chgData name="Matthäus Alberding" userId="89cdd4c9-d044-4ab4-9e6f-8f065e0119c4" providerId="ADAL" clId="{B6745356-B6CF-45AA-ADCC-AC8F740A00DA}" dt="2022-07-22T13:45:12.489" v="40692"/>
          <ac:spMkLst>
            <pc:docMk/>
            <pc:sldMk cId="676797854" sldId="700"/>
            <ac:spMk id="10" creationId="{F1957031-FAA6-4F15-B9D4-74020212CA84}"/>
          </ac:spMkLst>
        </pc:spChg>
        <pc:spChg chg="mod">
          <ac:chgData name="Matthäus Alberding" userId="89cdd4c9-d044-4ab4-9e6f-8f065e0119c4" providerId="ADAL" clId="{B6745356-B6CF-45AA-ADCC-AC8F740A00DA}" dt="2022-07-22T14:33:12.815" v="44831" actId="948"/>
          <ac:spMkLst>
            <pc:docMk/>
            <pc:sldMk cId="676797854" sldId="700"/>
            <ac:spMk id="12" creationId="{F33540AA-1669-46A0-8CA0-78D05D9A17EB}"/>
          </ac:spMkLst>
        </pc:spChg>
        <pc:spChg chg="add del mod modVis">
          <ac:chgData name="Matthäus Alberding" userId="89cdd4c9-d044-4ab4-9e6f-8f065e0119c4" providerId="ADAL" clId="{B6745356-B6CF-45AA-ADCC-AC8F740A00DA}" dt="2022-07-22T13:45:18.241" v="40740"/>
          <ac:spMkLst>
            <pc:docMk/>
            <pc:sldMk cId="676797854" sldId="700"/>
            <ac:spMk id="14" creationId="{5F85F50C-415B-4707-8631-406431429B34}"/>
          </ac:spMkLst>
        </pc:spChg>
        <pc:spChg chg="mod">
          <ac:chgData name="Matthäus Alberding" userId="89cdd4c9-d044-4ab4-9e6f-8f065e0119c4" providerId="ADAL" clId="{B6745356-B6CF-45AA-ADCC-AC8F740A00DA}" dt="2022-07-22T15:14:45.452" v="47983" actId="6549"/>
          <ac:spMkLst>
            <pc:docMk/>
            <pc:sldMk cId="676797854" sldId="700"/>
            <ac:spMk id="15" creationId="{AABFCF61-FD15-4DDD-8A4A-F60B3EA49CE6}"/>
          </ac:spMkLst>
        </pc:spChg>
        <pc:spChg chg="mod">
          <ac:chgData name="Matthäus Alberding" userId="89cdd4c9-d044-4ab4-9e6f-8f065e0119c4" providerId="ADAL" clId="{B6745356-B6CF-45AA-ADCC-AC8F740A00DA}" dt="2022-07-29T09:06:33.076" v="103920" actId="20577"/>
          <ac:spMkLst>
            <pc:docMk/>
            <pc:sldMk cId="676797854" sldId="700"/>
            <ac:spMk id="16" creationId="{539618EE-8029-4431-B3B0-DEF304AE85F9}"/>
          </ac:spMkLst>
        </pc:spChg>
        <pc:spChg chg="add del mod modVis">
          <ac:chgData name="Matthäus Alberding" userId="89cdd4c9-d044-4ab4-9e6f-8f065e0119c4" providerId="ADAL" clId="{B6745356-B6CF-45AA-ADCC-AC8F740A00DA}" dt="2022-07-22T13:45:21.534" v="40807"/>
          <ac:spMkLst>
            <pc:docMk/>
            <pc:sldMk cId="676797854" sldId="700"/>
            <ac:spMk id="17" creationId="{7735F4A9-E5E1-4F48-998F-73B874638BAF}"/>
          </ac:spMkLst>
        </pc:spChg>
        <pc:spChg chg="add del mod modVis">
          <ac:chgData name="Matthäus Alberding" userId="89cdd4c9-d044-4ab4-9e6f-8f065e0119c4" providerId="ADAL" clId="{B6745356-B6CF-45AA-ADCC-AC8F740A00DA}" dt="2022-07-22T13:45:27.411" v="40894"/>
          <ac:spMkLst>
            <pc:docMk/>
            <pc:sldMk cId="676797854" sldId="700"/>
            <ac:spMk id="18" creationId="{B97DD2DE-030F-482F-9724-479711386AFC}"/>
          </ac:spMkLst>
        </pc:spChg>
        <pc:spChg chg="add del mod modVis">
          <ac:chgData name="Matthäus Alberding" userId="89cdd4c9-d044-4ab4-9e6f-8f065e0119c4" providerId="ADAL" clId="{B6745356-B6CF-45AA-ADCC-AC8F740A00DA}" dt="2022-07-22T14:13:27.139" v="42571"/>
          <ac:spMkLst>
            <pc:docMk/>
            <pc:sldMk cId="676797854" sldId="700"/>
            <ac:spMk id="19" creationId="{8FAC242A-8466-4EB9-A48B-083152C629B9}"/>
          </ac:spMkLst>
        </pc:spChg>
        <pc:spChg chg="add del mod modVis">
          <ac:chgData name="Matthäus Alberding" userId="89cdd4c9-d044-4ab4-9e6f-8f065e0119c4" providerId="ADAL" clId="{B6745356-B6CF-45AA-ADCC-AC8F740A00DA}" dt="2022-07-22T14:13:30.310" v="42633"/>
          <ac:spMkLst>
            <pc:docMk/>
            <pc:sldMk cId="676797854" sldId="700"/>
            <ac:spMk id="20" creationId="{7A337EF8-60E3-484E-87BF-7B804690A114}"/>
          </ac:spMkLst>
        </pc:spChg>
        <pc:spChg chg="add del mod modVis">
          <ac:chgData name="Matthäus Alberding" userId="89cdd4c9-d044-4ab4-9e6f-8f065e0119c4" providerId="ADAL" clId="{B6745356-B6CF-45AA-ADCC-AC8F740A00DA}" dt="2022-07-22T14:15:38.582" v="44236"/>
          <ac:spMkLst>
            <pc:docMk/>
            <pc:sldMk cId="676797854" sldId="700"/>
            <ac:spMk id="21" creationId="{AEAC3F5C-5B94-43BB-8F06-233ED9127A96}"/>
          </ac:spMkLst>
        </pc:spChg>
        <pc:spChg chg="add del mod modVis">
          <ac:chgData name="Matthäus Alberding" userId="89cdd4c9-d044-4ab4-9e6f-8f065e0119c4" providerId="ADAL" clId="{B6745356-B6CF-45AA-ADCC-AC8F740A00DA}" dt="2022-07-22T14:33:01.904" v="44822"/>
          <ac:spMkLst>
            <pc:docMk/>
            <pc:sldMk cId="676797854" sldId="700"/>
            <ac:spMk id="22" creationId="{4AA313EF-3BE2-4C8B-A9D7-94B4C7D6F62C}"/>
          </ac:spMkLst>
        </pc:spChg>
        <pc:spChg chg="add del mod modVis">
          <ac:chgData name="Matthäus Alberding" userId="89cdd4c9-d044-4ab4-9e6f-8f065e0119c4" providerId="ADAL" clId="{B6745356-B6CF-45AA-ADCC-AC8F740A00DA}" dt="2022-07-22T14:33:12.834" v="44870"/>
          <ac:spMkLst>
            <pc:docMk/>
            <pc:sldMk cId="676797854" sldId="700"/>
            <ac:spMk id="23" creationId="{42A7BF20-371A-41CA-B52F-882E2875CAC0}"/>
          </ac:spMkLst>
        </pc:spChg>
        <pc:spChg chg="mod">
          <ac:chgData name="Matthäus Alberding" userId="89cdd4c9-d044-4ab4-9e6f-8f065e0119c4" providerId="ADAL" clId="{B6745356-B6CF-45AA-ADCC-AC8F740A00DA}" dt="2022-07-22T13:57:55.993" v="41625" actId="27636"/>
          <ac:spMkLst>
            <pc:docMk/>
            <pc:sldMk cId="676797854" sldId="700"/>
            <ac:spMk id="30" creationId="{C870E03D-E377-48DC-A97F-3F30596E18C1}"/>
          </ac:spMkLst>
        </pc:spChg>
        <pc:spChg chg="mod">
          <ac:chgData name="Matthäus Alberding" userId="89cdd4c9-d044-4ab4-9e6f-8f065e0119c4" providerId="ADAL" clId="{B6745356-B6CF-45AA-ADCC-AC8F740A00DA}" dt="2022-07-26T10:17:34.558" v="58457" actId="20577"/>
          <ac:spMkLst>
            <pc:docMk/>
            <pc:sldMk cId="676797854" sldId="700"/>
            <ac:spMk id="31" creationId="{1F5833A7-7460-4F87-8295-CD81701A09BC}"/>
          </ac:spMkLst>
        </pc:spChg>
        <pc:graphicFrameChg chg="mod">
          <ac:chgData name="Matthäus Alberding" userId="89cdd4c9-d044-4ab4-9e6f-8f065e0119c4" providerId="ADAL" clId="{B6745356-B6CF-45AA-ADCC-AC8F740A00DA}" dt="2022-07-22T14:33:12.836" v="44872"/>
          <ac:graphicFrameMkLst>
            <pc:docMk/>
            <pc:sldMk cId="676797854" sldId="700"/>
            <ac:graphicFrameMk id="11" creationId="{4F7BD645-EBEF-434C-A149-D9384CBB46AE}"/>
          </ac:graphicFrameMkLst>
        </pc:graphicFrameChg>
      </pc:sldChg>
      <pc:sldChg chg="addSp delSp modSp new add mod modTransition modClrScheme modShow chgLayout">
        <pc:chgData name="Matthäus Alberding" userId="89cdd4c9-d044-4ab4-9e6f-8f065e0119c4" providerId="ADAL" clId="{B6745356-B6CF-45AA-ADCC-AC8F740A00DA}" dt="2022-07-26T10:25:44.185" v="60421" actId="1076"/>
        <pc:sldMkLst>
          <pc:docMk/>
          <pc:sldMk cId="3367804601" sldId="701"/>
        </pc:sldMkLst>
        <pc:spChg chg="mod ord">
          <ac:chgData name="Matthäus Alberding" userId="89cdd4c9-d044-4ab4-9e6f-8f065e0119c4" providerId="ADAL" clId="{B6745356-B6CF-45AA-ADCC-AC8F740A00DA}" dt="2022-07-22T14:16:05.625" v="44431"/>
          <ac:spMkLst>
            <pc:docMk/>
            <pc:sldMk cId="3367804601" sldId="701"/>
            <ac:spMk id="2" creationId="{7113FC60-4A23-4156-A165-0AAA49819447}"/>
          </ac:spMkLst>
        </pc:spChg>
        <pc:spChg chg="mod ord">
          <ac:chgData name="Matthäus Alberding" userId="89cdd4c9-d044-4ab4-9e6f-8f065e0119c4" providerId="ADAL" clId="{B6745356-B6CF-45AA-ADCC-AC8F740A00DA}" dt="2022-07-22T14:16:05.625" v="44431"/>
          <ac:spMkLst>
            <pc:docMk/>
            <pc:sldMk cId="3367804601" sldId="701"/>
            <ac:spMk id="3" creationId="{D84D11F8-1BBF-45CA-B227-8D964CB4C890}"/>
          </ac:spMkLst>
        </pc:spChg>
        <pc:spChg chg="del mod ord">
          <ac:chgData name="Matthäus Alberding" userId="89cdd4c9-d044-4ab4-9e6f-8f065e0119c4" providerId="ADAL" clId="{B6745356-B6CF-45AA-ADCC-AC8F740A00DA}" dt="2022-07-22T14:16:05.625" v="44431"/>
          <ac:spMkLst>
            <pc:docMk/>
            <pc:sldMk cId="3367804601" sldId="701"/>
            <ac:spMk id="4" creationId="{1B056CA4-4BD6-4118-B48E-133E38E5CEBF}"/>
          </ac:spMkLst>
        </pc:spChg>
        <pc:spChg chg="add del mod modVis">
          <ac:chgData name="Matthäus Alberding" userId="89cdd4c9-d044-4ab4-9e6f-8f065e0119c4" providerId="ADAL" clId="{B6745356-B6CF-45AA-ADCC-AC8F740A00DA}" dt="2022-07-26T10:20:48.006" v="59019"/>
          <ac:spMkLst>
            <pc:docMk/>
            <pc:sldMk cId="3367804601" sldId="701"/>
            <ac:spMk id="4" creationId="{771A3C7B-6F47-44DE-9359-82F1AAE9A1A6}"/>
          </ac:spMkLst>
        </pc:spChg>
        <pc:spChg chg="add del mod modVis">
          <ac:chgData name="Matthäus Alberding" userId="89cdd4c9-d044-4ab4-9e6f-8f065e0119c4" providerId="ADAL" clId="{B6745356-B6CF-45AA-ADCC-AC8F740A00DA}" dt="2022-07-26T10:20:50.101" v="59090"/>
          <ac:spMkLst>
            <pc:docMk/>
            <pc:sldMk cId="3367804601" sldId="701"/>
            <ac:spMk id="5" creationId="{DBE66F6F-C19E-4849-B03F-0D23ED960E91}"/>
          </ac:spMkLst>
        </pc:spChg>
        <pc:spChg chg="del">
          <ac:chgData name="Matthäus Alberding" userId="89cdd4c9-d044-4ab4-9e6f-8f065e0119c4" providerId="ADAL" clId="{B6745356-B6CF-45AA-ADCC-AC8F740A00DA}" dt="2022-07-22T14:16:05.625" v="44431"/>
          <ac:spMkLst>
            <pc:docMk/>
            <pc:sldMk cId="3367804601" sldId="701"/>
            <ac:spMk id="5" creationId="{F6F4B506-83F1-4136-8B40-59FF72EE9B75}"/>
          </ac:spMkLst>
        </pc:spChg>
        <pc:spChg chg="add del mod modVis">
          <ac:chgData name="Matthäus Alberding" userId="89cdd4c9-d044-4ab4-9e6f-8f065e0119c4" providerId="ADAL" clId="{B6745356-B6CF-45AA-ADCC-AC8F740A00DA}" dt="2022-07-26T10:20:52.196" v="59133"/>
          <ac:spMkLst>
            <pc:docMk/>
            <pc:sldMk cId="3367804601" sldId="701"/>
            <ac:spMk id="6" creationId="{4608172B-28A6-496D-A54F-8AB7569AD7D3}"/>
          </ac:spMkLst>
        </pc:spChg>
        <pc:spChg chg="del">
          <ac:chgData name="Matthäus Alberding" userId="89cdd4c9-d044-4ab4-9e6f-8f065e0119c4" providerId="ADAL" clId="{B6745356-B6CF-45AA-ADCC-AC8F740A00DA}" dt="2022-07-22T14:16:05.625" v="44431"/>
          <ac:spMkLst>
            <pc:docMk/>
            <pc:sldMk cId="3367804601" sldId="701"/>
            <ac:spMk id="6" creationId="{7AB941E1-BB71-452B-9FD2-694B0C30EB06}"/>
          </ac:spMkLst>
        </pc:spChg>
        <pc:spChg chg="add del mod modVis">
          <ac:chgData name="Matthäus Alberding" userId="89cdd4c9-d044-4ab4-9e6f-8f065e0119c4" providerId="ADAL" clId="{B6745356-B6CF-45AA-ADCC-AC8F740A00DA}" dt="2022-07-26T10:20:54.704" v="59195"/>
          <ac:spMkLst>
            <pc:docMk/>
            <pc:sldMk cId="3367804601" sldId="701"/>
            <ac:spMk id="7" creationId="{03B76949-BD10-4083-8592-EBAE066BEEB6}"/>
          </ac:spMkLst>
        </pc:spChg>
        <pc:spChg chg="del mod ord">
          <ac:chgData name="Matthäus Alberding" userId="89cdd4c9-d044-4ab4-9e6f-8f065e0119c4" providerId="ADAL" clId="{B6745356-B6CF-45AA-ADCC-AC8F740A00DA}" dt="2022-07-22T14:16:05.625" v="44431"/>
          <ac:spMkLst>
            <pc:docMk/>
            <pc:sldMk cId="3367804601" sldId="701"/>
            <ac:spMk id="7" creationId="{8C77CBD2-FA65-46A9-98EB-FEEDB8B607AA}"/>
          </ac:spMkLst>
        </pc:spChg>
        <pc:spChg chg="add del mod modVis">
          <ac:chgData name="Matthäus Alberding" userId="89cdd4c9-d044-4ab4-9e6f-8f065e0119c4" providerId="ADAL" clId="{B6745356-B6CF-45AA-ADCC-AC8F740A00DA}" dt="2022-07-26T10:20:59.196" v="59268"/>
          <ac:spMkLst>
            <pc:docMk/>
            <pc:sldMk cId="3367804601" sldId="701"/>
            <ac:spMk id="8" creationId="{4FF0D1C0-19EA-4EB3-A0EC-C99D94B701E4}"/>
          </ac:spMkLst>
        </pc:spChg>
        <pc:spChg chg="del mod ord">
          <ac:chgData name="Matthäus Alberding" userId="89cdd4c9-d044-4ab4-9e6f-8f065e0119c4" providerId="ADAL" clId="{B6745356-B6CF-45AA-ADCC-AC8F740A00DA}" dt="2022-07-22T14:16:05.625" v="44431"/>
          <ac:spMkLst>
            <pc:docMk/>
            <pc:sldMk cId="3367804601" sldId="701"/>
            <ac:spMk id="8" creationId="{A7348CD7-D0A1-4C55-B65B-12F451E360A7}"/>
          </ac:spMkLst>
        </pc:spChg>
        <pc:spChg chg="del">
          <ac:chgData name="Matthäus Alberding" userId="89cdd4c9-d044-4ab4-9e6f-8f065e0119c4" providerId="ADAL" clId="{B6745356-B6CF-45AA-ADCC-AC8F740A00DA}" dt="2022-07-22T14:16:05.625" v="44431"/>
          <ac:spMkLst>
            <pc:docMk/>
            <pc:sldMk cId="3367804601" sldId="701"/>
            <ac:spMk id="9" creationId="{254762CF-FDEF-415D-A58A-63FD2088EDA6}"/>
          </ac:spMkLst>
        </pc:spChg>
        <pc:spChg chg="add del mod modVis">
          <ac:chgData name="Matthäus Alberding" userId="89cdd4c9-d044-4ab4-9e6f-8f065e0119c4" providerId="ADAL" clId="{B6745356-B6CF-45AA-ADCC-AC8F740A00DA}" dt="2022-07-26T10:21:02.586" v="59311"/>
          <ac:spMkLst>
            <pc:docMk/>
            <pc:sldMk cId="3367804601" sldId="701"/>
            <ac:spMk id="9" creationId="{8A2D0C2E-7A35-41CA-93C7-11F4E7F4F527}"/>
          </ac:spMkLst>
        </pc:spChg>
        <pc:spChg chg="add mod ord">
          <ac:chgData name="Matthäus Alberding" userId="89cdd4c9-d044-4ab4-9e6f-8f065e0119c4" providerId="ADAL" clId="{B6745356-B6CF-45AA-ADCC-AC8F740A00DA}" dt="2022-07-26T10:25:34.002" v="60379" actId="948"/>
          <ac:spMkLst>
            <pc:docMk/>
            <pc:sldMk cId="3367804601" sldId="701"/>
            <ac:spMk id="10" creationId="{43979C4C-20BE-4B72-BFB0-3E1D0CFEE9CB}"/>
          </ac:spMkLst>
        </pc:spChg>
        <pc:spChg chg="add del mod modVis">
          <ac:chgData name="Matthäus Alberding" userId="89cdd4c9-d044-4ab4-9e6f-8f065e0119c4" providerId="ADAL" clId="{B6745356-B6CF-45AA-ADCC-AC8F740A00DA}" dt="2022-07-26T10:21:03.452" v="59354"/>
          <ac:spMkLst>
            <pc:docMk/>
            <pc:sldMk cId="3367804601" sldId="701"/>
            <ac:spMk id="11" creationId="{5C5BCE36-7ADC-40DA-BAC4-3307CF86E13F}"/>
          </ac:spMkLst>
        </pc:spChg>
        <pc:spChg chg="add del mod ord">
          <ac:chgData name="Matthäus Alberding" userId="89cdd4c9-d044-4ab4-9e6f-8f065e0119c4" providerId="ADAL" clId="{B6745356-B6CF-45AA-ADCC-AC8F740A00DA}" dt="2022-07-22T15:15:07.188" v="47988" actId="478"/>
          <ac:spMkLst>
            <pc:docMk/>
            <pc:sldMk cId="3367804601" sldId="701"/>
            <ac:spMk id="11" creationId="{9BECD71E-021E-4D57-85CB-99A098CBA096}"/>
          </ac:spMkLst>
        </pc:spChg>
        <pc:spChg chg="add mod ord">
          <ac:chgData name="Matthäus Alberding" userId="89cdd4c9-d044-4ab4-9e6f-8f065e0119c4" providerId="ADAL" clId="{B6745356-B6CF-45AA-ADCC-AC8F740A00DA}" dt="2022-07-22T15:21:52.951" v="48167" actId="20577"/>
          <ac:spMkLst>
            <pc:docMk/>
            <pc:sldMk cId="3367804601" sldId="701"/>
            <ac:spMk id="12" creationId="{BA39CDCC-4A21-4B55-95C4-B700128F6BFC}"/>
          </ac:spMkLst>
        </pc:spChg>
        <pc:spChg chg="add del mod modVis">
          <ac:chgData name="Matthäus Alberding" userId="89cdd4c9-d044-4ab4-9e6f-8f065e0119c4" providerId="ADAL" clId="{B6745356-B6CF-45AA-ADCC-AC8F740A00DA}" dt="2022-07-22T14:16:14.565" v="44509"/>
          <ac:spMkLst>
            <pc:docMk/>
            <pc:sldMk cId="3367804601" sldId="701"/>
            <ac:spMk id="14" creationId="{55A79DD3-73AD-4C5A-B3DF-D550100BDD14}"/>
          </ac:spMkLst>
        </pc:spChg>
        <pc:spChg chg="add del mod modVis">
          <ac:chgData name="Matthäus Alberding" userId="89cdd4c9-d044-4ab4-9e6f-8f065e0119c4" providerId="ADAL" clId="{B6745356-B6CF-45AA-ADCC-AC8F740A00DA}" dt="2022-07-26T10:21:04.724" v="59406"/>
          <ac:spMkLst>
            <pc:docMk/>
            <pc:sldMk cId="3367804601" sldId="701"/>
            <ac:spMk id="14" creationId="{5BDBCAA6-E0E9-4E65-973F-8B99325D7547}"/>
          </ac:spMkLst>
        </pc:spChg>
        <pc:spChg chg="add del mod modVis">
          <ac:chgData name="Matthäus Alberding" userId="89cdd4c9-d044-4ab4-9e6f-8f065e0119c4" providerId="ADAL" clId="{B6745356-B6CF-45AA-ADCC-AC8F740A00DA}" dt="2022-07-26T10:21:05.299" v="59449"/>
          <ac:spMkLst>
            <pc:docMk/>
            <pc:sldMk cId="3367804601" sldId="701"/>
            <ac:spMk id="15" creationId="{423FF2E7-B141-4A79-95EB-20D97F5E9CB9}"/>
          </ac:spMkLst>
        </pc:spChg>
        <pc:spChg chg="add del mod modVis">
          <ac:chgData name="Matthäus Alberding" userId="89cdd4c9-d044-4ab4-9e6f-8f065e0119c4" providerId="ADAL" clId="{B6745356-B6CF-45AA-ADCC-AC8F740A00DA}" dt="2022-07-26T10:21:08.745" v="59510"/>
          <ac:spMkLst>
            <pc:docMk/>
            <pc:sldMk cId="3367804601" sldId="701"/>
            <ac:spMk id="16" creationId="{9BFA5D9E-B9B5-458F-8505-AF0C1450CEA9}"/>
          </ac:spMkLst>
        </pc:spChg>
        <pc:spChg chg="add del mod modVis">
          <ac:chgData name="Matthäus Alberding" userId="89cdd4c9-d044-4ab4-9e6f-8f065e0119c4" providerId="ADAL" clId="{B6745356-B6CF-45AA-ADCC-AC8F740A00DA}" dt="2022-07-26T10:21:17.951" v="59553"/>
          <ac:spMkLst>
            <pc:docMk/>
            <pc:sldMk cId="3367804601" sldId="701"/>
            <ac:spMk id="17" creationId="{036A6483-6F7D-4C06-8EB7-894D92B1D4B8}"/>
          </ac:spMkLst>
        </pc:spChg>
        <pc:spChg chg="add del mod modVis">
          <ac:chgData name="Matthäus Alberding" userId="89cdd4c9-d044-4ab4-9e6f-8f065e0119c4" providerId="ADAL" clId="{B6745356-B6CF-45AA-ADCC-AC8F740A00DA}" dt="2022-07-26T10:21:26.856" v="59610"/>
          <ac:spMkLst>
            <pc:docMk/>
            <pc:sldMk cId="3367804601" sldId="701"/>
            <ac:spMk id="18" creationId="{CB82DF94-AAD3-42CA-9DB5-2345D09E818B}"/>
          </ac:spMkLst>
        </pc:spChg>
        <pc:spChg chg="add del mod modVis">
          <ac:chgData name="Matthäus Alberding" userId="89cdd4c9-d044-4ab4-9e6f-8f065e0119c4" providerId="ADAL" clId="{B6745356-B6CF-45AA-ADCC-AC8F740A00DA}" dt="2022-07-26T10:21:29.233" v="59669"/>
          <ac:spMkLst>
            <pc:docMk/>
            <pc:sldMk cId="3367804601" sldId="701"/>
            <ac:spMk id="19" creationId="{A57B0166-EF23-4CC1-AA64-965D986DDF55}"/>
          </ac:spMkLst>
        </pc:spChg>
        <pc:spChg chg="add del mod">
          <ac:chgData name="Matthäus Alberding" userId="89cdd4c9-d044-4ab4-9e6f-8f065e0119c4" providerId="ADAL" clId="{B6745356-B6CF-45AA-ADCC-AC8F740A00DA}" dt="2022-07-22T15:18:47.485" v="48094" actId="478"/>
          <ac:spMkLst>
            <pc:docMk/>
            <pc:sldMk cId="3367804601" sldId="701"/>
            <ac:spMk id="21" creationId="{45E96052-589B-49E6-8242-3E8B8BD182FB}"/>
          </ac:spMkLst>
        </pc:spChg>
        <pc:spChg chg="add del mod modVis">
          <ac:chgData name="Matthäus Alberding" userId="89cdd4c9-d044-4ab4-9e6f-8f065e0119c4" providerId="ADAL" clId="{B6745356-B6CF-45AA-ADCC-AC8F740A00DA}" dt="2022-07-26T10:21:30.616" v="59717"/>
          <ac:spMkLst>
            <pc:docMk/>
            <pc:sldMk cId="3367804601" sldId="701"/>
            <ac:spMk id="22" creationId="{F071C46D-9909-419D-8789-DF43524E4CD1}"/>
          </ac:spMkLst>
        </pc:spChg>
        <pc:spChg chg="add del mod modVis">
          <ac:chgData name="Matthäus Alberding" userId="89cdd4c9-d044-4ab4-9e6f-8f065e0119c4" providerId="ADAL" clId="{B6745356-B6CF-45AA-ADCC-AC8F740A00DA}" dt="2022-07-26T10:21:31.797" v="59765"/>
          <ac:spMkLst>
            <pc:docMk/>
            <pc:sldMk cId="3367804601" sldId="701"/>
            <ac:spMk id="23" creationId="{C7DBCB10-7D0C-45C8-AB19-B0095B9F416E}"/>
          </ac:spMkLst>
        </pc:spChg>
        <pc:spChg chg="add del mod modVis">
          <ac:chgData name="Matthäus Alberding" userId="89cdd4c9-d044-4ab4-9e6f-8f065e0119c4" providerId="ADAL" clId="{B6745356-B6CF-45AA-ADCC-AC8F740A00DA}" dt="2022-07-26T10:25:08.641" v="60238"/>
          <ac:spMkLst>
            <pc:docMk/>
            <pc:sldMk cId="3367804601" sldId="701"/>
            <ac:spMk id="24" creationId="{86A3BA1E-AA34-486B-9AA4-CA4EB86F783A}"/>
          </ac:spMkLst>
        </pc:spChg>
        <pc:spChg chg="add del mod modVis">
          <ac:chgData name="Matthäus Alberding" userId="89cdd4c9-d044-4ab4-9e6f-8f065e0119c4" providerId="ADAL" clId="{B6745356-B6CF-45AA-ADCC-AC8F740A00DA}" dt="2022-07-26T10:25:27.117" v="60327"/>
          <ac:spMkLst>
            <pc:docMk/>
            <pc:sldMk cId="3367804601" sldId="701"/>
            <ac:spMk id="25" creationId="{1672DFFB-361F-4B2B-B7BD-2B1F78A940DA}"/>
          </ac:spMkLst>
        </pc:spChg>
        <pc:spChg chg="add del mod modVis">
          <ac:chgData name="Matthäus Alberding" userId="89cdd4c9-d044-4ab4-9e6f-8f065e0119c4" providerId="ADAL" clId="{B6745356-B6CF-45AA-ADCC-AC8F740A00DA}" dt="2022-07-26T10:25:30.801" v="60372"/>
          <ac:spMkLst>
            <pc:docMk/>
            <pc:sldMk cId="3367804601" sldId="701"/>
            <ac:spMk id="26" creationId="{4E163D97-1B9B-4983-A5B7-112A82647CBF}"/>
          </ac:spMkLst>
        </pc:spChg>
        <pc:spChg chg="add mod">
          <ac:chgData name="Matthäus Alberding" userId="89cdd4c9-d044-4ab4-9e6f-8f065e0119c4" providerId="ADAL" clId="{B6745356-B6CF-45AA-ADCC-AC8F740A00DA}" dt="2022-07-22T16:03:45.780" v="51248" actId="1076"/>
          <ac:spMkLst>
            <pc:docMk/>
            <pc:sldMk cId="3367804601" sldId="701"/>
            <ac:spMk id="27" creationId="{E42FDB45-0313-4D88-B8B1-6D21F6A798AE}"/>
          </ac:spMkLst>
        </pc:spChg>
        <pc:spChg chg="add mod">
          <ac:chgData name="Matthäus Alberding" userId="89cdd4c9-d044-4ab4-9e6f-8f065e0119c4" providerId="ADAL" clId="{B6745356-B6CF-45AA-ADCC-AC8F740A00DA}" dt="2022-07-22T16:03:45.780" v="51248" actId="1076"/>
          <ac:spMkLst>
            <pc:docMk/>
            <pc:sldMk cId="3367804601" sldId="701"/>
            <ac:spMk id="28" creationId="{14ECCDC3-A097-4A21-9F8A-BEA537149F5C}"/>
          </ac:spMkLst>
        </pc:spChg>
        <pc:spChg chg="add mod">
          <ac:chgData name="Matthäus Alberding" userId="89cdd4c9-d044-4ab4-9e6f-8f065e0119c4" providerId="ADAL" clId="{B6745356-B6CF-45AA-ADCC-AC8F740A00DA}" dt="2022-07-22T16:03:45.780" v="51248" actId="1076"/>
          <ac:spMkLst>
            <pc:docMk/>
            <pc:sldMk cId="3367804601" sldId="701"/>
            <ac:spMk id="29" creationId="{6319486D-4CAE-4CF7-B5B0-95E02DD0CC10}"/>
          </ac:spMkLst>
        </pc:spChg>
        <pc:spChg chg="add mod">
          <ac:chgData name="Matthäus Alberding" userId="89cdd4c9-d044-4ab4-9e6f-8f065e0119c4" providerId="ADAL" clId="{B6745356-B6CF-45AA-ADCC-AC8F740A00DA}" dt="2022-07-22T16:42:07.691" v="56378" actId="1076"/>
          <ac:spMkLst>
            <pc:docMk/>
            <pc:sldMk cId="3367804601" sldId="701"/>
            <ac:spMk id="30" creationId="{C55BEBF0-C107-40ED-91E8-6E4D3D56CF12}"/>
          </ac:spMkLst>
        </pc:spChg>
        <pc:spChg chg="add mod">
          <ac:chgData name="Matthäus Alberding" userId="89cdd4c9-d044-4ab4-9e6f-8f065e0119c4" providerId="ADAL" clId="{B6745356-B6CF-45AA-ADCC-AC8F740A00DA}" dt="2022-07-22T16:57:18.127" v="57926" actId="20577"/>
          <ac:spMkLst>
            <pc:docMk/>
            <pc:sldMk cId="3367804601" sldId="701"/>
            <ac:spMk id="31" creationId="{D82F34A5-C180-43D3-9B21-AC8F2BE1EE03}"/>
          </ac:spMkLst>
        </pc:spChg>
        <pc:spChg chg="add del mod modVis">
          <ac:chgData name="Matthäus Alberding" userId="89cdd4c9-d044-4ab4-9e6f-8f065e0119c4" providerId="ADAL" clId="{B6745356-B6CF-45AA-ADCC-AC8F740A00DA}" dt="2022-07-26T10:25:34.020" v="60418"/>
          <ac:spMkLst>
            <pc:docMk/>
            <pc:sldMk cId="3367804601" sldId="701"/>
            <ac:spMk id="32" creationId="{0A877D40-7D37-419F-BF45-00C0808B7B04}"/>
          </ac:spMkLst>
        </pc:spChg>
        <pc:spChg chg="add del mod modVis">
          <ac:chgData name="Matthäus Alberding" userId="89cdd4c9-d044-4ab4-9e6f-8f065e0119c4" providerId="ADAL" clId="{B6745356-B6CF-45AA-ADCC-AC8F740A00DA}" dt="2022-07-22T15:26:50.725" v="48682"/>
          <ac:spMkLst>
            <pc:docMk/>
            <pc:sldMk cId="3367804601" sldId="701"/>
            <ac:spMk id="32" creationId="{451566CD-46BD-4616-BD30-A6DC51D11811}"/>
          </ac:spMkLst>
        </pc:spChg>
        <pc:spChg chg="add del mod modVis">
          <ac:chgData name="Matthäus Alberding" userId="89cdd4c9-d044-4ab4-9e6f-8f065e0119c4" providerId="ADAL" clId="{B6745356-B6CF-45AA-ADCC-AC8F740A00DA}" dt="2022-07-22T15:26:53.745" v="48738"/>
          <ac:spMkLst>
            <pc:docMk/>
            <pc:sldMk cId="3367804601" sldId="701"/>
            <ac:spMk id="33" creationId="{03BF5F4D-52A6-4A03-B896-9EF622EAD741}"/>
          </ac:spMkLst>
        </pc:spChg>
        <pc:spChg chg="add del mod modVis">
          <ac:chgData name="Matthäus Alberding" userId="89cdd4c9-d044-4ab4-9e6f-8f065e0119c4" providerId="ADAL" clId="{B6745356-B6CF-45AA-ADCC-AC8F740A00DA}" dt="2022-07-22T15:26:55.584" v="48784"/>
          <ac:spMkLst>
            <pc:docMk/>
            <pc:sldMk cId="3367804601" sldId="701"/>
            <ac:spMk id="34" creationId="{BB793107-09BE-462B-AAB0-8BA3070C43DB}"/>
          </ac:spMkLst>
        </pc:spChg>
        <pc:spChg chg="add del mod modVis">
          <ac:chgData name="Matthäus Alberding" userId="89cdd4c9-d044-4ab4-9e6f-8f065e0119c4" providerId="ADAL" clId="{B6745356-B6CF-45AA-ADCC-AC8F740A00DA}" dt="2022-07-22T15:26:56.157" v="48827"/>
          <ac:spMkLst>
            <pc:docMk/>
            <pc:sldMk cId="3367804601" sldId="701"/>
            <ac:spMk id="35" creationId="{3DFF8C68-629F-4A12-B63F-4C26585C9649}"/>
          </ac:spMkLst>
        </pc:spChg>
        <pc:spChg chg="add del mod modVis">
          <ac:chgData name="Matthäus Alberding" userId="89cdd4c9-d044-4ab4-9e6f-8f065e0119c4" providerId="ADAL" clId="{B6745356-B6CF-45AA-ADCC-AC8F740A00DA}" dt="2022-07-22T15:26:57.402" v="48870"/>
          <ac:spMkLst>
            <pc:docMk/>
            <pc:sldMk cId="3367804601" sldId="701"/>
            <ac:spMk id="36" creationId="{C46FEB77-598A-4086-A0E1-5DE967BC83DB}"/>
          </ac:spMkLst>
        </pc:spChg>
        <pc:spChg chg="add del mod modVis">
          <ac:chgData name="Matthäus Alberding" userId="89cdd4c9-d044-4ab4-9e6f-8f065e0119c4" providerId="ADAL" clId="{B6745356-B6CF-45AA-ADCC-AC8F740A00DA}" dt="2022-07-22T15:26:58.864" v="48917"/>
          <ac:spMkLst>
            <pc:docMk/>
            <pc:sldMk cId="3367804601" sldId="701"/>
            <ac:spMk id="37" creationId="{EFD1D2A1-E98D-4BC9-BBA6-8E045E3299E3}"/>
          </ac:spMkLst>
        </pc:spChg>
        <pc:spChg chg="add del mod modVis">
          <ac:chgData name="Matthäus Alberding" userId="89cdd4c9-d044-4ab4-9e6f-8f065e0119c4" providerId="ADAL" clId="{B6745356-B6CF-45AA-ADCC-AC8F740A00DA}" dt="2022-07-22T15:26:59.673" v="48960"/>
          <ac:spMkLst>
            <pc:docMk/>
            <pc:sldMk cId="3367804601" sldId="701"/>
            <ac:spMk id="38" creationId="{60BA6B92-5002-4837-901E-353FFF70C32C}"/>
          </ac:spMkLst>
        </pc:spChg>
        <pc:spChg chg="add del mod modVis">
          <ac:chgData name="Matthäus Alberding" userId="89cdd4c9-d044-4ab4-9e6f-8f065e0119c4" providerId="ADAL" clId="{B6745356-B6CF-45AA-ADCC-AC8F740A00DA}" dt="2022-07-22T15:27:01.141" v="49005"/>
          <ac:spMkLst>
            <pc:docMk/>
            <pc:sldMk cId="3367804601" sldId="701"/>
            <ac:spMk id="39" creationId="{3F02B7C9-F737-4DC7-AB5F-0F8C5CB4FB58}"/>
          </ac:spMkLst>
        </pc:spChg>
        <pc:spChg chg="add del mod modVis">
          <ac:chgData name="Matthäus Alberding" userId="89cdd4c9-d044-4ab4-9e6f-8f065e0119c4" providerId="ADAL" clId="{B6745356-B6CF-45AA-ADCC-AC8F740A00DA}" dt="2022-07-22T15:27:03.281" v="49053"/>
          <ac:spMkLst>
            <pc:docMk/>
            <pc:sldMk cId="3367804601" sldId="701"/>
            <ac:spMk id="40" creationId="{C65BE759-5E04-4C6A-9386-DF55544DB1A3}"/>
          </ac:spMkLst>
        </pc:spChg>
        <pc:spChg chg="add del mod modVis">
          <ac:chgData name="Matthäus Alberding" userId="89cdd4c9-d044-4ab4-9e6f-8f065e0119c4" providerId="ADAL" clId="{B6745356-B6CF-45AA-ADCC-AC8F740A00DA}" dt="2022-07-22T15:27:04.200" v="49097"/>
          <ac:spMkLst>
            <pc:docMk/>
            <pc:sldMk cId="3367804601" sldId="701"/>
            <ac:spMk id="41" creationId="{C9D119BD-111E-4E13-815A-3239AF39325E}"/>
          </ac:spMkLst>
        </pc:spChg>
        <pc:spChg chg="add del mod modVis">
          <ac:chgData name="Matthäus Alberding" userId="89cdd4c9-d044-4ab4-9e6f-8f065e0119c4" providerId="ADAL" clId="{B6745356-B6CF-45AA-ADCC-AC8F740A00DA}" dt="2022-07-22T15:27:05.072" v="49141"/>
          <ac:spMkLst>
            <pc:docMk/>
            <pc:sldMk cId="3367804601" sldId="701"/>
            <ac:spMk id="42" creationId="{95DC94D2-FB60-4092-8C6A-935A2710BA31}"/>
          </ac:spMkLst>
        </pc:spChg>
        <pc:spChg chg="add del mod modVis">
          <ac:chgData name="Matthäus Alberding" userId="89cdd4c9-d044-4ab4-9e6f-8f065e0119c4" providerId="ADAL" clId="{B6745356-B6CF-45AA-ADCC-AC8F740A00DA}" dt="2022-07-22T15:27:06.938" v="49188"/>
          <ac:spMkLst>
            <pc:docMk/>
            <pc:sldMk cId="3367804601" sldId="701"/>
            <ac:spMk id="43" creationId="{35847EF1-3468-485C-B5C5-E5DD83981767}"/>
          </ac:spMkLst>
        </pc:spChg>
        <pc:spChg chg="add del mod modVis">
          <ac:chgData name="Matthäus Alberding" userId="89cdd4c9-d044-4ab4-9e6f-8f065e0119c4" providerId="ADAL" clId="{B6745356-B6CF-45AA-ADCC-AC8F740A00DA}" dt="2022-07-22T15:27:08.526" v="49233"/>
          <ac:spMkLst>
            <pc:docMk/>
            <pc:sldMk cId="3367804601" sldId="701"/>
            <ac:spMk id="44" creationId="{E4D2990C-CA5B-4226-943C-275802919474}"/>
          </ac:spMkLst>
        </pc:spChg>
        <pc:spChg chg="add del mod modVis">
          <ac:chgData name="Matthäus Alberding" userId="89cdd4c9-d044-4ab4-9e6f-8f065e0119c4" providerId="ADAL" clId="{B6745356-B6CF-45AA-ADCC-AC8F740A00DA}" dt="2022-07-22T15:27:09.975" v="49276"/>
          <ac:spMkLst>
            <pc:docMk/>
            <pc:sldMk cId="3367804601" sldId="701"/>
            <ac:spMk id="45" creationId="{D974F71E-F17A-43B1-BCB6-89B7AB5364F9}"/>
          </ac:spMkLst>
        </pc:spChg>
        <pc:spChg chg="add del mod modVis">
          <ac:chgData name="Matthäus Alberding" userId="89cdd4c9-d044-4ab4-9e6f-8f065e0119c4" providerId="ADAL" clId="{B6745356-B6CF-45AA-ADCC-AC8F740A00DA}" dt="2022-07-22T15:27:10.731" v="49319"/>
          <ac:spMkLst>
            <pc:docMk/>
            <pc:sldMk cId="3367804601" sldId="701"/>
            <ac:spMk id="46" creationId="{686DA871-4EF0-42C3-BC20-B92399D4E4EE}"/>
          </ac:spMkLst>
        </pc:spChg>
        <pc:spChg chg="add del mod modVis">
          <ac:chgData name="Matthäus Alberding" userId="89cdd4c9-d044-4ab4-9e6f-8f065e0119c4" providerId="ADAL" clId="{B6745356-B6CF-45AA-ADCC-AC8F740A00DA}" dt="2022-07-22T15:27:13.098" v="49367"/>
          <ac:spMkLst>
            <pc:docMk/>
            <pc:sldMk cId="3367804601" sldId="701"/>
            <ac:spMk id="47" creationId="{5063A941-4A35-41D1-A762-D74D3692BD85}"/>
          </ac:spMkLst>
        </pc:spChg>
        <pc:spChg chg="add del mod modVis">
          <ac:chgData name="Matthäus Alberding" userId="89cdd4c9-d044-4ab4-9e6f-8f065e0119c4" providerId="ADAL" clId="{B6745356-B6CF-45AA-ADCC-AC8F740A00DA}" dt="2022-07-22T15:27:15.863" v="49416"/>
          <ac:spMkLst>
            <pc:docMk/>
            <pc:sldMk cId="3367804601" sldId="701"/>
            <ac:spMk id="48" creationId="{79DBC0B8-013B-43D2-888C-071B90C349F5}"/>
          </ac:spMkLst>
        </pc:spChg>
        <pc:spChg chg="add del mod modVis">
          <ac:chgData name="Matthäus Alberding" userId="89cdd4c9-d044-4ab4-9e6f-8f065e0119c4" providerId="ADAL" clId="{B6745356-B6CF-45AA-ADCC-AC8F740A00DA}" dt="2022-07-22T15:27:16.808" v="49459"/>
          <ac:spMkLst>
            <pc:docMk/>
            <pc:sldMk cId="3367804601" sldId="701"/>
            <ac:spMk id="49" creationId="{2A23A93F-5A16-4C4A-9DF8-130BE731C8EB}"/>
          </ac:spMkLst>
        </pc:spChg>
        <pc:spChg chg="add del mod modVis">
          <ac:chgData name="Matthäus Alberding" userId="89cdd4c9-d044-4ab4-9e6f-8f065e0119c4" providerId="ADAL" clId="{B6745356-B6CF-45AA-ADCC-AC8F740A00DA}" dt="2022-07-22T15:27:19.566" v="49512"/>
          <ac:spMkLst>
            <pc:docMk/>
            <pc:sldMk cId="3367804601" sldId="701"/>
            <ac:spMk id="50" creationId="{0A7C8DB7-BFFD-400F-9195-C9761F49D953}"/>
          </ac:spMkLst>
        </pc:spChg>
        <pc:spChg chg="add del mod modVis">
          <ac:chgData name="Matthäus Alberding" userId="89cdd4c9-d044-4ab4-9e6f-8f065e0119c4" providerId="ADAL" clId="{B6745356-B6CF-45AA-ADCC-AC8F740A00DA}" dt="2022-07-22T15:27:21.065" v="49556"/>
          <ac:spMkLst>
            <pc:docMk/>
            <pc:sldMk cId="3367804601" sldId="701"/>
            <ac:spMk id="51" creationId="{9F1140BE-6AD2-4898-BD95-CAE2F7E3323B}"/>
          </ac:spMkLst>
        </pc:spChg>
        <pc:spChg chg="add del mod modVis">
          <ac:chgData name="Matthäus Alberding" userId="89cdd4c9-d044-4ab4-9e6f-8f065e0119c4" providerId="ADAL" clId="{B6745356-B6CF-45AA-ADCC-AC8F740A00DA}" dt="2022-07-22T15:27:23.364" v="49605"/>
          <ac:spMkLst>
            <pc:docMk/>
            <pc:sldMk cId="3367804601" sldId="701"/>
            <ac:spMk id="52" creationId="{4EFAEC0B-C864-4318-BFCD-F1E6FFEB91B9}"/>
          </ac:spMkLst>
        </pc:spChg>
        <pc:spChg chg="add del mod modVis">
          <ac:chgData name="Matthäus Alberding" userId="89cdd4c9-d044-4ab4-9e6f-8f065e0119c4" providerId="ADAL" clId="{B6745356-B6CF-45AA-ADCC-AC8F740A00DA}" dt="2022-07-22T15:27:24.580" v="49651"/>
          <ac:spMkLst>
            <pc:docMk/>
            <pc:sldMk cId="3367804601" sldId="701"/>
            <ac:spMk id="53" creationId="{3E8CD277-3210-421A-B501-2F42ECA28C85}"/>
          </ac:spMkLst>
        </pc:spChg>
        <pc:spChg chg="add del mod modVis">
          <ac:chgData name="Matthäus Alberding" userId="89cdd4c9-d044-4ab4-9e6f-8f065e0119c4" providerId="ADAL" clId="{B6745356-B6CF-45AA-ADCC-AC8F740A00DA}" dt="2022-07-22T15:27:25.799" v="49695"/>
          <ac:spMkLst>
            <pc:docMk/>
            <pc:sldMk cId="3367804601" sldId="701"/>
            <ac:spMk id="54" creationId="{3A7C7F9B-82F9-46A7-B9B5-F40C17F7222A}"/>
          </ac:spMkLst>
        </pc:spChg>
        <pc:spChg chg="add del mod modVis">
          <ac:chgData name="Matthäus Alberding" userId="89cdd4c9-d044-4ab4-9e6f-8f065e0119c4" providerId="ADAL" clId="{B6745356-B6CF-45AA-ADCC-AC8F740A00DA}" dt="2022-07-22T15:27:37.578" v="49738"/>
          <ac:spMkLst>
            <pc:docMk/>
            <pc:sldMk cId="3367804601" sldId="701"/>
            <ac:spMk id="55" creationId="{91522A73-5254-4445-B727-52D9E34C394F}"/>
          </ac:spMkLst>
        </pc:spChg>
        <pc:spChg chg="add del mod modVis">
          <ac:chgData name="Matthäus Alberding" userId="89cdd4c9-d044-4ab4-9e6f-8f065e0119c4" providerId="ADAL" clId="{B6745356-B6CF-45AA-ADCC-AC8F740A00DA}" dt="2022-07-22T15:27:38.738" v="49782"/>
          <ac:spMkLst>
            <pc:docMk/>
            <pc:sldMk cId="3367804601" sldId="701"/>
            <ac:spMk id="56" creationId="{84E74F3B-3218-4B87-8F50-3A0BD4495251}"/>
          </ac:spMkLst>
        </pc:spChg>
        <pc:spChg chg="add del mod modVis">
          <ac:chgData name="Matthäus Alberding" userId="89cdd4c9-d044-4ab4-9e6f-8f065e0119c4" providerId="ADAL" clId="{B6745356-B6CF-45AA-ADCC-AC8F740A00DA}" dt="2022-07-22T15:27:48.073" v="49832"/>
          <ac:spMkLst>
            <pc:docMk/>
            <pc:sldMk cId="3367804601" sldId="701"/>
            <ac:spMk id="57" creationId="{41FA0A73-7903-4A1C-9804-DC21896F950A}"/>
          </ac:spMkLst>
        </pc:spChg>
        <pc:spChg chg="add del mod modVis">
          <ac:chgData name="Matthäus Alberding" userId="89cdd4c9-d044-4ab4-9e6f-8f065e0119c4" providerId="ADAL" clId="{B6745356-B6CF-45AA-ADCC-AC8F740A00DA}" dt="2022-07-22T15:27:51.098" v="49884"/>
          <ac:spMkLst>
            <pc:docMk/>
            <pc:sldMk cId="3367804601" sldId="701"/>
            <ac:spMk id="58" creationId="{8DFEB37E-02F4-4540-AE82-CF76BCEDA655}"/>
          </ac:spMkLst>
        </pc:spChg>
        <pc:spChg chg="add del mod modVis">
          <ac:chgData name="Matthäus Alberding" userId="89cdd4c9-d044-4ab4-9e6f-8f065e0119c4" providerId="ADAL" clId="{B6745356-B6CF-45AA-ADCC-AC8F740A00DA}" dt="2022-07-22T15:28:09.360" v="49933"/>
          <ac:spMkLst>
            <pc:docMk/>
            <pc:sldMk cId="3367804601" sldId="701"/>
            <ac:spMk id="59" creationId="{2E90FBDC-5E67-48F2-87CB-D6DF72F34FF3}"/>
          </ac:spMkLst>
        </pc:spChg>
        <pc:spChg chg="add del mod modVis">
          <ac:chgData name="Matthäus Alberding" userId="89cdd4c9-d044-4ab4-9e6f-8f065e0119c4" providerId="ADAL" clId="{B6745356-B6CF-45AA-ADCC-AC8F740A00DA}" dt="2022-07-22T15:28:11.731" v="49983"/>
          <ac:spMkLst>
            <pc:docMk/>
            <pc:sldMk cId="3367804601" sldId="701"/>
            <ac:spMk id="60" creationId="{33BDDE94-24E1-43AF-8AA4-71A03EBA6DAB}"/>
          </ac:spMkLst>
        </pc:spChg>
        <pc:spChg chg="add del mod modVis">
          <ac:chgData name="Matthäus Alberding" userId="89cdd4c9-d044-4ab4-9e6f-8f065e0119c4" providerId="ADAL" clId="{B6745356-B6CF-45AA-ADCC-AC8F740A00DA}" dt="2022-07-22T15:28:14.500" v="50033"/>
          <ac:spMkLst>
            <pc:docMk/>
            <pc:sldMk cId="3367804601" sldId="701"/>
            <ac:spMk id="61" creationId="{D25ACDEB-F8C4-4BF9-B391-A4483D6F51BB}"/>
          </ac:spMkLst>
        </pc:spChg>
        <pc:spChg chg="add del mod modVis">
          <ac:chgData name="Matthäus Alberding" userId="89cdd4c9-d044-4ab4-9e6f-8f065e0119c4" providerId="ADAL" clId="{B6745356-B6CF-45AA-ADCC-AC8F740A00DA}" dt="2022-07-22T15:28:16.917" v="50076"/>
          <ac:spMkLst>
            <pc:docMk/>
            <pc:sldMk cId="3367804601" sldId="701"/>
            <ac:spMk id="62" creationId="{CCF16FA3-CD28-4761-836D-4A77EECD4FED}"/>
          </ac:spMkLst>
        </pc:spChg>
        <pc:spChg chg="add del mod modVis">
          <ac:chgData name="Matthäus Alberding" userId="89cdd4c9-d044-4ab4-9e6f-8f065e0119c4" providerId="ADAL" clId="{B6745356-B6CF-45AA-ADCC-AC8F740A00DA}" dt="2022-07-22T15:28:19.081" v="50125"/>
          <ac:spMkLst>
            <pc:docMk/>
            <pc:sldMk cId="3367804601" sldId="701"/>
            <ac:spMk id="63" creationId="{FA520B90-2353-4CC3-BDE3-644B0E895979}"/>
          </ac:spMkLst>
        </pc:spChg>
        <pc:spChg chg="add del mod modVis">
          <ac:chgData name="Matthäus Alberding" userId="89cdd4c9-d044-4ab4-9e6f-8f065e0119c4" providerId="ADAL" clId="{B6745356-B6CF-45AA-ADCC-AC8F740A00DA}" dt="2022-07-22T15:28:20.365" v="50172"/>
          <ac:spMkLst>
            <pc:docMk/>
            <pc:sldMk cId="3367804601" sldId="701"/>
            <ac:spMk id="64" creationId="{D21DAB02-F479-4040-9C9A-8AA7433B91A0}"/>
          </ac:spMkLst>
        </pc:spChg>
        <pc:spChg chg="add del mod modVis">
          <ac:chgData name="Matthäus Alberding" userId="89cdd4c9-d044-4ab4-9e6f-8f065e0119c4" providerId="ADAL" clId="{B6745356-B6CF-45AA-ADCC-AC8F740A00DA}" dt="2022-07-22T15:28:23.498" v="50224"/>
          <ac:spMkLst>
            <pc:docMk/>
            <pc:sldMk cId="3367804601" sldId="701"/>
            <ac:spMk id="65" creationId="{80429A72-287A-4301-A0DE-4B2FBC07055E}"/>
          </ac:spMkLst>
        </pc:spChg>
        <pc:spChg chg="add del mod modVis">
          <ac:chgData name="Matthäus Alberding" userId="89cdd4c9-d044-4ab4-9e6f-8f065e0119c4" providerId="ADAL" clId="{B6745356-B6CF-45AA-ADCC-AC8F740A00DA}" dt="2022-07-22T15:28:25.479" v="50272"/>
          <ac:spMkLst>
            <pc:docMk/>
            <pc:sldMk cId="3367804601" sldId="701"/>
            <ac:spMk id="66" creationId="{2E9CD0B4-6138-4FE4-B877-B4861E69B735}"/>
          </ac:spMkLst>
        </pc:spChg>
        <pc:spChg chg="add del mod modVis">
          <ac:chgData name="Matthäus Alberding" userId="89cdd4c9-d044-4ab4-9e6f-8f065e0119c4" providerId="ADAL" clId="{B6745356-B6CF-45AA-ADCC-AC8F740A00DA}" dt="2022-07-22T15:28:33.636" v="50317"/>
          <ac:spMkLst>
            <pc:docMk/>
            <pc:sldMk cId="3367804601" sldId="701"/>
            <ac:spMk id="67" creationId="{B55FA1CF-1ED5-4229-8745-03A22A979A0A}"/>
          </ac:spMkLst>
        </pc:spChg>
        <pc:spChg chg="add del mod modVis">
          <ac:chgData name="Matthäus Alberding" userId="89cdd4c9-d044-4ab4-9e6f-8f065e0119c4" providerId="ADAL" clId="{B6745356-B6CF-45AA-ADCC-AC8F740A00DA}" dt="2022-07-22T15:28:35.056" v="50362"/>
          <ac:spMkLst>
            <pc:docMk/>
            <pc:sldMk cId="3367804601" sldId="701"/>
            <ac:spMk id="68" creationId="{09B9057F-D717-4D02-B07F-E61DEEE9BEC7}"/>
          </ac:spMkLst>
        </pc:spChg>
        <pc:spChg chg="add del mod modVis">
          <ac:chgData name="Matthäus Alberding" userId="89cdd4c9-d044-4ab4-9e6f-8f065e0119c4" providerId="ADAL" clId="{B6745356-B6CF-45AA-ADCC-AC8F740A00DA}" dt="2022-07-22T15:28:36.083" v="50405"/>
          <ac:spMkLst>
            <pc:docMk/>
            <pc:sldMk cId="3367804601" sldId="701"/>
            <ac:spMk id="69" creationId="{7CD5B863-3891-4E4A-BD44-60ABBCA5618B}"/>
          </ac:spMkLst>
        </pc:spChg>
        <pc:spChg chg="add del mod modVis">
          <ac:chgData name="Matthäus Alberding" userId="89cdd4c9-d044-4ab4-9e6f-8f065e0119c4" providerId="ADAL" clId="{B6745356-B6CF-45AA-ADCC-AC8F740A00DA}" dt="2022-07-22T15:28:37.224" v="50451"/>
          <ac:spMkLst>
            <pc:docMk/>
            <pc:sldMk cId="3367804601" sldId="701"/>
            <ac:spMk id="70" creationId="{E82A15C1-C596-4C46-BEC3-2A36B2B3D977}"/>
          </ac:spMkLst>
        </pc:spChg>
        <pc:spChg chg="add del mod modVis">
          <ac:chgData name="Matthäus Alberding" userId="89cdd4c9-d044-4ab4-9e6f-8f065e0119c4" providerId="ADAL" clId="{B6745356-B6CF-45AA-ADCC-AC8F740A00DA}" dt="2022-07-22T15:28:38.267" v="50497"/>
          <ac:spMkLst>
            <pc:docMk/>
            <pc:sldMk cId="3367804601" sldId="701"/>
            <ac:spMk id="71" creationId="{E53D7B1E-A8BB-4912-9C87-D8BCA7C48E0B}"/>
          </ac:spMkLst>
        </pc:spChg>
        <pc:spChg chg="add del mod modVis">
          <ac:chgData name="Matthäus Alberding" userId="89cdd4c9-d044-4ab4-9e6f-8f065e0119c4" providerId="ADAL" clId="{B6745356-B6CF-45AA-ADCC-AC8F740A00DA}" dt="2022-07-22T15:28:39.412" v="50542"/>
          <ac:spMkLst>
            <pc:docMk/>
            <pc:sldMk cId="3367804601" sldId="701"/>
            <ac:spMk id="72" creationId="{8D6117AB-1D1B-44C1-9279-A7EF2AA34FB1}"/>
          </ac:spMkLst>
        </pc:spChg>
        <pc:spChg chg="add del mod modVis">
          <ac:chgData name="Matthäus Alberding" userId="89cdd4c9-d044-4ab4-9e6f-8f065e0119c4" providerId="ADAL" clId="{B6745356-B6CF-45AA-ADCC-AC8F740A00DA}" dt="2022-07-22T15:28:42.059" v="50594"/>
          <ac:spMkLst>
            <pc:docMk/>
            <pc:sldMk cId="3367804601" sldId="701"/>
            <ac:spMk id="73" creationId="{3A71DD6D-F443-488D-A43F-8B9B0030FE9A}"/>
          </ac:spMkLst>
        </pc:spChg>
        <pc:spChg chg="add del mod modVis">
          <ac:chgData name="Matthäus Alberding" userId="89cdd4c9-d044-4ab4-9e6f-8f065e0119c4" providerId="ADAL" clId="{B6745356-B6CF-45AA-ADCC-AC8F740A00DA}" dt="2022-07-22T15:28:44.090" v="50644"/>
          <ac:spMkLst>
            <pc:docMk/>
            <pc:sldMk cId="3367804601" sldId="701"/>
            <ac:spMk id="74" creationId="{006EF86D-3DDC-4133-B689-4D0ADA3F918B}"/>
          </ac:spMkLst>
        </pc:spChg>
        <pc:spChg chg="add del mod modVis">
          <ac:chgData name="Matthäus Alberding" userId="89cdd4c9-d044-4ab4-9e6f-8f065e0119c4" providerId="ADAL" clId="{B6745356-B6CF-45AA-ADCC-AC8F740A00DA}" dt="2022-07-22T15:28:45.593" v="50688"/>
          <ac:spMkLst>
            <pc:docMk/>
            <pc:sldMk cId="3367804601" sldId="701"/>
            <ac:spMk id="75" creationId="{50A20DEA-C06B-40B3-9E4F-1E67E730600E}"/>
          </ac:spMkLst>
        </pc:spChg>
        <pc:spChg chg="add del mod modVis">
          <ac:chgData name="Matthäus Alberding" userId="89cdd4c9-d044-4ab4-9e6f-8f065e0119c4" providerId="ADAL" clId="{B6745356-B6CF-45AA-ADCC-AC8F740A00DA}" dt="2022-07-22T15:28:46.167" v="50731"/>
          <ac:spMkLst>
            <pc:docMk/>
            <pc:sldMk cId="3367804601" sldId="701"/>
            <ac:spMk id="76" creationId="{28C525C9-08F6-41E7-AD03-46EEB1991A71}"/>
          </ac:spMkLst>
        </pc:spChg>
        <pc:spChg chg="add del mod modVis">
          <ac:chgData name="Matthäus Alberding" userId="89cdd4c9-d044-4ab4-9e6f-8f065e0119c4" providerId="ADAL" clId="{B6745356-B6CF-45AA-ADCC-AC8F740A00DA}" dt="2022-07-22T15:28:47.499" v="50777"/>
          <ac:spMkLst>
            <pc:docMk/>
            <pc:sldMk cId="3367804601" sldId="701"/>
            <ac:spMk id="77" creationId="{CEB01E9D-E206-46A9-99F5-DCA3E0CECE1A}"/>
          </ac:spMkLst>
        </pc:spChg>
        <pc:spChg chg="add del mod modVis">
          <ac:chgData name="Matthäus Alberding" userId="89cdd4c9-d044-4ab4-9e6f-8f065e0119c4" providerId="ADAL" clId="{B6745356-B6CF-45AA-ADCC-AC8F740A00DA}" dt="2022-07-22T15:28:49.335" v="50825"/>
          <ac:spMkLst>
            <pc:docMk/>
            <pc:sldMk cId="3367804601" sldId="701"/>
            <ac:spMk id="78" creationId="{B22C9451-F672-4DA4-B2BD-53EFA8D2F8DA}"/>
          </ac:spMkLst>
        </pc:spChg>
        <pc:spChg chg="add del mod modVis">
          <ac:chgData name="Matthäus Alberding" userId="89cdd4c9-d044-4ab4-9e6f-8f065e0119c4" providerId="ADAL" clId="{B6745356-B6CF-45AA-ADCC-AC8F740A00DA}" dt="2022-07-22T15:28:50.162" v="50869"/>
          <ac:spMkLst>
            <pc:docMk/>
            <pc:sldMk cId="3367804601" sldId="701"/>
            <ac:spMk id="79" creationId="{61E18EB8-6275-4381-98AD-BE7E1641D148}"/>
          </ac:spMkLst>
        </pc:spChg>
        <pc:spChg chg="add del mod modVis">
          <ac:chgData name="Matthäus Alberding" userId="89cdd4c9-d044-4ab4-9e6f-8f065e0119c4" providerId="ADAL" clId="{B6745356-B6CF-45AA-ADCC-AC8F740A00DA}" dt="2022-07-22T15:28:55.774" v="50915"/>
          <ac:spMkLst>
            <pc:docMk/>
            <pc:sldMk cId="3367804601" sldId="701"/>
            <ac:spMk id="80" creationId="{F4E8CF38-429E-4F8C-9F76-93CAF06C672C}"/>
          </ac:spMkLst>
        </pc:spChg>
        <pc:spChg chg="add del mod modVis">
          <ac:chgData name="Matthäus Alberding" userId="89cdd4c9-d044-4ab4-9e6f-8f065e0119c4" providerId="ADAL" clId="{B6745356-B6CF-45AA-ADCC-AC8F740A00DA}" dt="2022-07-22T15:28:59.240" v="50958"/>
          <ac:spMkLst>
            <pc:docMk/>
            <pc:sldMk cId="3367804601" sldId="701"/>
            <ac:spMk id="81" creationId="{DEEDD8AA-CB6F-43BB-9739-AFE9612EC9AE}"/>
          </ac:spMkLst>
        </pc:spChg>
        <pc:spChg chg="add del mod modVis">
          <ac:chgData name="Matthäus Alberding" userId="89cdd4c9-d044-4ab4-9e6f-8f065e0119c4" providerId="ADAL" clId="{B6745356-B6CF-45AA-ADCC-AC8F740A00DA}" dt="2022-07-22T15:29:02.509" v="51001"/>
          <ac:spMkLst>
            <pc:docMk/>
            <pc:sldMk cId="3367804601" sldId="701"/>
            <ac:spMk id="82" creationId="{198D9CF7-3A17-4A32-AE07-6FE93E1362A8}"/>
          </ac:spMkLst>
        </pc:spChg>
        <pc:spChg chg="add del mod modVis">
          <ac:chgData name="Matthäus Alberding" userId="89cdd4c9-d044-4ab4-9e6f-8f065e0119c4" providerId="ADAL" clId="{B6745356-B6CF-45AA-ADCC-AC8F740A00DA}" dt="2022-07-22T15:29:03.037" v="51044"/>
          <ac:spMkLst>
            <pc:docMk/>
            <pc:sldMk cId="3367804601" sldId="701"/>
            <ac:spMk id="83" creationId="{EEC008BD-7BED-40D1-9CD4-4EF591247DFA}"/>
          </ac:spMkLst>
        </pc:spChg>
        <pc:spChg chg="add del mod modVis">
          <ac:chgData name="Matthäus Alberding" userId="89cdd4c9-d044-4ab4-9e6f-8f065e0119c4" providerId="ADAL" clId="{B6745356-B6CF-45AA-ADCC-AC8F740A00DA}" dt="2022-07-22T15:29:06.151" v="51089"/>
          <ac:spMkLst>
            <pc:docMk/>
            <pc:sldMk cId="3367804601" sldId="701"/>
            <ac:spMk id="84" creationId="{C931617F-936D-4055-9EAC-C089C5DFF448}"/>
          </ac:spMkLst>
        </pc:spChg>
        <pc:spChg chg="add del mod modVis">
          <ac:chgData name="Matthäus Alberding" userId="89cdd4c9-d044-4ab4-9e6f-8f065e0119c4" providerId="ADAL" clId="{B6745356-B6CF-45AA-ADCC-AC8F740A00DA}" dt="2022-07-22T15:29:06.924" v="51133"/>
          <ac:spMkLst>
            <pc:docMk/>
            <pc:sldMk cId="3367804601" sldId="701"/>
            <ac:spMk id="85" creationId="{4C5A7FFD-C39C-4A74-AAAD-4279C617A1A2}"/>
          </ac:spMkLst>
        </pc:spChg>
        <pc:spChg chg="add del mod modVis">
          <ac:chgData name="Matthäus Alberding" userId="89cdd4c9-d044-4ab4-9e6f-8f065e0119c4" providerId="ADAL" clId="{B6745356-B6CF-45AA-ADCC-AC8F740A00DA}" dt="2022-07-22T15:29:07.784" v="51178"/>
          <ac:spMkLst>
            <pc:docMk/>
            <pc:sldMk cId="3367804601" sldId="701"/>
            <ac:spMk id="86" creationId="{E17C211E-CA9D-4840-A553-C72777CB0024}"/>
          </ac:spMkLst>
        </pc:spChg>
        <pc:spChg chg="add del mod modVis">
          <ac:chgData name="Matthäus Alberding" userId="89cdd4c9-d044-4ab4-9e6f-8f065e0119c4" providerId="ADAL" clId="{B6745356-B6CF-45AA-ADCC-AC8F740A00DA}" dt="2022-07-22T15:29:10.291" v="51224"/>
          <ac:spMkLst>
            <pc:docMk/>
            <pc:sldMk cId="3367804601" sldId="701"/>
            <ac:spMk id="87" creationId="{19E72196-E89F-4D1E-B52C-E0E3426FF1B9}"/>
          </ac:spMkLst>
        </pc:spChg>
        <pc:spChg chg="add del mod modVis">
          <ac:chgData name="Matthäus Alberding" userId="89cdd4c9-d044-4ab4-9e6f-8f065e0119c4" providerId="ADAL" clId="{B6745356-B6CF-45AA-ADCC-AC8F740A00DA}" dt="2022-07-22T16:03:50.975" v="51290"/>
          <ac:spMkLst>
            <pc:docMk/>
            <pc:sldMk cId="3367804601" sldId="701"/>
            <ac:spMk id="96" creationId="{B7F8D06F-6FA9-4B6A-AE52-F4E177FEAECA}"/>
          </ac:spMkLst>
        </pc:spChg>
        <pc:spChg chg="add mod">
          <ac:chgData name="Matthäus Alberding" userId="89cdd4c9-d044-4ab4-9e6f-8f065e0119c4" providerId="ADAL" clId="{B6745356-B6CF-45AA-ADCC-AC8F740A00DA}" dt="2022-07-22T16:57:21.591" v="57932" actId="20577"/>
          <ac:spMkLst>
            <pc:docMk/>
            <pc:sldMk cId="3367804601" sldId="701"/>
            <ac:spMk id="97" creationId="{8E35FA5E-5F6E-4EDE-ADB0-6513344CC203}"/>
          </ac:spMkLst>
        </pc:spChg>
        <pc:spChg chg="add del mod modVis">
          <ac:chgData name="Matthäus Alberding" userId="89cdd4c9-d044-4ab4-9e6f-8f065e0119c4" providerId="ADAL" clId="{B6745356-B6CF-45AA-ADCC-AC8F740A00DA}" dt="2022-07-22T16:43:25.145" v="56426"/>
          <ac:spMkLst>
            <pc:docMk/>
            <pc:sldMk cId="3367804601" sldId="701"/>
            <ac:spMk id="100" creationId="{65058117-E759-46C8-ACC8-61D4073DAA17}"/>
          </ac:spMkLst>
        </pc:spChg>
        <pc:spChg chg="add del mod modVis">
          <ac:chgData name="Matthäus Alberding" userId="89cdd4c9-d044-4ab4-9e6f-8f065e0119c4" providerId="ADAL" clId="{B6745356-B6CF-45AA-ADCC-AC8F740A00DA}" dt="2022-07-22T16:43:26.627" v="56477"/>
          <ac:spMkLst>
            <pc:docMk/>
            <pc:sldMk cId="3367804601" sldId="701"/>
            <ac:spMk id="101" creationId="{6FC02CD7-06BE-41B3-B287-D6B90CF96035}"/>
          </ac:spMkLst>
        </pc:spChg>
        <pc:spChg chg="add del mod modVis">
          <ac:chgData name="Matthäus Alberding" userId="89cdd4c9-d044-4ab4-9e6f-8f065e0119c4" providerId="ADAL" clId="{B6745356-B6CF-45AA-ADCC-AC8F740A00DA}" dt="2022-07-22T16:43:30.850" v="56548"/>
          <ac:spMkLst>
            <pc:docMk/>
            <pc:sldMk cId="3367804601" sldId="701"/>
            <ac:spMk id="102" creationId="{94A315BB-BAA6-49CE-B2E1-15E68343123A}"/>
          </ac:spMkLst>
        </pc:spChg>
        <pc:spChg chg="add del mod modVis">
          <ac:chgData name="Matthäus Alberding" userId="89cdd4c9-d044-4ab4-9e6f-8f065e0119c4" providerId="ADAL" clId="{B6745356-B6CF-45AA-ADCC-AC8F740A00DA}" dt="2022-07-22T16:43:33.989" v="56592"/>
          <ac:spMkLst>
            <pc:docMk/>
            <pc:sldMk cId="3367804601" sldId="701"/>
            <ac:spMk id="103" creationId="{3D0096AD-B981-44EB-9837-BD1069FAAF16}"/>
          </ac:spMkLst>
        </pc:spChg>
        <pc:spChg chg="add del mod modVis">
          <ac:chgData name="Matthäus Alberding" userId="89cdd4c9-d044-4ab4-9e6f-8f065e0119c4" providerId="ADAL" clId="{B6745356-B6CF-45AA-ADCC-AC8F740A00DA}" dt="2022-07-22T16:43:41.707" v="56636"/>
          <ac:spMkLst>
            <pc:docMk/>
            <pc:sldMk cId="3367804601" sldId="701"/>
            <ac:spMk id="104" creationId="{CDA2E769-A9EB-44D9-9FC2-D0EDE32682B6}"/>
          </ac:spMkLst>
        </pc:spChg>
        <pc:spChg chg="add del mod modVis">
          <ac:chgData name="Matthäus Alberding" userId="89cdd4c9-d044-4ab4-9e6f-8f065e0119c4" providerId="ADAL" clId="{B6745356-B6CF-45AA-ADCC-AC8F740A00DA}" dt="2022-07-22T16:43:44.627" v="56683"/>
          <ac:spMkLst>
            <pc:docMk/>
            <pc:sldMk cId="3367804601" sldId="701"/>
            <ac:spMk id="105" creationId="{10E1DC93-F882-438F-8B32-FC9749AF82AD}"/>
          </ac:spMkLst>
        </pc:spChg>
        <pc:spChg chg="add del mod modVis">
          <ac:chgData name="Matthäus Alberding" userId="89cdd4c9-d044-4ab4-9e6f-8f065e0119c4" providerId="ADAL" clId="{B6745356-B6CF-45AA-ADCC-AC8F740A00DA}" dt="2022-07-22T16:55:29.666" v="57676"/>
          <ac:spMkLst>
            <pc:docMk/>
            <pc:sldMk cId="3367804601" sldId="701"/>
            <ac:spMk id="106" creationId="{D45E7AA5-0113-4C33-A2E3-4221B4DB235E}"/>
          </ac:spMkLst>
        </pc:spChg>
        <pc:spChg chg="add del mod modVis">
          <ac:chgData name="Matthäus Alberding" userId="89cdd4c9-d044-4ab4-9e6f-8f065e0119c4" providerId="ADAL" clId="{B6745356-B6CF-45AA-ADCC-AC8F740A00DA}" dt="2022-07-22T16:55:32.706" v="57733"/>
          <ac:spMkLst>
            <pc:docMk/>
            <pc:sldMk cId="3367804601" sldId="701"/>
            <ac:spMk id="107" creationId="{4E851EAC-52E6-4D67-B114-FA349F28DD5E}"/>
          </ac:spMkLst>
        </pc:spChg>
        <pc:spChg chg="add del mod modVis">
          <ac:chgData name="Matthäus Alberding" userId="89cdd4c9-d044-4ab4-9e6f-8f065e0119c4" providerId="ADAL" clId="{B6745356-B6CF-45AA-ADCC-AC8F740A00DA}" dt="2022-07-22T16:55:37.561" v="57777"/>
          <ac:spMkLst>
            <pc:docMk/>
            <pc:sldMk cId="3367804601" sldId="701"/>
            <ac:spMk id="108" creationId="{CC3A5C6A-C48A-4650-801A-6DEE1007B766}"/>
          </ac:spMkLst>
        </pc:spChg>
        <pc:spChg chg="add del mod modVis">
          <ac:chgData name="Matthäus Alberding" userId="89cdd4c9-d044-4ab4-9e6f-8f065e0119c4" providerId="ADAL" clId="{B6745356-B6CF-45AA-ADCC-AC8F740A00DA}" dt="2022-07-22T16:55:39.379" v="57830"/>
          <ac:spMkLst>
            <pc:docMk/>
            <pc:sldMk cId="3367804601" sldId="701"/>
            <ac:spMk id="109" creationId="{A06F2724-1B99-41FB-8DBE-0AFE9E4AB87A}"/>
          </ac:spMkLst>
        </pc:spChg>
        <pc:spChg chg="add del mod modVis">
          <ac:chgData name="Matthäus Alberding" userId="89cdd4c9-d044-4ab4-9e6f-8f065e0119c4" providerId="ADAL" clId="{B6745356-B6CF-45AA-ADCC-AC8F740A00DA}" dt="2022-07-22T16:55:43.653" v="57874"/>
          <ac:spMkLst>
            <pc:docMk/>
            <pc:sldMk cId="3367804601" sldId="701"/>
            <ac:spMk id="110" creationId="{1CA4BE61-3F82-4492-AF1D-68C0EF341FE6}"/>
          </ac:spMkLst>
        </pc:spChg>
        <pc:spChg chg="add del mod modVis">
          <ac:chgData name="Matthäus Alberding" userId="89cdd4c9-d044-4ab4-9e6f-8f065e0119c4" providerId="ADAL" clId="{B6745356-B6CF-45AA-ADCC-AC8F740A00DA}" dt="2022-07-22T16:55:46.166" v="57918"/>
          <ac:spMkLst>
            <pc:docMk/>
            <pc:sldMk cId="3367804601" sldId="701"/>
            <ac:spMk id="111" creationId="{198DE877-C3CA-4531-A329-63C637C6837F}"/>
          </ac:spMkLst>
        </pc:spChg>
        <pc:graphicFrameChg chg="add mod ord modVis">
          <ac:chgData name="Matthäus Alberding" userId="89cdd4c9-d044-4ab4-9e6f-8f065e0119c4" providerId="ADAL" clId="{B6745356-B6CF-45AA-ADCC-AC8F740A00DA}" dt="2022-07-26T10:25:34.020" v="60420"/>
          <ac:graphicFrameMkLst>
            <pc:docMk/>
            <pc:sldMk cId="3367804601" sldId="701"/>
            <ac:graphicFrameMk id="13" creationId="{5D41D109-638A-4FA7-B602-092394168A75}"/>
          </ac:graphicFrameMkLst>
        </pc:graphicFrameChg>
        <pc:graphicFrameChg chg="add mod modGraphic">
          <ac:chgData name="Matthäus Alberding" userId="89cdd4c9-d044-4ab4-9e6f-8f065e0119c4" providerId="ADAL" clId="{B6745356-B6CF-45AA-ADCC-AC8F740A00DA}" dt="2022-07-22T16:03:45.780" v="51248" actId="1076"/>
          <ac:graphicFrameMkLst>
            <pc:docMk/>
            <pc:sldMk cId="3367804601" sldId="701"/>
            <ac:graphicFrameMk id="20" creationId="{853549B2-DB47-4A11-BB16-7E8619C7556F}"/>
          </ac:graphicFrameMkLst>
        </pc:graphicFrameChg>
        <pc:graphicFrameChg chg="add del mod">
          <ac:chgData name="Matthäus Alberding" userId="89cdd4c9-d044-4ab4-9e6f-8f065e0119c4" providerId="ADAL" clId="{B6745356-B6CF-45AA-ADCC-AC8F740A00DA}" dt="2022-07-22T15:20:54.047" v="48149" actId="478"/>
          <ac:graphicFrameMkLst>
            <pc:docMk/>
            <pc:sldMk cId="3367804601" sldId="701"/>
            <ac:graphicFrameMk id="22" creationId="{1841BC3D-536E-41DB-B2EF-358CA134F751}"/>
          </ac:graphicFrameMkLst>
        </pc:graphicFrameChg>
        <pc:graphicFrameChg chg="add del mod">
          <ac:chgData name="Matthäus Alberding" userId="89cdd4c9-d044-4ab4-9e6f-8f065e0119c4" providerId="ADAL" clId="{B6745356-B6CF-45AA-ADCC-AC8F740A00DA}" dt="2022-07-22T15:21:04.195" v="48153" actId="478"/>
          <ac:graphicFrameMkLst>
            <pc:docMk/>
            <pc:sldMk cId="3367804601" sldId="701"/>
            <ac:graphicFrameMk id="23" creationId="{4017035D-AD8B-4C64-9781-96D505834EAD}"/>
          </ac:graphicFrameMkLst>
        </pc:graphicFrameChg>
        <pc:graphicFrameChg chg="add del mod">
          <ac:chgData name="Matthäus Alberding" userId="89cdd4c9-d044-4ab4-9e6f-8f065e0119c4" providerId="ADAL" clId="{B6745356-B6CF-45AA-ADCC-AC8F740A00DA}" dt="2022-07-22T15:21:11.776" v="48156" actId="478"/>
          <ac:graphicFrameMkLst>
            <pc:docMk/>
            <pc:sldMk cId="3367804601" sldId="701"/>
            <ac:graphicFrameMk id="24" creationId="{9A12CE66-CC5B-4058-935F-0DC84C69CBF9}"/>
          </ac:graphicFrameMkLst>
        </pc:graphicFrameChg>
        <pc:graphicFrameChg chg="add del mod">
          <ac:chgData name="Matthäus Alberding" userId="89cdd4c9-d044-4ab4-9e6f-8f065e0119c4" providerId="ADAL" clId="{B6745356-B6CF-45AA-ADCC-AC8F740A00DA}" dt="2022-07-22T15:21:17.921" v="48159" actId="478"/>
          <ac:graphicFrameMkLst>
            <pc:docMk/>
            <pc:sldMk cId="3367804601" sldId="701"/>
            <ac:graphicFrameMk id="25" creationId="{166D3779-4142-46F6-84CE-82687520BBC4}"/>
          </ac:graphicFrameMkLst>
        </pc:graphicFrameChg>
        <pc:graphicFrameChg chg="add del mod">
          <ac:chgData name="Matthäus Alberding" userId="89cdd4c9-d044-4ab4-9e6f-8f065e0119c4" providerId="ADAL" clId="{B6745356-B6CF-45AA-ADCC-AC8F740A00DA}" dt="2022-07-22T15:21:25.906" v="48162" actId="478"/>
          <ac:graphicFrameMkLst>
            <pc:docMk/>
            <pc:sldMk cId="3367804601" sldId="701"/>
            <ac:graphicFrameMk id="26" creationId="{2C8CDC27-8177-48A5-AA06-FAD79B77F3AE}"/>
          </ac:graphicFrameMkLst>
        </pc:graphicFrameChg>
        <pc:picChg chg="add mod">
          <ac:chgData name="Matthäus Alberding" userId="89cdd4c9-d044-4ab4-9e6f-8f065e0119c4" providerId="ADAL" clId="{B6745356-B6CF-45AA-ADCC-AC8F740A00DA}" dt="2022-07-26T10:25:44.185" v="60421" actId="1076"/>
          <ac:picMkLst>
            <pc:docMk/>
            <pc:sldMk cId="3367804601" sldId="701"/>
            <ac:picMk id="21" creationId="{C29B4895-F032-4BA0-BD92-5BEC550C7EC8}"/>
          </ac:picMkLst>
        </pc:picChg>
        <pc:picChg chg="add del mod">
          <ac:chgData name="Matthäus Alberding" userId="89cdd4c9-d044-4ab4-9e6f-8f065e0119c4" providerId="ADAL" clId="{B6745356-B6CF-45AA-ADCC-AC8F740A00DA}" dt="2022-07-22T16:43:05.329" v="56383" actId="478"/>
          <ac:picMkLst>
            <pc:docMk/>
            <pc:sldMk cId="3367804601" sldId="701"/>
            <ac:picMk id="89" creationId="{AF57BED9-79A4-4FDC-B731-7488C9850409}"/>
          </ac:picMkLst>
        </pc:picChg>
        <pc:picChg chg="add mod">
          <ac:chgData name="Matthäus Alberding" userId="89cdd4c9-d044-4ab4-9e6f-8f065e0119c4" providerId="ADAL" clId="{B6745356-B6CF-45AA-ADCC-AC8F740A00DA}" dt="2022-07-22T16:42:09.835" v="56379" actId="1076"/>
          <ac:picMkLst>
            <pc:docMk/>
            <pc:sldMk cId="3367804601" sldId="701"/>
            <ac:picMk id="91" creationId="{1781B3D4-33B8-4DF2-A8DD-4B3579BE47FF}"/>
          </ac:picMkLst>
        </pc:picChg>
        <pc:picChg chg="add mod">
          <ac:chgData name="Matthäus Alberding" userId="89cdd4c9-d044-4ab4-9e6f-8f065e0119c4" providerId="ADAL" clId="{B6745356-B6CF-45AA-ADCC-AC8F740A00DA}" dt="2022-07-22T16:03:45.780" v="51248" actId="1076"/>
          <ac:picMkLst>
            <pc:docMk/>
            <pc:sldMk cId="3367804601" sldId="701"/>
            <ac:picMk id="93" creationId="{CBD8D37D-C715-4CAD-ADB0-DDEDE3316E36}"/>
          </ac:picMkLst>
        </pc:picChg>
        <pc:picChg chg="add mod">
          <ac:chgData name="Matthäus Alberding" userId="89cdd4c9-d044-4ab4-9e6f-8f065e0119c4" providerId="ADAL" clId="{B6745356-B6CF-45AA-ADCC-AC8F740A00DA}" dt="2022-07-22T16:03:45.780" v="51248" actId="1076"/>
          <ac:picMkLst>
            <pc:docMk/>
            <pc:sldMk cId="3367804601" sldId="701"/>
            <ac:picMk id="94" creationId="{D0D8D54C-A01C-445C-A89A-F20C9BCAA687}"/>
          </ac:picMkLst>
        </pc:picChg>
        <pc:picChg chg="add mod">
          <ac:chgData name="Matthäus Alberding" userId="89cdd4c9-d044-4ab4-9e6f-8f065e0119c4" providerId="ADAL" clId="{B6745356-B6CF-45AA-ADCC-AC8F740A00DA}" dt="2022-07-22T16:03:45.780" v="51248" actId="1076"/>
          <ac:picMkLst>
            <pc:docMk/>
            <pc:sldMk cId="3367804601" sldId="701"/>
            <ac:picMk id="95" creationId="{DA57A4B7-2F12-442F-8122-E4A24FAFA73C}"/>
          </ac:picMkLst>
        </pc:picChg>
        <pc:picChg chg="add del mod">
          <ac:chgData name="Matthäus Alberding" userId="89cdd4c9-d044-4ab4-9e6f-8f065e0119c4" providerId="ADAL" clId="{B6745356-B6CF-45AA-ADCC-AC8F740A00DA}" dt="2022-07-26T10:20:37.721" v="58976" actId="478"/>
          <ac:picMkLst>
            <pc:docMk/>
            <pc:sldMk cId="3367804601" sldId="701"/>
            <ac:picMk id="98" creationId="{72192A9A-3934-4867-AE7A-619EF6106836}"/>
          </ac:picMkLst>
        </pc:picChg>
        <pc:picChg chg="add mod">
          <ac:chgData name="Matthäus Alberding" userId="89cdd4c9-d044-4ab4-9e6f-8f065e0119c4" providerId="ADAL" clId="{B6745356-B6CF-45AA-ADCC-AC8F740A00DA}" dt="2022-07-22T16:43:09.970" v="56385" actId="1076"/>
          <ac:picMkLst>
            <pc:docMk/>
            <pc:sldMk cId="3367804601" sldId="701"/>
            <ac:picMk id="99" creationId="{5523B4D0-7FC1-4603-93AC-1DB561AEC22F}"/>
          </ac:picMkLst>
        </pc:picChg>
        <pc:cxnChg chg="add del">
          <ac:chgData name="Matthäus Alberding" userId="89cdd4c9-d044-4ab4-9e6f-8f065e0119c4" providerId="ADAL" clId="{B6745356-B6CF-45AA-ADCC-AC8F740A00DA}" dt="2022-07-22T15:15:06.197" v="47987" actId="478"/>
          <ac:cxnSpMkLst>
            <pc:docMk/>
            <pc:sldMk cId="3367804601" sldId="701"/>
            <ac:cxnSpMk id="16" creationId="{4135BB09-2274-4040-839B-D4EA40152406}"/>
          </ac:cxnSpMkLst>
        </pc:cxnChg>
        <pc:cxnChg chg="add del mod">
          <ac:chgData name="Matthäus Alberding" userId="89cdd4c9-d044-4ab4-9e6f-8f065e0119c4" providerId="ADAL" clId="{B6745356-B6CF-45AA-ADCC-AC8F740A00DA}" dt="2022-07-22T15:16:08.431" v="47992" actId="478"/>
          <ac:cxnSpMkLst>
            <pc:docMk/>
            <pc:sldMk cId="3367804601" sldId="701"/>
            <ac:cxnSpMk id="18" creationId="{5E79AB3D-730A-4F5B-B06E-54F96534A856}"/>
          </ac:cxnSpMkLst>
        </pc:cxnChg>
      </pc:sldChg>
      <pc:sldChg chg="addSp delSp modSp new add mod ord">
        <pc:chgData name="Matthäus Alberding" userId="89cdd4c9-d044-4ab4-9e6f-8f065e0119c4" providerId="ADAL" clId="{B6745356-B6CF-45AA-ADCC-AC8F740A00DA}" dt="2022-07-22T16:32:34.970" v="56230" actId="1076"/>
        <pc:sldMkLst>
          <pc:docMk/>
          <pc:sldMk cId="1457808371" sldId="702"/>
        </pc:sldMkLst>
        <pc:spChg chg="mod">
          <ac:chgData name="Matthäus Alberding" userId="89cdd4c9-d044-4ab4-9e6f-8f065e0119c4" providerId="ADAL" clId="{B6745356-B6CF-45AA-ADCC-AC8F740A00DA}" dt="2022-07-22T16:20:29.017" v="54307" actId="948"/>
          <ac:spMkLst>
            <pc:docMk/>
            <pc:sldMk cId="1457808371" sldId="702"/>
            <ac:spMk id="4" creationId="{30BDCA1C-D178-4B79-9F16-700934FDCB5D}"/>
          </ac:spMkLst>
        </pc:spChg>
        <pc:spChg chg="del">
          <ac:chgData name="Matthäus Alberding" userId="89cdd4c9-d044-4ab4-9e6f-8f065e0119c4" providerId="ADAL" clId="{B6745356-B6CF-45AA-ADCC-AC8F740A00DA}" dt="2022-07-22T16:04:54.740" v="51296" actId="478"/>
          <ac:spMkLst>
            <pc:docMk/>
            <pc:sldMk cId="1457808371" sldId="702"/>
            <ac:spMk id="5" creationId="{C9440391-89AD-46FB-9672-310388AF1812}"/>
          </ac:spMkLst>
        </pc:spChg>
        <pc:spChg chg="mod">
          <ac:chgData name="Matthäus Alberding" userId="89cdd4c9-d044-4ab4-9e6f-8f065e0119c4" providerId="ADAL" clId="{B6745356-B6CF-45AA-ADCC-AC8F740A00DA}" dt="2022-07-22T16:13:32.934" v="53190" actId="20577"/>
          <ac:spMkLst>
            <pc:docMk/>
            <pc:sldMk cId="1457808371" sldId="702"/>
            <ac:spMk id="6" creationId="{F935A757-11B3-421D-BE7C-4D440DEBC267}"/>
          </ac:spMkLst>
        </pc:spChg>
        <pc:spChg chg="add del mod modVis">
          <ac:chgData name="Matthäus Alberding" userId="89cdd4c9-d044-4ab4-9e6f-8f065e0119c4" providerId="ADAL" clId="{B6745356-B6CF-45AA-ADCC-AC8F740A00DA}" dt="2022-07-22T16:08:11.460" v="51486"/>
          <ac:spMkLst>
            <pc:docMk/>
            <pc:sldMk cId="1457808371" sldId="702"/>
            <ac:spMk id="9" creationId="{6D3E9BF1-D866-4851-8CB9-33E8D3D164F3}"/>
          </ac:spMkLst>
        </pc:spChg>
        <pc:spChg chg="add del mod modVis">
          <ac:chgData name="Matthäus Alberding" userId="89cdd4c9-d044-4ab4-9e6f-8f065e0119c4" providerId="ADAL" clId="{B6745356-B6CF-45AA-ADCC-AC8F740A00DA}" dt="2022-07-22T16:08:12.208" v="51529"/>
          <ac:spMkLst>
            <pc:docMk/>
            <pc:sldMk cId="1457808371" sldId="702"/>
            <ac:spMk id="10" creationId="{B74DB808-36D3-4D4C-9E34-A5B476C8E100}"/>
          </ac:spMkLst>
        </pc:spChg>
        <pc:spChg chg="add del mod modVis">
          <ac:chgData name="Matthäus Alberding" userId="89cdd4c9-d044-4ab4-9e6f-8f065e0119c4" providerId="ADAL" clId="{B6745356-B6CF-45AA-ADCC-AC8F740A00DA}" dt="2022-07-22T16:08:13.356" v="51572"/>
          <ac:spMkLst>
            <pc:docMk/>
            <pc:sldMk cId="1457808371" sldId="702"/>
            <ac:spMk id="11" creationId="{BE4DCFB7-16BD-43AC-9B6C-A68AB5A3FC4E}"/>
          </ac:spMkLst>
        </pc:spChg>
        <pc:spChg chg="add del mod modVis">
          <ac:chgData name="Matthäus Alberding" userId="89cdd4c9-d044-4ab4-9e6f-8f065e0119c4" providerId="ADAL" clId="{B6745356-B6CF-45AA-ADCC-AC8F740A00DA}" dt="2022-07-22T16:08:14.050" v="51615"/>
          <ac:spMkLst>
            <pc:docMk/>
            <pc:sldMk cId="1457808371" sldId="702"/>
            <ac:spMk id="12" creationId="{85FC54FB-E51B-427D-AD8C-4CF88678A8C1}"/>
          </ac:spMkLst>
        </pc:spChg>
        <pc:spChg chg="add del mod modVis">
          <ac:chgData name="Matthäus Alberding" userId="89cdd4c9-d044-4ab4-9e6f-8f065e0119c4" providerId="ADAL" clId="{B6745356-B6CF-45AA-ADCC-AC8F740A00DA}" dt="2022-07-22T16:08:16.577" v="51662"/>
          <ac:spMkLst>
            <pc:docMk/>
            <pc:sldMk cId="1457808371" sldId="702"/>
            <ac:spMk id="13" creationId="{F01D2E65-51B6-4FF2-9218-6A46B184DA44}"/>
          </ac:spMkLst>
        </pc:spChg>
        <pc:spChg chg="add del mod modVis">
          <ac:chgData name="Matthäus Alberding" userId="89cdd4c9-d044-4ab4-9e6f-8f065e0119c4" providerId="ADAL" clId="{B6745356-B6CF-45AA-ADCC-AC8F740A00DA}" dt="2022-07-22T16:08:21.597" v="51737"/>
          <ac:spMkLst>
            <pc:docMk/>
            <pc:sldMk cId="1457808371" sldId="702"/>
            <ac:spMk id="14" creationId="{886E0ADF-BD1D-4A45-9680-960DF6A4CB75}"/>
          </ac:spMkLst>
        </pc:spChg>
        <pc:spChg chg="add del mod modVis">
          <ac:chgData name="Matthäus Alberding" userId="89cdd4c9-d044-4ab4-9e6f-8f065e0119c4" providerId="ADAL" clId="{B6745356-B6CF-45AA-ADCC-AC8F740A00DA}" dt="2022-07-22T16:08:30.939" v="51797"/>
          <ac:spMkLst>
            <pc:docMk/>
            <pc:sldMk cId="1457808371" sldId="702"/>
            <ac:spMk id="15" creationId="{7ECE5893-080C-4200-B984-DC618592D11C}"/>
          </ac:spMkLst>
        </pc:spChg>
        <pc:spChg chg="add del mod modVis">
          <ac:chgData name="Matthäus Alberding" userId="89cdd4c9-d044-4ab4-9e6f-8f065e0119c4" providerId="ADAL" clId="{B6745356-B6CF-45AA-ADCC-AC8F740A00DA}" dt="2022-07-22T16:08:40.863" v="51843"/>
          <ac:spMkLst>
            <pc:docMk/>
            <pc:sldMk cId="1457808371" sldId="702"/>
            <ac:spMk id="16" creationId="{8B17CA30-629E-445F-97A4-41BFD6CBDEC5}"/>
          </ac:spMkLst>
        </pc:spChg>
        <pc:spChg chg="add del mod modVis">
          <ac:chgData name="Matthäus Alberding" userId="89cdd4c9-d044-4ab4-9e6f-8f065e0119c4" providerId="ADAL" clId="{B6745356-B6CF-45AA-ADCC-AC8F740A00DA}" dt="2022-07-22T16:08:46.082" v="51906"/>
          <ac:spMkLst>
            <pc:docMk/>
            <pc:sldMk cId="1457808371" sldId="702"/>
            <ac:spMk id="17" creationId="{B451156F-E220-4591-8B55-24C93025ADFC}"/>
          </ac:spMkLst>
        </pc:spChg>
        <pc:spChg chg="add del mod modVis">
          <ac:chgData name="Matthäus Alberding" userId="89cdd4c9-d044-4ab4-9e6f-8f065e0119c4" providerId="ADAL" clId="{B6745356-B6CF-45AA-ADCC-AC8F740A00DA}" dt="2022-07-22T16:09:44.441" v="51960"/>
          <ac:spMkLst>
            <pc:docMk/>
            <pc:sldMk cId="1457808371" sldId="702"/>
            <ac:spMk id="19" creationId="{5325A4C8-161B-4A12-81BA-BCCE1B42E8B5}"/>
          </ac:spMkLst>
        </pc:spChg>
        <pc:spChg chg="add mod">
          <ac:chgData name="Matthäus Alberding" userId="89cdd4c9-d044-4ab4-9e6f-8f065e0119c4" providerId="ADAL" clId="{B6745356-B6CF-45AA-ADCC-AC8F740A00DA}" dt="2022-07-22T16:10:05.615" v="52061" actId="1076"/>
          <ac:spMkLst>
            <pc:docMk/>
            <pc:sldMk cId="1457808371" sldId="702"/>
            <ac:spMk id="20" creationId="{262790FA-0ADF-47F1-AB9C-DD83E6631EE4}"/>
          </ac:spMkLst>
        </pc:spChg>
        <pc:spChg chg="add del mod modVis">
          <ac:chgData name="Matthäus Alberding" userId="89cdd4c9-d044-4ab4-9e6f-8f065e0119c4" providerId="ADAL" clId="{B6745356-B6CF-45AA-ADCC-AC8F740A00DA}" dt="2022-07-22T16:10:00.684" v="52009"/>
          <ac:spMkLst>
            <pc:docMk/>
            <pc:sldMk cId="1457808371" sldId="702"/>
            <ac:spMk id="21" creationId="{1117DAFF-64A8-4052-924F-F5D7CE9493F6}"/>
          </ac:spMkLst>
        </pc:spChg>
        <pc:spChg chg="add del mod modVis">
          <ac:chgData name="Matthäus Alberding" userId="89cdd4c9-d044-4ab4-9e6f-8f065e0119c4" providerId="ADAL" clId="{B6745356-B6CF-45AA-ADCC-AC8F740A00DA}" dt="2022-07-22T16:10:02.126" v="52058"/>
          <ac:spMkLst>
            <pc:docMk/>
            <pc:sldMk cId="1457808371" sldId="702"/>
            <ac:spMk id="22" creationId="{5776982F-841B-4B18-91A6-ED910F9771F6}"/>
          </ac:spMkLst>
        </pc:spChg>
        <pc:spChg chg="add del mod modVis">
          <ac:chgData name="Matthäus Alberding" userId="89cdd4c9-d044-4ab4-9e6f-8f065e0119c4" providerId="ADAL" clId="{B6745356-B6CF-45AA-ADCC-AC8F740A00DA}" dt="2022-07-22T16:10:12.554" v="52109"/>
          <ac:spMkLst>
            <pc:docMk/>
            <pc:sldMk cId="1457808371" sldId="702"/>
            <ac:spMk id="23" creationId="{49084D19-EAD0-445B-8486-6E63D66591A9}"/>
          </ac:spMkLst>
        </pc:spChg>
        <pc:spChg chg="add del mod modVis">
          <ac:chgData name="Matthäus Alberding" userId="89cdd4c9-d044-4ab4-9e6f-8f065e0119c4" providerId="ADAL" clId="{B6745356-B6CF-45AA-ADCC-AC8F740A00DA}" dt="2022-07-22T16:10:34.229" v="52179"/>
          <ac:spMkLst>
            <pc:docMk/>
            <pc:sldMk cId="1457808371" sldId="702"/>
            <ac:spMk id="24" creationId="{0A968553-4216-4C8B-99EE-156D01EFCF11}"/>
          </ac:spMkLst>
        </pc:spChg>
        <pc:spChg chg="add del mod modVis">
          <ac:chgData name="Matthäus Alberding" userId="89cdd4c9-d044-4ab4-9e6f-8f065e0119c4" providerId="ADAL" clId="{B6745356-B6CF-45AA-ADCC-AC8F740A00DA}" dt="2022-07-22T16:11:10.027" v="52293"/>
          <ac:spMkLst>
            <pc:docMk/>
            <pc:sldMk cId="1457808371" sldId="702"/>
            <ac:spMk id="25" creationId="{54840BF3-4D01-4ADB-A6EC-CE393F4B71D1}"/>
          </ac:spMkLst>
        </pc:spChg>
        <pc:spChg chg="add del mod modVis">
          <ac:chgData name="Matthäus Alberding" userId="89cdd4c9-d044-4ab4-9e6f-8f065e0119c4" providerId="ADAL" clId="{B6745356-B6CF-45AA-ADCC-AC8F740A00DA}" dt="2022-07-22T16:11:24.813" v="52350"/>
          <ac:spMkLst>
            <pc:docMk/>
            <pc:sldMk cId="1457808371" sldId="702"/>
            <ac:spMk id="26" creationId="{9E033195-CBC6-4002-AA3C-8E1D8B90C230}"/>
          </ac:spMkLst>
        </pc:spChg>
        <pc:spChg chg="add del mod modVis">
          <ac:chgData name="Matthäus Alberding" userId="89cdd4c9-d044-4ab4-9e6f-8f065e0119c4" providerId="ADAL" clId="{B6745356-B6CF-45AA-ADCC-AC8F740A00DA}" dt="2022-07-22T16:11:30.299" v="52402"/>
          <ac:spMkLst>
            <pc:docMk/>
            <pc:sldMk cId="1457808371" sldId="702"/>
            <ac:spMk id="27" creationId="{70C59991-25F6-4113-BF48-BB51DE582200}"/>
          </ac:spMkLst>
        </pc:spChg>
        <pc:spChg chg="add del mod modVis">
          <ac:chgData name="Matthäus Alberding" userId="89cdd4c9-d044-4ab4-9e6f-8f065e0119c4" providerId="ADAL" clId="{B6745356-B6CF-45AA-ADCC-AC8F740A00DA}" dt="2022-07-22T16:12:01.978" v="52458"/>
          <ac:spMkLst>
            <pc:docMk/>
            <pc:sldMk cId="1457808371" sldId="702"/>
            <ac:spMk id="28" creationId="{FB1E2191-15CF-4E34-A706-B75AE8E90AC6}"/>
          </ac:spMkLst>
        </pc:spChg>
        <pc:spChg chg="add del mod modVis">
          <ac:chgData name="Matthäus Alberding" userId="89cdd4c9-d044-4ab4-9e6f-8f065e0119c4" providerId="ADAL" clId="{B6745356-B6CF-45AA-ADCC-AC8F740A00DA}" dt="2022-07-22T16:12:11.211" v="52511"/>
          <ac:spMkLst>
            <pc:docMk/>
            <pc:sldMk cId="1457808371" sldId="702"/>
            <ac:spMk id="29" creationId="{6FB25906-CCE8-4465-8542-6DE9D8102523}"/>
          </ac:spMkLst>
        </pc:spChg>
        <pc:spChg chg="add del mod modVis">
          <ac:chgData name="Matthäus Alberding" userId="89cdd4c9-d044-4ab4-9e6f-8f065e0119c4" providerId="ADAL" clId="{B6745356-B6CF-45AA-ADCC-AC8F740A00DA}" dt="2022-07-22T16:12:15.235" v="52582"/>
          <ac:spMkLst>
            <pc:docMk/>
            <pc:sldMk cId="1457808371" sldId="702"/>
            <ac:spMk id="30" creationId="{1A24824B-931A-432E-BEE2-DCCB42F5F5A0}"/>
          </ac:spMkLst>
        </pc:spChg>
        <pc:spChg chg="add del mod modVis">
          <ac:chgData name="Matthäus Alberding" userId="89cdd4c9-d044-4ab4-9e6f-8f065e0119c4" providerId="ADAL" clId="{B6745356-B6CF-45AA-ADCC-AC8F740A00DA}" dt="2022-07-22T16:12:16.912" v="52637"/>
          <ac:spMkLst>
            <pc:docMk/>
            <pc:sldMk cId="1457808371" sldId="702"/>
            <ac:spMk id="31" creationId="{FE148AA9-86B3-4288-BEEE-5BD4FAB4DCC5}"/>
          </ac:spMkLst>
        </pc:spChg>
        <pc:spChg chg="add del mod modVis">
          <ac:chgData name="Matthäus Alberding" userId="89cdd4c9-d044-4ab4-9e6f-8f065e0119c4" providerId="ADAL" clId="{B6745356-B6CF-45AA-ADCC-AC8F740A00DA}" dt="2022-07-22T16:12:40.014" v="52682"/>
          <ac:spMkLst>
            <pc:docMk/>
            <pc:sldMk cId="1457808371" sldId="702"/>
            <ac:spMk id="32" creationId="{DE65F030-1915-4BC0-879A-D442C0A9A4EE}"/>
          </ac:spMkLst>
        </pc:spChg>
        <pc:spChg chg="add del mod modVis">
          <ac:chgData name="Matthäus Alberding" userId="89cdd4c9-d044-4ab4-9e6f-8f065e0119c4" providerId="ADAL" clId="{B6745356-B6CF-45AA-ADCC-AC8F740A00DA}" dt="2022-07-22T16:12:45.668" v="52762"/>
          <ac:spMkLst>
            <pc:docMk/>
            <pc:sldMk cId="1457808371" sldId="702"/>
            <ac:spMk id="33" creationId="{C450BF4B-DE8F-4807-B8D5-F1B0A2E1B47F}"/>
          </ac:spMkLst>
        </pc:spChg>
        <pc:spChg chg="add del mod modVis">
          <ac:chgData name="Matthäus Alberding" userId="89cdd4c9-d044-4ab4-9e6f-8f065e0119c4" providerId="ADAL" clId="{B6745356-B6CF-45AA-ADCC-AC8F740A00DA}" dt="2022-07-22T16:12:48.162" v="52817"/>
          <ac:spMkLst>
            <pc:docMk/>
            <pc:sldMk cId="1457808371" sldId="702"/>
            <ac:spMk id="34" creationId="{71291C03-BAD3-4CBC-A11B-EBCB5C524B1B}"/>
          </ac:spMkLst>
        </pc:spChg>
        <pc:spChg chg="add del mod modVis">
          <ac:chgData name="Matthäus Alberding" userId="89cdd4c9-d044-4ab4-9e6f-8f065e0119c4" providerId="ADAL" clId="{B6745356-B6CF-45AA-ADCC-AC8F740A00DA}" dt="2022-07-22T16:12:52.481" v="52885"/>
          <ac:spMkLst>
            <pc:docMk/>
            <pc:sldMk cId="1457808371" sldId="702"/>
            <ac:spMk id="35" creationId="{2835C420-A75F-44C8-94E2-540B34970865}"/>
          </ac:spMkLst>
        </pc:spChg>
        <pc:spChg chg="add del mod modVis">
          <ac:chgData name="Matthäus Alberding" userId="89cdd4c9-d044-4ab4-9e6f-8f065e0119c4" providerId="ADAL" clId="{B6745356-B6CF-45AA-ADCC-AC8F740A00DA}" dt="2022-07-22T16:12:55.633" v="52979"/>
          <ac:spMkLst>
            <pc:docMk/>
            <pc:sldMk cId="1457808371" sldId="702"/>
            <ac:spMk id="36" creationId="{3D208113-E2BD-4ED4-97CC-62E0E2D740AA}"/>
          </ac:spMkLst>
        </pc:spChg>
        <pc:spChg chg="add del mod modVis">
          <ac:chgData name="Matthäus Alberding" userId="89cdd4c9-d044-4ab4-9e6f-8f065e0119c4" providerId="ADAL" clId="{B6745356-B6CF-45AA-ADCC-AC8F740A00DA}" dt="2022-07-22T16:13:13.786" v="53051"/>
          <ac:spMkLst>
            <pc:docMk/>
            <pc:sldMk cId="1457808371" sldId="702"/>
            <ac:spMk id="37" creationId="{EDBC7684-5DD4-4CF9-8AD7-957D4096A4DC}"/>
          </ac:spMkLst>
        </pc:spChg>
        <pc:spChg chg="add del mod modVis">
          <ac:chgData name="Matthäus Alberding" userId="89cdd4c9-d044-4ab4-9e6f-8f065e0119c4" providerId="ADAL" clId="{B6745356-B6CF-45AA-ADCC-AC8F740A00DA}" dt="2022-07-22T16:13:19.122" v="53128"/>
          <ac:spMkLst>
            <pc:docMk/>
            <pc:sldMk cId="1457808371" sldId="702"/>
            <ac:spMk id="38" creationId="{F3EE772A-6EE1-40B3-8582-AECA640FA59B}"/>
          </ac:spMkLst>
        </pc:spChg>
        <pc:spChg chg="add del mod modVis">
          <ac:chgData name="Matthäus Alberding" userId="89cdd4c9-d044-4ab4-9e6f-8f065e0119c4" providerId="ADAL" clId="{B6745356-B6CF-45AA-ADCC-AC8F740A00DA}" dt="2022-07-22T16:13:24.562" v="53183"/>
          <ac:spMkLst>
            <pc:docMk/>
            <pc:sldMk cId="1457808371" sldId="702"/>
            <ac:spMk id="39" creationId="{B8B3FF4A-0529-4E28-AD9E-FC8988809137}"/>
          </ac:spMkLst>
        </pc:spChg>
        <pc:spChg chg="add del">
          <ac:chgData name="Matthäus Alberding" userId="89cdd4c9-d044-4ab4-9e6f-8f065e0119c4" providerId="ADAL" clId="{B6745356-B6CF-45AA-ADCC-AC8F740A00DA}" dt="2022-07-22T16:13:31.165" v="53188" actId="22"/>
          <ac:spMkLst>
            <pc:docMk/>
            <pc:sldMk cId="1457808371" sldId="702"/>
            <ac:spMk id="41" creationId="{8552DCCF-2A1A-424A-B9DE-3F4A65F7E3EE}"/>
          </ac:spMkLst>
        </pc:spChg>
        <pc:spChg chg="add del mod">
          <ac:chgData name="Matthäus Alberding" userId="89cdd4c9-d044-4ab4-9e6f-8f065e0119c4" providerId="ADAL" clId="{B6745356-B6CF-45AA-ADCC-AC8F740A00DA}" dt="2022-07-22T16:17:42.302" v="53753" actId="478"/>
          <ac:spMkLst>
            <pc:docMk/>
            <pc:sldMk cId="1457808371" sldId="702"/>
            <ac:spMk id="42" creationId="{A7109B58-C487-4749-82E3-BC292032E5AE}"/>
          </ac:spMkLst>
        </pc:spChg>
        <pc:spChg chg="add mod">
          <ac:chgData name="Matthäus Alberding" userId="89cdd4c9-d044-4ab4-9e6f-8f065e0119c4" providerId="ADAL" clId="{B6745356-B6CF-45AA-ADCC-AC8F740A00DA}" dt="2022-07-22T16:19:59.433" v="53963" actId="1076"/>
          <ac:spMkLst>
            <pc:docMk/>
            <pc:sldMk cId="1457808371" sldId="702"/>
            <ac:spMk id="43" creationId="{5572809C-6BD2-46F7-A40D-41E6F043024A}"/>
          </ac:spMkLst>
        </pc:spChg>
        <pc:spChg chg="add mod">
          <ac:chgData name="Matthäus Alberding" userId="89cdd4c9-d044-4ab4-9e6f-8f065e0119c4" providerId="ADAL" clId="{B6745356-B6CF-45AA-ADCC-AC8F740A00DA}" dt="2022-07-22T16:19:59.433" v="53963" actId="1076"/>
          <ac:spMkLst>
            <pc:docMk/>
            <pc:sldMk cId="1457808371" sldId="702"/>
            <ac:spMk id="44" creationId="{1F6BF5B1-1D81-4F3C-BC83-03A98B58A45F}"/>
          </ac:spMkLst>
        </pc:spChg>
        <pc:spChg chg="add mod">
          <ac:chgData name="Matthäus Alberding" userId="89cdd4c9-d044-4ab4-9e6f-8f065e0119c4" providerId="ADAL" clId="{B6745356-B6CF-45AA-ADCC-AC8F740A00DA}" dt="2022-07-22T16:19:59.433" v="53963" actId="1076"/>
          <ac:spMkLst>
            <pc:docMk/>
            <pc:sldMk cId="1457808371" sldId="702"/>
            <ac:spMk id="45" creationId="{A0D1DEB3-161B-4836-AB75-AE370C84D149}"/>
          </ac:spMkLst>
        </pc:spChg>
        <pc:spChg chg="add mod">
          <ac:chgData name="Matthäus Alberding" userId="89cdd4c9-d044-4ab4-9e6f-8f065e0119c4" providerId="ADAL" clId="{B6745356-B6CF-45AA-ADCC-AC8F740A00DA}" dt="2022-07-22T16:19:59.433" v="53963" actId="1076"/>
          <ac:spMkLst>
            <pc:docMk/>
            <pc:sldMk cId="1457808371" sldId="702"/>
            <ac:spMk id="46" creationId="{F909BE6E-1BB2-4ECB-831A-CBCE509EBFAA}"/>
          </ac:spMkLst>
        </pc:spChg>
        <pc:spChg chg="add del mod modVis">
          <ac:chgData name="Matthäus Alberding" userId="89cdd4c9-d044-4ab4-9e6f-8f065e0119c4" providerId="ADAL" clId="{B6745356-B6CF-45AA-ADCC-AC8F740A00DA}" dt="2022-07-22T16:20:17.954" v="54013"/>
          <ac:spMkLst>
            <pc:docMk/>
            <pc:sldMk cId="1457808371" sldId="702"/>
            <ac:spMk id="47" creationId="{E12AC02C-4355-4750-90DF-301870B3C172}"/>
          </ac:spMkLst>
        </pc:spChg>
        <pc:spChg chg="add del mod modVis">
          <ac:chgData name="Matthäus Alberding" userId="89cdd4c9-d044-4ab4-9e6f-8f065e0119c4" providerId="ADAL" clId="{B6745356-B6CF-45AA-ADCC-AC8F740A00DA}" dt="2022-07-22T16:20:18.509" v="54056"/>
          <ac:spMkLst>
            <pc:docMk/>
            <pc:sldMk cId="1457808371" sldId="702"/>
            <ac:spMk id="48" creationId="{E876307C-2DC5-4019-B844-08694B19A1A4}"/>
          </ac:spMkLst>
        </pc:spChg>
        <pc:spChg chg="add del mod modVis">
          <ac:chgData name="Matthäus Alberding" userId="89cdd4c9-d044-4ab4-9e6f-8f065e0119c4" providerId="ADAL" clId="{B6745356-B6CF-45AA-ADCC-AC8F740A00DA}" dt="2022-07-22T16:20:21.147" v="54101"/>
          <ac:spMkLst>
            <pc:docMk/>
            <pc:sldMk cId="1457808371" sldId="702"/>
            <ac:spMk id="49" creationId="{8C83B8AC-BFF6-4A5F-B1D3-EEB65485DF30}"/>
          </ac:spMkLst>
        </pc:spChg>
        <pc:spChg chg="add del mod modVis">
          <ac:chgData name="Matthäus Alberding" userId="89cdd4c9-d044-4ab4-9e6f-8f065e0119c4" providerId="ADAL" clId="{B6745356-B6CF-45AA-ADCC-AC8F740A00DA}" dt="2022-07-22T16:20:22.105" v="54154"/>
          <ac:spMkLst>
            <pc:docMk/>
            <pc:sldMk cId="1457808371" sldId="702"/>
            <ac:spMk id="50" creationId="{7140E412-224A-4C24-872E-B78C3859C83A}"/>
          </ac:spMkLst>
        </pc:spChg>
        <pc:spChg chg="add del mod modVis">
          <ac:chgData name="Matthäus Alberding" userId="89cdd4c9-d044-4ab4-9e6f-8f065e0119c4" providerId="ADAL" clId="{B6745356-B6CF-45AA-ADCC-AC8F740A00DA}" dt="2022-07-22T16:20:22.964" v="54198"/>
          <ac:spMkLst>
            <pc:docMk/>
            <pc:sldMk cId="1457808371" sldId="702"/>
            <ac:spMk id="51" creationId="{42A2E474-7E03-40E8-AB4C-8AD6E32FB3AB}"/>
          </ac:spMkLst>
        </pc:spChg>
        <pc:spChg chg="add del mod modVis">
          <ac:chgData name="Matthäus Alberding" userId="89cdd4c9-d044-4ab4-9e6f-8f065e0119c4" providerId="ADAL" clId="{B6745356-B6CF-45AA-ADCC-AC8F740A00DA}" dt="2022-07-22T16:20:24.188" v="54246"/>
          <ac:spMkLst>
            <pc:docMk/>
            <pc:sldMk cId="1457808371" sldId="702"/>
            <ac:spMk id="52" creationId="{EEA085EF-398F-45CA-B1BB-0018BF0BBC0F}"/>
          </ac:spMkLst>
        </pc:spChg>
        <pc:spChg chg="add del mod modVis">
          <ac:chgData name="Matthäus Alberding" userId="89cdd4c9-d044-4ab4-9e6f-8f065e0119c4" providerId="ADAL" clId="{B6745356-B6CF-45AA-ADCC-AC8F740A00DA}" dt="2022-07-22T16:20:27.736" v="54297"/>
          <ac:spMkLst>
            <pc:docMk/>
            <pc:sldMk cId="1457808371" sldId="702"/>
            <ac:spMk id="53" creationId="{426E8540-3507-43B7-80DC-FFE6115CA028}"/>
          </ac:spMkLst>
        </pc:spChg>
        <pc:spChg chg="add del mod modVis">
          <ac:chgData name="Matthäus Alberding" userId="89cdd4c9-d044-4ab4-9e6f-8f065e0119c4" providerId="ADAL" clId="{B6745356-B6CF-45AA-ADCC-AC8F740A00DA}" dt="2022-07-22T16:20:29.036" v="54346"/>
          <ac:spMkLst>
            <pc:docMk/>
            <pc:sldMk cId="1457808371" sldId="702"/>
            <ac:spMk id="54" creationId="{26CC49A5-7A56-4EBA-A926-45278BCC85E1}"/>
          </ac:spMkLst>
        </pc:spChg>
        <pc:graphicFrameChg chg="add mod modGraphic">
          <ac:chgData name="Matthäus Alberding" userId="89cdd4c9-d044-4ab4-9e6f-8f065e0119c4" providerId="ADAL" clId="{B6745356-B6CF-45AA-ADCC-AC8F740A00DA}" dt="2022-07-22T16:10:05.615" v="52061" actId="1076"/>
          <ac:graphicFrameMkLst>
            <pc:docMk/>
            <pc:sldMk cId="1457808371" sldId="702"/>
            <ac:graphicFrameMk id="7" creationId="{C53F8DA9-D27B-40E4-A3AA-CD9CC7F3A857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2T16:20:29.037" v="54348"/>
          <ac:graphicFrameMkLst>
            <pc:docMk/>
            <pc:sldMk cId="1457808371" sldId="702"/>
            <ac:graphicFrameMk id="8" creationId="{A43A1A84-2E17-4F73-B895-ABB7CA42BB63}"/>
          </ac:graphicFrameMkLst>
        </pc:graphicFrameChg>
        <pc:picChg chg="add mod">
          <ac:chgData name="Matthäus Alberding" userId="89cdd4c9-d044-4ab4-9e6f-8f065e0119c4" providerId="ADAL" clId="{B6745356-B6CF-45AA-ADCC-AC8F740A00DA}" dt="2022-07-22T16:32:34.970" v="56230" actId="1076"/>
          <ac:picMkLst>
            <pc:docMk/>
            <pc:sldMk cId="1457808371" sldId="702"/>
            <ac:picMk id="18" creationId="{35BA0B99-FECA-4F57-B6A4-006DC3638477}"/>
          </ac:picMkLst>
        </pc:picChg>
      </pc:sldChg>
      <pc:sldChg chg="addSp delSp modSp add mod modTransition modShow">
        <pc:chgData name="Matthäus Alberding" userId="89cdd4c9-d044-4ab4-9e6f-8f065e0119c4" providerId="ADAL" clId="{B6745356-B6CF-45AA-ADCC-AC8F740A00DA}" dt="2022-07-26T14:14:13.008" v="74970" actId="20577"/>
        <pc:sldMkLst>
          <pc:docMk/>
          <pc:sldMk cId="207800656" sldId="703"/>
        </pc:sldMkLst>
        <pc:spChg chg="add del mod modVis">
          <ac:chgData name="Matthäus Alberding" userId="89cdd4c9-d044-4ab4-9e6f-8f065e0119c4" providerId="ADAL" clId="{B6745356-B6CF-45AA-ADCC-AC8F740A00DA}" dt="2022-07-22T16:15:55.958" v="53499"/>
          <ac:spMkLst>
            <pc:docMk/>
            <pc:sldMk cId="207800656" sldId="703"/>
            <ac:spMk id="4" creationId="{087086DF-62D0-472B-B24E-A531E816C7BF}"/>
          </ac:spMkLst>
        </pc:spChg>
        <pc:spChg chg="add del mod modVis">
          <ac:chgData name="Matthäus Alberding" userId="89cdd4c9-d044-4ab4-9e6f-8f065e0119c4" providerId="ADAL" clId="{B6745356-B6CF-45AA-ADCC-AC8F740A00DA}" dt="2022-07-22T16:15:59.600" v="53543"/>
          <ac:spMkLst>
            <pc:docMk/>
            <pc:sldMk cId="207800656" sldId="703"/>
            <ac:spMk id="5" creationId="{EE89E75B-BC4B-460E-8A17-F41DF3961231}"/>
          </ac:spMkLst>
        </pc:spChg>
        <pc:spChg chg="add del mod modVis">
          <ac:chgData name="Matthäus Alberding" userId="89cdd4c9-d044-4ab4-9e6f-8f065e0119c4" providerId="ADAL" clId="{B6745356-B6CF-45AA-ADCC-AC8F740A00DA}" dt="2022-07-22T16:16:03.037" v="53602"/>
          <ac:spMkLst>
            <pc:docMk/>
            <pc:sldMk cId="207800656" sldId="703"/>
            <ac:spMk id="6" creationId="{1A20085A-2C4F-4C56-95BA-F466A78069D5}"/>
          </ac:spMkLst>
        </pc:spChg>
        <pc:spChg chg="add del mod modVis">
          <ac:chgData name="Matthäus Alberding" userId="89cdd4c9-d044-4ab4-9e6f-8f065e0119c4" providerId="ADAL" clId="{B6745356-B6CF-45AA-ADCC-AC8F740A00DA}" dt="2022-07-22T16:16:06.280" v="53648"/>
          <ac:spMkLst>
            <pc:docMk/>
            <pc:sldMk cId="207800656" sldId="703"/>
            <ac:spMk id="7" creationId="{AA19CEAD-5B9E-407D-A1E6-75CD0298EF6D}"/>
          </ac:spMkLst>
        </pc:spChg>
        <pc:spChg chg="add del mod modVis">
          <ac:chgData name="Matthäus Alberding" userId="89cdd4c9-d044-4ab4-9e6f-8f065e0119c4" providerId="ADAL" clId="{B6745356-B6CF-45AA-ADCC-AC8F740A00DA}" dt="2022-07-22T16:16:09.845" v="53696"/>
          <ac:spMkLst>
            <pc:docMk/>
            <pc:sldMk cId="207800656" sldId="703"/>
            <ac:spMk id="8" creationId="{AAD090C1-BCFF-4F23-A8E5-9B5D07074A69}"/>
          </ac:spMkLst>
        </pc:spChg>
        <pc:spChg chg="add del mod modVis">
          <ac:chgData name="Matthäus Alberding" userId="89cdd4c9-d044-4ab4-9e6f-8f065e0119c4" providerId="ADAL" clId="{B6745356-B6CF-45AA-ADCC-AC8F740A00DA}" dt="2022-07-22T16:26:04.752" v="54866"/>
          <ac:spMkLst>
            <pc:docMk/>
            <pc:sldMk cId="207800656" sldId="703"/>
            <ac:spMk id="9" creationId="{86E3F326-332D-4898-90A3-61E94EB000E2}"/>
          </ac:spMkLst>
        </pc:spChg>
        <pc:spChg chg="add del mod modVis">
          <ac:chgData name="Matthäus Alberding" userId="89cdd4c9-d044-4ab4-9e6f-8f065e0119c4" providerId="ADAL" clId="{B6745356-B6CF-45AA-ADCC-AC8F740A00DA}" dt="2022-07-22T16:28:23.342" v="55151"/>
          <ac:spMkLst>
            <pc:docMk/>
            <pc:sldMk cId="207800656" sldId="703"/>
            <ac:spMk id="10" creationId="{9D7E8370-7215-40BC-ABF0-3F666DFAF002}"/>
          </ac:spMkLst>
        </pc:spChg>
        <pc:spChg chg="mod">
          <ac:chgData name="Matthäus Alberding" userId="89cdd4c9-d044-4ab4-9e6f-8f065e0119c4" providerId="ADAL" clId="{B6745356-B6CF-45AA-ADCC-AC8F740A00DA}" dt="2022-07-22T16:57:34.878" v="58029" actId="948"/>
          <ac:spMkLst>
            <pc:docMk/>
            <pc:sldMk cId="207800656" sldId="703"/>
            <ac:spMk id="12" creationId="{F33540AA-1669-46A0-8CA0-78D05D9A17EB}"/>
          </ac:spMkLst>
        </pc:spChg>
        <pc:spChg chg="add del mod modVis">
          <ac:chgData name="Matthäus Alberding" userId="89cdd4c9-d044-4ab4-9e6f-8f065e0119c4" providerId="ADAL" clId="{B6745356-B6CF-45AA-ADCC-AC8F740A00DA}" dt="2022-07-22T16:28:24.462" v="55195"/>
          <ac:spMkLst>
            <pc:docMk/>
            <pc:sldMk cId="207800656" sldId="703"/>
            <ac:spMk id="14" creationId="{391A5B02-6456-4362-8D11-96919877685C}"/>
          </ac:spMkLst>
        </pc:spChg>
        <pc:spChg chg="mod">
          <ac:chgData name="Matthäus Alberding" userId="89cdd4c9-d044-4ab4-9e6f-8f065e0119c4" providerId="ADAL" clId="{B6745356-B6CF-45AA-ADCC-AC8F740A00DA}" dt="2022-07-22T17:00:05.411" v="58176" actId="113"/>
          <ac:spMkLst>
            <pc:docMk/>
            <pc:sldMk cId="207800656" sldId="703"/>
            <ac:spMk id="16" creationId="{539618EE-8029-4431-B3B0-DEF304AE85F9}"/>
          </ac:spMkLst>
        </pc:spChg>
        <pc:spChg chg="add del mod modVis">
          <ac:chgData name="Matthäus Alberding" userId="89cdd4c9-d044-4ab4-9e6f-8f065e0119c4" providerId="ADAL" clId="{B6745356-B6CF-45AA-ADCC-AC8F740A00DA}" dt="2022-07-22T16:28:35.458" v="55249"/>
          <ac:spMkLst>
            <pc:docMk/>
            <pc:sldMk cId="207800656" sldId="703"/>
            <ac:spMk id="17" creationId="{C3501678-32D7-4280-8C1A-37E02CE26229}"/>
          </ac:spMkLst>
        </pc:spChg>
        <pc:spChg chg="add del mod modVis">
          <ac:chgData name="Matthäus Alberding" userId="89cdd4c9-d044-4ab4-9e6f-8f065e0119c4" providerId="ADAL" clId="{B6745356-B6CF-45AA-ADCC-AC8F740A00DA}" dt="2022-07-22T16:30:07.323" v="55330"/>
          <ac:spMkLst>
            <pc:docMk/>
            <pc:sldMk cId="207800656" sldId="703"/>
            <ac:spMk id="18" creationId="{D4E9A6C4-F787-4299-AD8B-37D6D6D8EA90}"/>
          </ac:spMkLst>
        </pc:spChg>
        <pc:spChg chg="add del mod modVis">
          <ac:chgData name="Matthäus Alberding" userId="89cdd4c9-d044-4ab4-9e6f-8f065e0119c4" providerId="ADAL" clId="{B6745356-B6CF-45AA-ADCC-AC8F740A00DA}" dt="2022-07-22T16:30:12.147" v="55408"/>
          <ac:spMkLst>
            <pc:docMk/>
            <pc:sldMk cId="207800656" sldId="703"/>
            <ac:spMk id="19" creationId="{C3158040-0317-49B6-8FD8-44EA68CEB8B2}"/>
          </ac:spMkLst>
        </pc:spChg>
        <pc:spChg chg="add del mod modVis">
          <ac:chgData name="Matthäus Alberding" userId="89cdd4c9-d044-4ab4-9e6f-8f065e0119c4" providerId="ADAL" clId="{B6745356-B6CF-45AA-ADCC-AC8F740A00DA}" dt="2022-07-22T16:30:14.767" v="55467"/>
          <ac:spMkLst>
            <pc:docMk/>
            <pc:sldMk cId="207800656" sldId="703"/>
            <ac:spMk id="20" creationId="{16B3F312-B5F2-4A12-806C-82D7AF06A6B2}"/>
          </ac:spMkLst>
        </pc:spChg>
        <pc:spChg chg="add del mod modVis">
          <ac:chgData name="Matthäus Alberding" userId="89cdd4c9-d044-4ab4-9e6f-8f065e0119c4" providerId="ADAL" clId="{B6745356-B6CF-45AA-ADCC-AC8F740A00DA}" dt="2022-07-22T16:30:20.982" v="55510"/>
          <ac:spMkLst>
            <pc:docMk/>
            <pc:sldMk cId="207800656" sldId="703"/>
            <ac:spMk id="21" creationId="{9363F25F-79FC-4EF1-B4EF-1BFC0D513D32}"/>
          </ac:spMkLst>
        </pc:spChg>
        <pc:spChg chg="add del mod modVis">
          <ac:chgData name="Matthäus Alberding" userId="89cdd4c9-d044-4ab4-9e6f-8f065e0119c4" providerId="ADAL" clId="{B6745356-B6CF-45AA-ADCC-AC8F740A00DA}" dt="2022-07-22T16:30:23.800" v="55581"/>
          <ac:spMkLst>
            <pc:docMk/>
            <pc:sldMk cId="207800656" sldId="703"/>
            <ac:spMk id="22" creationId="{BDED1008-C443-494D-8E1A-49B3225D906F}"/>
          </ac:spMkLst>
        </pc:spChg>
        <pc:spChg chg="add del mod modVis">
          <ac:chgData name="Matthäus Alberding" userId="89cdd4c9-d044-4ab4-9e6f-8f065e0119c4" providerId="ADAL" clId="{B6745356-B6CF-45AA-ADCC-AC8F740A00DA}" dt="2022-07-22T16:30:25.611" v="55624"/>
          <ac:spMkLst>
            <pc:docMk/>
            <pc:sldMk cId="207800656" sldId="703"/>
            <ac:spMk id="23" creationId="{818AA57B-155F-45C9-AA23-C68C101B4E03}"/>
          </ac:spMkLst>
        </pc:spChg>
        <pc:spChg chg="add del mod modVis">
          <ac:chgData name="Matthäus Alberding" userId="89cdd4c9-d044-4ab4-9e6f-8f065e0119c4" providerId="ADAL" clId="{B6745356-B6CF-45AA-ADCC-AC8F740A00DA}" dt="2022-07-22T16:30:31.441" v="55703"/>
          <ac:spMkLst>
            <pc:docMk/>
            <pc:sldMk cId="207800656" sldId="703"/>
            <ac:spMk id="24" creationId="{E2A9B687-7FD7-4EDB-A683-491EAEEBF1D5}"/>
          </ac:spMkLst>
        </pc:spChg>
        <pc:spChg chg="add del mod modVis">
          <ac:chgData name="Matthäus Alberding" userId="89cdd4c9-d044-4ab4-9e6f-8f065e0119c4" providerId="ADAL" clId="{B6745356-B6CF-45AA-ADCC-AC8F740A00DA}" dt="2022-07-22T16:30:38.303" v="55768"/>
          <ac:spMkLst>
            <pc:docMk/>
            <pc:sldMk cId="207800656" sldId="703"/>
            <ac:spMk id="25" creationId="{027D851A-2D8E-4BF4-9BA0-D5FB2F7C527F}"/>
          </ac:spMkLst>
        </pc:spChg>
        <pc:spChg chg="mod">
          <ac:chgData name="Matthäus Alberding" userId="89cdd4c9-d044-4ab4-9e6f-8f065e0119c4" providerId="ADAL" clId="{B6745356-B6CF-45AA-ADCC-AC8F740A00DA}" dt="2022-07-26T10:23:36.183" v="60135" actId="27636"/>
          <ac:spMkLst>
            <pc:docMk/>
            <pc:sldMk cId="207800656" sldId="703"/>
            <ac:spMk id="30" creationId="{C870E03D-E377-48DC-A97F-3F30596E18C1}"/>
          </ac:spMkLst>
        </pc:spChg>
        <pc:spChg chg="mod">
          <ac:chgData name="Matthäus Alberding" userId="89cdd4c9-d044-4ab4-9e6f-8f065e0119c4" providerId="ADAL" clId="{B6745356-B6CF-45AA-ADCC-AC8F740A00DA}" dt="2022-07-26T14:14:13.008" v="74970" actId="20577"/>
          <ac:spMkLst>
            <pc:docMk/>
            <pc:sldMk cId="207800656" sldId="703"/>
            <ac:spMk id="31" creationId="{1F5833A7-7460-4F87-8295-CD81701A09BC}"/>
          </ac:spMkLst>
        </pc:spChg>
        <pc:spChg chg="add del mod modVis">
          <ac:chgData name="Matthäus Alberding" userId="89cdd4c9-d044-4ab4-9e6f-8f065e0119c4" providerId="ADAL" clId="{B6745356-B6CF-45AA-ADCC-AC8F740A00DA}" dt="2022-07-22T16:30:42.945" v="55813"/>
          <ac:spMkLst>
            <pc:docMk/>
            <pc:sldMk cId="207800656" sldId="703"/>
            <ac:spMk id="32" creationId="{5ADCDF49-1C44-4AAE-9065-0030CF1DEF66}"/>
          </ac:spMkLst>
        </pc:spChg>
        <pc:spChg chg="add del mod modVis">
          <ac:chgData name="Matthäus Alberding" userId="89cdd4c9-d044-4ab4-9e6f-8f065e0119c4" providerId="ADAL" clId="{B6745356-B6CF-45AA-ADCC-AC8F740A00DA}" dt="2022-07-22T16:30:54.221" v="55859"/>
          <ac:spMkLst>
            <pc:docMk/>
            <pc:sldMk cId="207800656" sldId="703"/>
            <ac:spMk id="33" creationId="{29CD9511-5E92-4B31-9539-9452B92EADBB}"/>
          </ac:spMkLst>
        </pc:spChg>
        <pc:spChg chg="add del mod modVis">
          <ac:chgData name="Matthäus Alberding" userId="89cdd4c9-d044-4ab4-9e6f-8f065e0119c4" providerId="ADAL" clId="{B6745356-B6CF-45AA-ADCC-AC8F740A00DA}" dt="2022-07-22T16:30:57.981" v="55927"/>
          <ac:spMkLst>
            <pc:docMk/>
            <pc:sldMk cId="207800656" sldId="703"/>
            <ac:spMk id="34" creationId="{5912A01A-1BAD-4FD9-A5E8-6BE6344C627E}"/>
          </ac:spMkLst>
        </pc:spChg>
        <pc:spChg chg="add del mod modVis">
          <ac:chgData name="Matthäus Alberding" userId="89cdd4c9-d044-4ab4-9e6f-8f065e0119c4" providerId="ADAL" clId="{B6745356-B6CF-45AA-ADCC-AC8F740A00DA}" dt="2022-07-22T16:31:03.373" v="55996"/>
          <ac:spMkLst>
            <pc:docMk/>
            <pc:sldMk cId="207800656" sldId="703"/>
            <ac:spMk id="35" creationId="{E317B19B-1814-41CF-B856-CCAADAB11720}"/>
          </ac:spMkLst>
        </pc:spChg>
        <pc:spChg chg="add del mod modVis">
          <ac:chgData name="Matthäus Alberding" userId="89cdd4c9-d044-4ab4-9e6f-8f065e0119c4" providerId="ADAL" clId="{B6745356-B6CF-45AA-ADCC-AC8F740A00DA}" dt="2022-07-22T16:31:05.904" v="56056"/>
          <ac:spMkLst>
            <pc:docMk/>
            <pc:sldMk cId="207800656" sldId="703"/>
            <ac:spMk id="36" creationId="{FA7C66C0-9F5B-4275-9702-9AC305D7848B}"/>
          </ac:spMkLst>
        </pc:spChg>
        <pc:spChg chg="add del mod modVis">
          <ac:chgData name="Matthäus Alberding" userId="89cdd4c9-d044-4ab4-9e6f-8f065e0119c4" providerId="ADAL" clId="{B6745356-B6CF-45AA-ADCC-AC8F740A00DA}" dt="2022-07-22T16:31:10.415" v="56115"/>
          <ac:spMkLst>
            <pc:docMk/>
            <pc:sldMk cId="207800656" sldId="703"/>
            <ac:spMk id="37" creationId="{896DE7AB-5360-43A0-851F-EAEA33EC1129}"/>
          </ac:spMkLst>
        </pc:spChg>
        <pc:spChg chg="add del mod modVis">
          <ac:chgData name="Matthäus Alberding" userId="89cdd4c9-d044-4ab4-9e6f-8f065e0119c4" providerId="ADAL" clId="{B6745356-B6CF-45AA-ADCC-AC8F740A00DA}" dt="2022-07-22T16:51:21.415" v="56831"/>
          <ac:spMkLst>
            <pc:docMk/>
            <pc:sldMk cId="207800656" sldId="703"/>
            <ac:spMk id="38" creationId="{AA776516-57D5-41EF-8FDB-D752FDEC24DB}"/>
          </ac:spMkLst>
        </pc:spChg>
        <pc:spChg chg="add del mod modVis">
          <ac:chgData name="Matthäus Alberding" userId="89cdd4c9-d044-4ab4-9e6f-8f065e0119c4" providerId="ADAL" clId="{B6745356-B6CF-45AA-ADCC-AC8F740A00DA}" dt="2022-07-22T16:51:23.079" v="56880"/>
          <ac:spMkLst>
            <pc:docMk/>
            <pc:sldMk cId="207800656" sldId="703"/>
            <ac:spMk id="39" creationId="{C056EE69-0170-4A65-AACA-26429950D9B4}"/>
          </ac:spMkLst>
        </pc:spChg>
        <pc:spChg chg="add del mod modVis">
          <ac:chgData name="Matthäus Alberding" userId="89cdd4c9-d044-4ab4-9e6f-8f065e0119c4" providerId="ADAL" clId="{B6745356-B6CF-45AA-ADCC-AC8F740A00DA}" dt="2022-07-22T16:51:27.713" v="56925"/>
          <ac:spMkLst>
            <pc:docMk/>
            <pc:sldMk cId="207800656" sldId="703"/>
            <ac:spMk id="40" creationId="{8A3D4AFC-DE02-4E3C-9003-17EBA712AC4C}"/>
          </ac:spMkLst>
        </pc:spChg>
        <pc:spChg chg="add del mod modVis">
          <ac:chgData name="Matthäus Alberding" userId="89cdd4c9-d044-4ab4-9e6f-8f065e0119c4" providerId="ADAL" clId="{B6745356-B6CF-45AA-ADCC-AC8F740A00DA}" dt="2022-07-22T16:51:28.600" v="56968"/>
          <ac:spMkLst>
            <pc:docMk/>
            <pc:sldMk cId="207800656" sldId="703"/>
            <ac:spMk id="41" creationId="{420F16F5-E81F-4E41-86A8-5CE855BC19DA}"/>
          </ac:spMkLst>
        </pc:spChg>
        <pc:spChg chg="add del mod modVis">
          <ac:chgData name="Matthäus Alberding" userId="89cdd4c9-d044-4ab4-9e6f-8f065e0119c4" providerId="ADAL" clId="{B6745356-B6CF-45AA-ADCC-AC8F740A00DA}" dt="2022-07-22T16:57:33.965" v="58021"/>
          <ac:spMkLst>
            <pc:docMk/>
            <pc:sldMk cId="207800656" sldId="703"/>
            <ac:spMk id="42" creationId="{56F35600-AC3F-4A8C-8A65-330488236A83}"/>
          </ac:spMkLst>
        </pc:spChg>
        <pc:spChg chg="add del mod modVis">
          <ac:chgData name="Matthäus Alberding" userId="89cdd4c9-d044-4ab4-9e6f-8f065e0119c4" providerId="ADAL" clId="{B6745356-B6CF-45AA-ADCC-AC8F740A00DA}" dt="2022-07-22T16:57:34.898" v="58068"/>
          <ac:spMkLst>
            <pc:docMk/>
            <pc:sldMk cId="207800656" sldId="703"/>
            <ac:spMk id="43" creationId="{6BF77763-F133-41C0-A73A-D61AD5E3A158}"/>
          </ac:spMkLst>
        </pc:spChg>
        <pc:graphicFrameChg chg="mod">
          <ac:chgData name="Matthäus Alberding" userId="89cdd4c9-d044-4ab4-9e6f-8f065e0119c4" providerId="ADAL" clId="{B6745356-B6CF-45AA-ADCC-AC8F740A00DA}" dt="2022-07-22T16:57:34.899" v="58070"/>
          <ac:graphicFrameMkLst>
            <pc:docMk/>
            <pc:sldMk cId="207800656" sldId="703"/>
            <ac:graphicFrameMk id="11" creationId="{4F7BD645-EBEF-434C-A149-D9384CBB46AE}"/>
          </ac:graphicFrameMkLst>
        </pc:graphicFrameChg>
      </pc:sldChg>
      <pc:sldChg chg="addSp delSp modSp new add del mod">
        <pc:chgData name="Matthäus Alberding" userId="89cdd4c9-d044-4ab4-9e6f-8f065e0119c4" providerId="ADAL" clId="{B6745356-B6CF-45AA-ADCC-AC8F740A00DA}" dt="2022-07-22T16:54:49.571" v="57631" actId="47"/>
        <pc:sldMkLst>
          <pc:docMk/>
          <pc:sldMk cId="2886952564" sldId="704"/>
        </pc:sldMkLst>
        <pc:spChg chg="mod">
          <ac:chgData name="Matthäus Alberding" userId="89cdd4c9-d044-4ab4-9e6f-8f065e0119c4" providerId="ADAL" clId="{B6745356-B6CF-45AA-ADCC-AC8F740A00DA}" dt="2022-07-22T16:54:43.652" v="57589" actId="948"/>
          <ac:spMkLst>
            <pc:docMk/>
            <pc:sldMk cId="2886952564" sldId="704"/>
            <ac:spMk id="4" creationId="{B3E1A130-583B-450F-937E-0F80A9212E6A}"/>
          </ac:spMkLst>
        </pc:spChg>
        <pc:spChg chg="mod">
          <ac:chgData name="Matthäus Alberding" userId="89cdd4c9-d044-4ab4-9e6f-8f065e0119c4" providerId="ADAL" clId="{B6745356-B6CF-45AA-ADCC-AC8F740A00DA}" dt="2022-07-22T16:54:01.487" v="57034" actId="27636"/>
          <ac:spMkLst>
            <pc:docMk/>
            <pc:sldMk cId="2886952564" sldId="704"/>
            <ac:spMk id="6" creationId="{9545E593-D5D9-43D0-AB18-61F0D6064C59}"/>
          </ac:spMkLst>
        </pc:spChg>
        <pc:spChg chg="add del mod modVis">
          <ac:chgData name="Matthäus Alberding" userId="89cdd4c9-d044-4ab4-9e6f-8f065e0119c4" providerId="ADAL" clId="{B6745356-B6CF-45AA-ADCC-AC8F740A00DA}" dt="2022-07-22T16:54:03.411" v="57087"/>
          <ac:spMkLst>
            <pc:docMk/>
            <pc:sldMk cId="2886952564" sldId="704"/>
            <ac:spMk id="8" creationId="{6CEDEF9B-3AC0-4870-84BA-D836D4FF3CC2}"/>
          </ac:spMkLst>
        </pc:spChg>
        <pc:spChg chg="add del mod modVis">
          <ac:chgData name="Matthäus Alberding" userId="89cdd4c9-d044-4ab4-9e6f-8f065e0119c4" providerId="ADAL" clId="{B6745356-B6CF-45AA-ADCC-AC8F740A00DA}" dt="2022-07-22T16:54:05.805" v="57143"/>
          <ac:spMkLst>
            <pc:docMk/>
            <pc:sldMk cId="2886952564" sldId="704"/>
            <ac:spMk id="9" creationId="{06D6224F-0618-41B2-8341-11E1C542F91B}"/>
          </ac:spMkLst>
        </pc:spChg>
        <pc:spChg chg="add del mod modVis">
          <ac:chgData name="Matthäus Alberding" userId="89cdd4c9-d044-4ab4-9e6f-8f065e0119c4" providerId="ADAL" clId="{B6745356-B6CF-45AA-ADCC-AC8F740A00DA}" dt="2022-07-22T16:54:06.970" v="57188"/>
          <ac:spMkLst>
            <pc:docMk/>
            <pc:sldMk cId="2886952564" sldId="704"/>
            <ac:spMk id="10" creationId="{0F209D4E-05CE-4935-BBA9-582496110D57}"/>
          </ac:spMkLst>
        </pc:spChg>
        <pc:spChg chg="add del mod modVis">
          <ac:chgData name="Matthäus Alberding" userId="89cdd4c9-d044-4ab4-9e6f-8f065e0119c4" providerId="ADAL" clId="{B6745356-B6CF-45AA-ADCC-AC8F740A00DA}" dt="2022-07-22T16:54:17.942" v="57251"/>
          <ac:spMkLst>
            <pc:docMk/>
            <pc:sldMk cId="2886952564" sldId="704"/>
            <ac:spMk id="11" creationId="{CD769A00-6226-4F9B-B03B-A08B74BAC0C7}"/>
          </ac:spMkLst>
        </pc:spChg>
        <pc:spChg chg="add del mod modVis">
          <ac:chgData name="Matthäus Alberding" userId="89cdd4c9-d044-4ab4-9e6f-8f065e0119c4" providerId="ADAL" clId="{B6745356-B6CF-45AA-ADCC-AC8F740A00DA}" dt="2022-07-22T16:54:24.323" v="57316"/>
          <ac:spMkLst>
            <pc:docMk/>
            <pc:sldMk cId="2886952564" sldId="704"/>
            <ac:spMk id="12" creationId="{793EF25C-4C9D-4CC8-A7AF-47ADBA088D07}"/>
          </ac:spMkLst>
        </pc:spChg>
        <pc:spChg chg="add del mod modVis">
          <ac:chgData name="Matthäus Alberding" userId="89cdd4c9-d044-4ab4-9e6f-8f065e0119c4" providerId="ADAL" clId="{B6745356-B6CF-45AA-ADCC-AC8F740A00DA}" dt="2022-07-22T16:54:25.450" v="57362"/>
          <ac:spMkLst>
            <pc:docMk/>
            <pc:sldMk cId="2886952564" sldId="704"/>
            <ac:spMk id="13" creationId="{B7737004-9F77-4224-B373-9A54A7B2C5C4}"/>
          </ac:spMkLst>
        </pc:spChg>
        <pc:spChg chg="add del mod modVis">
          <ac:chgData name="Matthäus Alberding" userId="89cdd4c9-d044-4ab4-9e6f-8f065e0119c4" providerId="ADAL" clId="{B6745356-B6CF-45AA-ADCC-AC8F740A00DA}" dt="2022-07-22T16:54:29.427" v="57415"/>
          <ac:spMkLst>
            <pc:docMk/>
            <pc:sldMk cId="2886952564" sldId="704"/>
            <ac:spMk id="14" creationId="{7533DF83-6210-4D54-9A8A-7E75BF8D85EA}"/>
          </ac:spMkLst>
        </pc:spChg>
        <pc:spChg chg="add del mod modVis">
          <ac:chgData name="Matthäus Alberding" userId="89cdd4c9-d044-4ab4-9e6f-8f065e0119c4" providerId="ADAL" clId="{B6745356-B6CF-45AA-ADCC-AC8F740A00DA}" dt="2022-07-22T16:54:31.932" v="57471"/>
          <ac:spMkLst>
            <pc:docMk/>
            <pc:sldMk cId="2886952564" sldId="704"/>
            <ac:spMk id="15" creationId="{C1075CAC-300C-4384-BE0F-721904B2BCF3}"/>
          </ac:spMkLst>
        </pc:spChg>
        <pc:spChg chg="add del mod modVis">
          <ac:chgData name="Matthäus Alberding" userId="89cdd4c9-d044-4ab4-9e6f-8f065e0119c4" providerId="ADAL" clId="{B6745356-B6CF-45AA-ADCC-AC8F740A00DA}" dt="2022-07-22T16:54:36.973" v="57514"/>
          <ac:spMkLst>
            <pc:docMk/>
            <pc:sldMk cId="2886952564" sldId="704"/>
            <ac:spMk id="16" creationId="{F7D5EF96-FB7D-4132-8C8B-4B9E59456B76}"/>
          </ac:spMkLst>
        </pc:spChg>
        <pc:spChg chg="add del mod modVis">
          <ac:chgData name="Matthäus Alberding" userId="89cdd4c9-d044-4ab4-9e6f-8f065e0119c4" providerId="ADAL" clId="{B6745356-B6CF-45AA-ADCC-AC8F740A00DA}" dt="2022-07-22T16:54:43.667" v="57628"/>
          <ac:spMkLst>
            <pc:docMk/>
            <pc:sldMk cId="2886952564" sldId="704"/>
            <ac:spMk id="17" creationId="{40C979D1-F3D3-48DC-A217-8B7F706D4E1B}"/>
          </ac:spMkLst>
        </pc:spChg>
        <pc:graphicFrameChg chg="add mod ord modVis">
          <ac:chgData name="Matthäus Alberding" userId="89cdd4c9-d044-4ab4-9e6f-8f065e0119c4" providerId="ADAL" clId="{B6745356-B6CF-45AA-ADCC-AC8F740A00DA}" dt="2022-07-22T16:54:43.669" v="57630"/>
          <ac:graphicFrameMkLst>
            <pc:docMk/>
            <pc:sldMk cId="2886952564" sldId="704"/>
            <ac:graphicFrameMk id="7" creationId="{88D62AC6-D5D9-433F-B7C1-3D780FCDB0BE}"/>
          </ac:graphicFrameMkLst>
        </pc:graphicFrameChg>
      </pc:sldChg>
      <pc:sldChg chg="addSp delSp modSp new add mod modTransition modShow">
        <pc:chgData name="Matthäus Alberding" userId="89cdd4c9-d044-4ab4-9e6f-8f065e0119c4" providerId="ADAL" clId="{B6745356-B6CF-45AA-ADCC-AC8F740A00DA}" dt="2022-07-26T14:33:30.784" v="77268" actId="207"/>
        <pc:sldMkLst>
          <pc:docMk/>
          <pc:sldMk cId="3976925495" sldId="704"/>
        </pc:sldMkLst>
        <pc:spChg chg="mod ord">
          <ac:chgData name="Matthäus Alberding" userId="89cdd4c9-d044-4ab4-9e6f-8f065e0119c4" providerId="ADAL" clId="{B6745356-B6CF-45AA-ADCC-AC8F740A00DA}" dt="2022-07-26T10:56:09.123" v="61450"/>
          <ac:spMkLst>
            <pc:docMk/>
            <pc:sldMk cId="3976925495" sldId="704"/>
            <ac:spMk id="2" creationId="{78E4B39B-3223-409F-BA04-FB39B05718FC}"/>
          </ac:spMkLst>
        </pc:spChg>
        <pc:spChg chg="mod ord">
          <ac:chgData name="Matthäus Alberding" userId="89cdd4c9-d044-4ab4-9e6f-8f065e0119c4" providerId="ADAL" clId="{B6745356-B6CF-45AA-ADCC-AC8F740A00DA}" dt="2022-07-26T10:56:09.123" v="61452"/>
          <ac:spMkLst>
            <pc:docMk/>
            <pc:sldMk cId="3976925495" sldId="704"/>
            <ac:spMk id="3" creationId="{0252F1E5-3553-4215-B391-CC521A8B7AB2}"/>
          </ac:spMkLst>
        </pc:spChg>
        <pc:spChg chg="mod ord">
          <ac:chgData name="Matthäus Alberding" userId="89cdd4c9-d044-4ab4-9e6f-8f065e0119c4" providerId="ADAL" clId="{B6745356-B6CF-45AA-ADCC-AC8F740A00DA}" dt="2022-07-26T14:29:58.148" v="76566" actId="948"/>
          <ac:spMkLst>
            <pc:docMk/>
            <pc:sldMk cId="3976925495" sldId="704"/>
            <ac:spMk id="4" creationId="{C576965E-3B1C-4D63-938E-36F16A3A3B67}"/>
          </ac:spMkLst>
        </pc:spChg>
        <pc:spChg chg="add del mod modVis">
          <ac:chgData name="Matthäus Alberding" userId="89cdd4c9-d044-4ab4-9e6f-8f065e0119c4" providerId="ADAL" clId="{B6745356-B6CF-45AA-ADCC-AC8F740A00DA}" dt="2022-07-26T13:47:07.972" v="71379"/>
          <ac:spMkLst>
            <pc:docMk/>
            <pc:sldMk cId="3976925495" sldId="704"/>
            <ac:spMk id="5" creationId="{75C51AD0-A438-4F87-919C-4988835B42DA}"/>
          </ac:spMkLst>
        </pc:spChg>
        <pc:spChg chg="del">
          <ac:chgData name="Matthäus Alberding" userId="89cdd4c9-d044-4ab4-9e6f-8f065e0119c4" providerId="ADAL" clId="{B6745356-B6CF-45AA-ADCC-AC8F740A00DA}" dt="2022-07-26T10:39:07.201" v="60452"/>
          <ac:spMkLst>
            <pc:docMk/>
            <pc:sldMk cId="3976925495" sldId="704"/>
            <ac:spMk id="5" creationId="{F57414CC-F27B-463D-8279-A36F17CB5883}"/>
          </ac:spMkLst>
        </pc:spChg>
        <pc:spChg chg="mod ord">
          <ac:chgData name="Matthäus Alberding" userId="89cdd4c9-d044-4ab4-9e6f-8f065e0119c4" providerId="ADAL" clId="{B6745356-B6CF-45AA-ADCC-AC8F740A00DA}" dt="2022-07-26T11:07:42.488" v="61928" actId="20577"/>
          <ac:spMkLst>
            <pc:docMk/>
            <pc:sldMk cId="3976925495" sldId="704"/>
            <ac:spMk id="6" creationId="{84B14CFD-D7BF-4C29-895A-409EF3022B09}"/>
          </ac:spMkLst>
        </pc:spChg>
        <pc:spChg chg="add del mod modVis">
          <ac:chgData name="Matthäus Alberding" userId="89cdd4c9-d044-4ab4-9e6f-8f065e0119c4" providerId="ADAL" clId="{B6745356-B6CF-45AA-ADCC-AC8F740A00DA}" dt="2022-07-26T13:47:09.146" v="71427"/>
          <ac:spMkLst>
            <pc:docMk/>
            <pc:sldMk cId="3976925495" sldId="704"/>
            <ac:spMk id="7" creationId="{97D56432-40FA-4CC4-9188-B43858841C3A}"/>
          </ac:spMkLst>
        </pc:spChg>
        <pc:spChg chg="add del mod modVis">
          <ac:chgData name="Matthäus Alberding" userId="89cdd4c9-d044-4ab4-9e6f-8f065e0119c4" providerId="ADAL" clId="{B6745356-B6CF-45AA-ADCC-AC8F740A00DA}" dt="2022-07-26T13:47:10.981" v="71470"/>
          <ac:spMkLst>
            <pc:docMk/>
            <pc:sldMk cId="3976925495" sldId="704"/>
            <ac:spMk id="8" creationId="{A8E18166-0F10-4784-A488-DC85619B2145}"/>
          </ac:spMkLst>
        </pc:spChg>
        <pc:spChg chg="add mod or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10" creationId="{C5CA343A-E931-4D81-B05E-8341FA26BAC8}"/>
          </ac:spMkLst>
        </pc:spChg>
        <pc:spChg chg="add mod or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11" creationId="{EDC96387-3CC9-4AD5-8ABA-B87E0E80ADA2}"/>
          </ac:spMkLst>
        </pc:spChg>
        <pc:spChg chg="add mod or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12" creationId="{DD2C0436-3A95-4B12-983B-CD75F1A08110}"/>
          </ac:spMkLst>
        </pc:spChg>
        <pc:spChg chg="add mod or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13" creationId="{80ABB229-41F9-432B-9D1B-77589966BC37}"/>
          </ac:spMkLst>
        </pc:spChg>
        <pc:spChg chg="add mod or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14" creationId="{93A9869C-F50C-4452-89BD-1568565855E1}"/>
          </ac:spMkLst>
        </pc:spChg>
        <pc:spChg chg="add mod or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15" creationId="{17ADF6C9-D911-4168-9B46-EB65BF7ED94B}"/>
          </ac:spMkLst>
        </pc:spChg>
        <pc:spChg chg="add del mod modVis">
          <ac:chgData name="Matthäus Alberding" userId="89cdd4c9-d044-4ab4-9e6f-8f065e0119c4" providerId="ADAL" clId="{B6745356-B6CF-45AA-ADCC-AC8F740A00DA}" dt="2022-07-26T13:47:11.740" v="71515"/>
          <ac:spMkLst>
            <pc:docMk/>
            <pc:sldMk cId="3976925495" sldId="704"/>
            <ac:spMk id="16" creationId="{5D944D4C-4714-4374-9514-E61F33E725A7}"/>
          </ac:spMkLst>
        </pc:spChg>
        <pc:spChg chg="add del mod ord">
          <ac:chgData name="Matthäus Alberding" userId="89cdd4c9-d044-4ab4-9e6f-8f065e0119c4" providerId="ADAL" clId="{B6745356-B6CF-45AA-ADCC-AC8F740A00DA}" dt="2022-07-26T11:46:14.764" v="63140" actId="478"/>
          <ac:spMkLst>
            <pc:docMk/>
            <pc:sldMk cId="3976925495" sldId="704"/>
            <ac:spMk id="16" creationId="{A49A8F41-7489-44DC-9F3D-7F35CB0681AE}"/>
          </ac:spMkLst>
        </pc:spChg>
        <pc:spChg chg="add mod or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17" creationId="{D884B652-D86B-455C-BF1C-F0F93E482EB5}"/>
          </ac:spMkLst>
        </pc:spChg>
        <pc:spChg chg="add del mod modVis">
          <ac:chgData name="Matthäus Alberding" userId="89cdd4c9-d044-4ab4-9e6f-8f065e0119c4" providerId="ADAL" clId="{B6745356-B6CF-45AA-ADCC-AC8F740A00DA}" dt="2022-07-26T14:29:37.262" v="76408"/>
          <ac:spMkLst>
            <pc:docMk/>
            <pc:sldMk cId="3976925495" sldId="704"/>
            <ac:spMk id="18" creationId="{E7905171-C746-4846-AC49-65DF3E92DC60}"/>
          </ac:spMkLst>
        </pc:spChg>
        <pc:spChg chg="add del mod">
          <ac:chgData name="Matthäus Alberding" userId="89cdd4c9-d044-4ab4-9e6f-8f065e0119c4" providerId="ADAL" clId="{B6745356-B6CF-45AA-ADCC-AC8F740A00DA}" dt="2022-07-26T10:48:12.817" v="60934" actId="478"/>
          <ac:spMkLst>
            <pc:docMk/>
            <pc:sldMk cId="3976925495" sldId="704"/>
            <ac:spMk id="18" creationId="{FCE22739-4B82-4628-B9DB-754A71E13CEA}"/>
          </ac:spMkLst>
        </pc:spChg>
        <pc:spChg chg="add mod or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19" creationId="{F5BFC6A9-7B32-4F08-ADC0-2A024C0A5DEC}"/>
          </ac:spMkLst>
        </pc:spChg>
        <pc:spChg chg="add del mod ord">
          <ac:chgData name="Matthäus Alberding" userId="89cdd4c9-d044-4ab4-9e6f-8f065e0119c4" providerId="ADAL" clId="{B6745356-B6CF-45AA-ADCC-AC8F740A00DA}" dt="2022-07-26T11:02:41.255" v="61769" actId="478"/>
          <ac:spMkLst>
            <pc:docMk/>
            <pc:sldMk cId="3976925495" sldId="704"/>
            <ac:spMk id="20" creationId="{02439843-2419-4815-BCDE-215B025211F7}"/>
          </ac:spMkLst>
        </pc:spChg>
        <pc:spChg chg="add del mod modVis">
          <ac:chgData name="Matthäus Alberding" userId="89cdd4c9-d044-4ab4-9e6f-8f065e0119c4" providerId="ADAL" clId="{B6745356-B6CF-45AA-ADCC-AC8F740A00DA}" dt="2022-07-26T14:29:39.193" v="76461"/>
          <ac:spMkLst>
            <pc:docMk/>
            <pc:sldMk cId="3976925495" sldId="704"/>
            <ac:spMk id="20" creationId="{6A01D898-FBE7-446F-BBA2-B7DA4D0FCFA2}"/>
          </ac:spMkLst>
        </pc:spChg>
        <pc:spChg chg="add mod or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21" creationId="{E311A4D7-3C52-4A3C-8966-50070256C08F}"/>
          </ac:spMkLst>
        </pc:spChg>
        <pc:spChg chg="add mod or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22" creationId="{7E325468-45E4-4646-BFF8-DC08B036355D}"/>
          </ac:spMkLst>
        </pc:spChg>
        <pc:spChg chg="add mod ord">
          <ac:chgData name="Matthäus Alberding" userId="89cdd4c9-d044-4ab4-9e6f-8f065e0119c4" providerId="ADAL" clId="{B6745356-B6CF-45AA-ADCC-AC8F740A00DA}" dt="2022-07-26T14:33:03.780" v="77265" actId="207"/>
          <ac:spMkLst>
            <pc:docMk/>
            <pc:sldMk cId="3976925495" sldId="704"/>
            <ac:spMk id="23" creationId="{7830EC54-D42A-4636-B369-75283C15128D}"/>
          </ac:spMkLst>
        </pc:spChg>
        <pc:spChg chg="add del mod modVis">
          <ac:chgData name="Matthäus Alberding" userId="89cdd4c9-d044-4ab4-9e6f-8f065e0119c4" providerId="ADAL" clId="{B6745356-B6CF-45AA-ADCC-AC8F740A00DA}" dt="2022-07-26T14:29:45.136" v="76504"/>
          <ac:spMkLst>
            <pc:docMk/>
            <pc:sldMk cId="3976925495" sldId="704"/>
            <ac:spMk id="24" creationId="{A389F101-61BF-4A36-93E1-CFDB2506F17C}"/>
          </ac:spMkLst>
        </pc:spChg>
        <pc:spChg chg="add del mod ord">
          <ac:chgData name="Matthäus Alberding" userId="89cdd4c9-d044-4ab4-9e6f-8f065e0119c4" providerId="ADAL" clId="{B6745356-B6CF-45AA-ADCC-AC8F740A00DA}" dt="2022-07-26T10:56:27.544" v="61511" actId="478"/>
          <ac:spMkLst>
            <pc:docMk/>
            <pc:sldMk cId="3976925495" sldId="704"/>
            <ac:spMk id="24" creationId="{CD300CEC-12DD-4EA4-96B8-3EFD0824961E}"/>
          </ac:spMkLst>
        </pc:spChg>
        <pc:spChg chg="add mod or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25" creationId="{FF68B786-17FA-47A5-A7F4-B86D0F8EEB26}"/>
          </ac:spMkLst>
        </pc:spChg>
        <pc:spChg chg="add del mod">
          <ac:chgData name="Matthäus Alberding" userId="89cdd4c9-d044-4ab4-9e6f-8f065e0119c4" providerId="ADAL" clId="{B6745356-B6CF-45AA-ADCC-AC8F740A00DA}" dt="2022-07-26T10:53:48.009" v="61305" actId="478"/>
          <ac:spMkLst>
            <pc:docMk/>
            <pc:sldMk cId="3976925495" sldId="704"/>
            <ac:spMk id="26" creationId="{6A01E091-BFC6-4DD2-8313-0E94071D9797}"/>
          </ac:spMkLst>
        </pc:spChg>
        <pc:spChg chg="add mo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26" creationId="{DB1A08AC-C153-44DF-A1A5-D6F1DD675DB7}"/>
          </ac:spMkLst>
        </pc:spChg>
        <pc:spChg chg="add mo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27" creationId="{3064FBB9-3854-409A-B2AC-8E6771C1B073}"/>
          </ac:spMkLst>
        </pc:spChg>
        <pc:spChg chg="add del mod ord">
          <ac:chgData name="Matthäus Alberding" userId="89cdd4c9-d044-4ab4-9e6f-8f065e0119c4" providerId="ADAL" clId="{B6745356-B6CF-45AA-ADCC-AC8F740A00DA}" dt="2022-07-26T11:06:14.048" v="61898" actId="478"/>
          <ac:spMkLst>
            <pc:docMk/>
            <pc:sldMk cId="3976925495" sldId="704"/>
            <ac:spMk id="27" creationId="{DA8742D3-E89D-415B-B0B7-044306400C93}"/>
          </ac:spMkLst>
        </pc:spChg>
        <pc:spChg chg="add del mod">
          <ac:chgData name="Matthäus Alberding" userId="89cdd4c9-d044-4ab4-9e6f-8f065e0119c4" providerId="ADAL" clId="{B6745356-B6CF-45AA-ADCC-AC8F740A00DA}" dt="2022-07-26T13:40:32.743" v="71271" actId="478"/>
          <ac:spMkLst>
            <pc:docMk/>
            <pc:sldMk cId="3976925495" sldId="704"/>
            <ac:spMk id="28" creationId="{1F049E31-4945-4302-8FB1-B751E2A7E876}"/>
          </ac:spMkLst>
        </pc:spChg>
        <pc:spChg chg="add del mod">
          <ac:chgData name="Matthäus Alberding" userId="89cdd4c9-d044-4ab4-9e6f-8f065e0119c4" providerId="ADAL" clId="{B6745356-B6CF-45AA-ADCC-AC8F740A00DA}" dt="2022-07-26T13:40:22.721" v="71269" actId="478"/>
          <ac:spMkLst>
            <pc:docMk/>
            <pc:sldMk cId="3976925495" sldId="704"/>
            <ac:spMk id="29" creationId="{363DD28B-794E-4965-A5C9-DE1B99407739}"/>
          </ac:spMkLst>
        </pc:spChg>
        <pc:spChg chg="add del mod modVis">
          <ac:chgData name="Matthäus Alberding" userId="89cdd4c9-d044-4ab4-9e6f-8f065e0119c4" providerId="ADAL" clId="{B6745356-B6CF-45AA-ADCC-AC8F740A00DA}" dt="2022-07-26T14:29:58.170" v="76605"/>
          <ac:spMkLst>
            <pc:docMk/>
            <pc:sldMk cId="3976925495" sldId="704"/>
            <ac:spMk id="30" creationId="{9D5CCCA8-55CA-467D-964D-81A468E36AB6}"/>
          </ac:spMkLst>
        </pc:spChg>
        <pc:spChg chg="add del mod">
          <ac:chgData name="Matthäus Alberding" userId="89cdd4c9-d044-4ab4-9e6f-8f065e0119c4" providerId="ADAL" clId="{B6745356-B6CF-45AA-ADCC-AC8F740A00DA}" dt="2022-07-26T10:58:35.928" v="61607" actId="478"/>
          <ac:spMkLst>
            <pc:docMk/>
            <pc:sldMk cId="3976925495" sldId="704"/>
            <ac:spMk id="54" creationId="{B3BB86C4-FEA8-44EB-8834-F0BB01258569}"/>
          </ac:spMkLst>
        </pc:spChg>
        <pc:spChg chg="add mod">
          <ac:chgData name="Matthäus Alberding" userId="89cdd4c9-d044-4ab4-9e6f-8f065e0119c4" providerId="ADAL" clId="{B6745356-B6CF-45AA-ADCC-AC8F740A00DA}" dt="2022-07-26T14:33:30.784" v="77268" actId="207"/>
          <ac:spMkLst>
            <pc:docMk/>
            <pc:sldMk cId="3976925495" sldId="704"/>
            <ac:spMk id="55" creationId="{03A89C3D-FE47-4EBE-BF95-A370FE36A8D9}"/>
          </ac:spMkLst>
        </pc:spChg>
        <pc:spChg chg="add mod">
          <ac:chgData name="Matthäus Alberding" userId="89cdd4c9-d044-4ab4-9e6f-8f065e0119c4" providerId="ADAL" clId="{B6745356-B6CF-45AA-ADCC-AC8F740A00DA}" dt="2022-07-26T14:33:27.982" v="77267" actId="207"/>
          <ac:spMkLst>
            <pc:docMk/>
            <pc:sldMk cId="3976925495" sldId="704"/>
            <ac:spMk id="56" creationId="{1A4344D1-57A6-4EC0-A1E6-57C49D182F1E}"/>
          </ac:spMkLst>
        </pc:spChg>
        <pc:spChg chg="add mo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57" creationId="{2A2771F3-338C-4721-9F2E-9CE16229C7D8}"/>
          </ac:spMkLst>
        </pc:spChg>
        <pc:spChg chg="add del mod">
          <ac:chgData name="Matthäus Alberding" userId="89cdd4c9-d044-4ab4-9e6f-8f065e0119c4" providerId="ADAL" clId="{B6745356-B6CF-45AA-ADCC-AC8F740A00DA}" dt="2022-07-26T11:19:34.974" v="63001" actId="478"/>
          <ac:spMkLst>
            <pc:docMk/>
            <pc:sldMk cId="3976925495" sldId="704"/>
            <ac:spMk id="58" creationId="{AEE5138C-5AC8-46F3-9A5E-95D6B5FCD435}"/>
          </ac:spMkLst>
        </pc:spChg>
        <pc:spChg chg="add mod">
          <ac:chgData name="Matthäus Alberding" userId="89cdd4c9-d044-4ab4-9e6f-8f065e0119c4" providerId="ADAL" clId="{B6745356-B6CF-45AA-ADCC-AC8F740A00DA}" dt="2022-07-26T14:29:21.307" v="76344" actId="207"/>
          <ac:spMkLst>
            <pc:docMk/>
            <pc:sldMk cId="3976925495" sldId="704"/>
            <ac:spMk id="59" creationId="{1910B47F-A168-4F17-99B5-68A3F660413C}"/>
          </ac:spMkLst>
        </pc:spChg>
        <pc:spChg chg="add mod">
          <ac:chgData name="Matthäus Alberding" userId="89cdd4c9-d044-4ab4-9e6f-8f065e0119c4" providerId="ADAL" clId="{B6745356-B6CF-45AA-ADCC-AC8F740A00DA}" dt="2022-07-26T14:33:16.719" v="77266" actId="207"/>
          <ac:spMkLst>
            <pc:docMk/>
            <pc:sldMk cId="3976925495" sldId="704"/>
            <ac:spMk id="60" creationId="{DDEED5E3-EE74-4965-8396-D28A37B4CEAB}"/>
          </ac:spMkLst>
        </pc:spChg>
        <pc:spChg chg="add mod">
          <ac:chgData name="Matthäus Alberding" userId="89cdd4c9-d044-4ab4-9e6f-8f065e0119c4" providerId="ADAL" clId="{B6745356-B6CF-45AA-ADCC-AC8F740A00DA}" dt="2022-07-26T14:29:21.307" v="76344" actId="207"/>
          <ac:spMkLst>
            <pc:docMk/>
            <pc:sldMk cId="3976925495" sldId="704"/>
            <ac:spMk id="61" creationId="{311C1F43-DDB4-48CB-BE5E-96760BE9C625}"/>
          </ac:spMkLst>
        </pc:spChg>
        <pc:spChg chg="add del mod">
          <ac:chgData name="Matthäus Alberding" userId="89cdd4c9-d044-4ab4-9e6f-8f065e0119c4" providerId="ADAL" clId="{B6745356-B6CF-45AA-ADCC-AC8F740A00DA}" dt="2022-07-26T11:21:10.870" v="63130" actId="478"/>
          <ac:spMkLst>
            <pc:docMk/>
            <pc:sldMk cId="3976925495" sldId="704"/>
            <ac:spMk id="62" creationId="{D6B56E1C-BBAA-498E-86AC-58D797426D71}"/>
          </ac:spMkLst>
        </pc:spChg>
        <pc:spChg chg="add del mod modVis">
          <ac:chgData name="Matthäus Alberding" userId="89cdd4c9-d044-4ab4-9e6f-8f065e0119c4" providerId="ADAL" clId="{B6745356-B6CF-45AA-ADCC-AC8F740A00DA}" dt="2022-07-26T11:09:47.747" v="61986"/>
          <ac:spMkLst>
            <pc:docMk/>
            <pc:sldMk cId="3976925495" sldId="704"/>
            <ac:spMk id="63" creationId="{723AC3A2-973E-4CF4-8664-FBDA979D7B79}"/>
          </ac:spMkLst>
        </pc:spChg>
        <pc:spChg chg="add del mod modVis">
          <ac:chgData name="Matthäus Alberding" userId="89cdd4c9-d044-4ab4-9e6f-8f065e0119c4" providerId="ADAL" clId="{B6745356-B6CF-45AA-ADCC-AC8F740A00DA}" dt="2022-07-26T11:09:52.783" v="62043"/>
          <ac:spMkLst>
            <pc:docMk/>
            <pc:sldMk cId="3976925495" sldId="704"/>
            <ac:spMk id="64" creationId="{C1921C24-DC1E-42EF-B6AB-B43F25A35689}"/>
          </ac:spMkLst>
        </pc:spChg>
        <pc:spChg chg="add del mod modVis">
          <ac:chgData name="Matthäus Alberding" userId="89cdd4c9-d044-4ab4-9e6f-8f065e0119c4" providerId="ADAL" clId="{B6745356-B6CF-45AA-ADCC-AC8F740A00DA}" dt="2022-07-26T11:09:53.587" v="62087"/>
          <ac:spMkLst>
            <pc:docMk/>
            <pc:sldMk cId="3976925495" sldId="704"/>
            <ac:spMk id="65" creationId="{BF65E764-2ED4-4EFE-A69E-6F7073FD0952}"/>
          </ac:spMkLst>
        </pc:spChg>
        <pc:spChg chg="add del mod modVis">
          <ac:chgData name="Matthäus Alberding" userId="89cdd4c9-d044-4ab4-9e6f-8f065e0119c4" providerId="ADAL" clId="{B6745356-B6CF-45AA-ADCC-AC8F740A00DA}" dt="2022-07-26T11:09:55.773" v="62130"/>
          <ac:spMkLst>
            <pc:docMk/>
            <pc:sldMk cId="3976925495" sldId="704"/>
            <ac:spMk id="66" creationId="{643E6DEB-C0DC-4D71-9EF3-0DC836EC1C26}"/>
          </ac:spMkLst>
        </pc:spChg>
        <pc:spChg chg="add del mod modVis">
          <ac:chgData name="Matthäus Alberding" userId="89cdd4c9-d044-4ab4-9e6f-8f065e0119c4" providerId="ADAL" clId="{B6745356-B6CF-45AA-ADCC-AC8F740A00DA}" dt="2022-07-26T11:09:59.713" v="62205"/>
          <ac:spMkLst>
            <pc:docMk/>
            <pc:sldMk cId="3976925495" sldId="704"/>
            <ac:spMk id="67" creationId="{1928E547-FBBB-4A20-B452-4D8B3273868E}"/>
          </ac:spMkLst>
        </pc:spChg>
        <pc:spChg chg="add del mod modVis">
          <ac:chgData name="Matthäus Alberding" userId="89cdd4c9-d044-4ab4-9e6f-8f065e0119c4" providerId="ADAL" clId="{B6745356-B6CF-45AA-ADCC-AC8F740A00DA}" dt="2022-07-26T11:10:05.971" v="62266"/>
          <ac:spMkLst>
            <pc:docMk/>
            <pc:sldMk cId="3976925495" sldId="704"/>
            <ac:spMk id="68" creationId="{BA23A73B-6DEB-49C2-B2C8-D9B2A12D6D3C}"/>
          </ac:spMkLst>
        </pc:spChg>
        <pc:spChg chg="add del mod modVis">
          <ac:chgData name="Matthäus Alberding" userId="89cdd4c9-d044-4ab4-9e6f-8f065e0119c4" providerId="ADAL" clId="{B6745356-B6CF-45AA-ADCC-AC8F740A00DA}" dt="2022-07-26T11:10:07.583" v="62328"/>
          <ac:spMkLst>
            <pc:docMk/>
            <pc:sldMk cId="3976925495" sldId="704"/>
            <ac:spMk id="69" creationId="{72F28B4A-18C8-4E09-A357-C8AF2CA27B76}"/>
          </ac:spMkLst>
        </pc:spChg>
        <pc:spChg chg="add del mod modVis">
          <ac:chgData name="Matthäus Alberding" userId="89cdd4c9-d044-4ab4-9e6f-8f065e0119c4" providerId="ADAL" clId="{B6745356-B6CF-45AA-ADCC-AC8F740A00DA}" dt="2022-07-26T11:10:11.289" v="62385"/>
          <ac:spMkLst>
            <pc:docMk/>
            <pc:sldMk cId="3976925495" sldId="704"/>
            <ac:spMk id="70" creationId="{86B70845-1113-4CE7-822D-51DB7EAAA364}"/>
          </ac:spMkLst>
        </pc:spChg>
        <pc:spChg chg="add del mod modVis">
          <ac:chgData name="Matthäus Alberding" userId="89cdd4c9-d044-4ab4-9e6f-8f065e0119c4" providerId="ADAL" clId="{B6745356-B6CF-45AA-ADCC-AC8F740A00DA}" dt="2022-07-26T11:10:13.856" v="62432"/>
          <ac:spMkLst>
            <pc:docMk/>
            <pc:sldMk cId="3976925495" sldId="704"/>
            <ac:spMk id="71" creationId="{2DD018B4-3AA2-4105-94AF-A988E94D1D71}"/>
          </ac:spMkLst>
        </pc:spChg>
        <pc:spChg chg="add del mod modVis">
          <ac:chgData name="Matthäus Alberding" userId="89cdd4c9-d044-4ab4-9e6f-8f065e0119c4" providerId="ADAL" clId="{B6745356-B6CF-45AA-ADCC-AC8F740A00DA}" dt="2022-07-26T11:10:17.620" v="62499"/>
          <ac:spMkLst>
            <pc:docMk/>
            <pc:sldMk cId="3976925495" sldId="704"/>
            <ac:spMk id="72" creationId="{03AE67D3-D000-41CD-8AB4-9336FE9F90A7}"/>
          </ac:spMkLst>
        </pc:spChg>
        <pc:spChg chg="add del mod modVis">
          <ac:chgData name="Matthäus Alberding" userId="89cdd4c9-d044-4ab4-9e6f-8f065e0119c4" providerId="ADAL" clId="{B6745356-B6CF-45AA-ADCC-AC8F740A00DA}" dt="2022-07-26T11:10:19.142" v="62542"/>
          <ac:spMkLst>
            <pc:docMk/>
            <pc:sldMk cId="3976925495" sldId="704"/>
            <ac:spMk id="73" creationId="{07222F65-CD4A-4772-B304-E530A8D7F1E1}"/>
          </ac:spMkLst>
        </pc:spChg>
        <pc:spChg chg="add del mod modVis">
          <ac:chgData name="Matthäus Alberding" userId="89cdd4c9-d044-4ab4-9e6f-8f065e0119c4" providerId="ADAL" clId="{B6745356-B6CF-45AA-ADCC-AC8F740A00DA}" dt="2022-07-26T11:10:21.030" v="62589"/>
          <ac:spMkLst>
            <pc:docMk/>
            <pc:sldMk cId="3976925495" sldId="704"/>
            <ac:spMk id="74" creationId="{B856C526-7E2A-407B-B060-AA59349B094C}"/>
          </ac:spMkLst>
        </pc:spChg>
        <pc:spChg chg="add del mod modVis">
          <ac:chgData name="Matthäus Alberding" userId="89cdd4c9-d044-4ab4-9e6f-8f065e0119c4" providerId="ADAL" clId="{B6745356-B6CF-45AA-ADCC-AC8F740A00DA}" dt="2022-07-26T11:10:32.997" v="62663"/>
          <ac:spMkLst>
            <pc:docMk/>
            <pc:sldMk cId="3976925495" sldId="704"/>
            <ac:spMk id="75" creationId="{AFBA6B62-3298-460C-BF17-5D16C9DC0AEA}"/>
          </ac:spMkLst>
        </pc:spChg>
        <pc:spChg chg="add del mod modVis">
          <ac:chgData name="Matthäus Alberding" userId="89cdd4c9-d044-4ab4-9e6f-8f065e0119c4" providerId="ADAL" clId="{B6745356-B6CF-45AA-ADCC-AC8F740A00DA}" dt="2022-07-26T11:10:45.651" v="62804"/>
          <ac:spMkLst>
            <pc:docMk/>
            <pc:sldMk cId="3976925495" sldId="704"/>
            <ac:spMk id="76" creationId="{3E80620F-425B-4DF4-856C-7CEECAC3B8F4}"/>
          </ac:spMkLst>
        </pc:spChg>
        <pc:spChg chg="add del mod modVis">
          <ac:chgData name="Matthäus Alberding" userId="89cdd4c9-d044-4ab4-9e6f-8f065e0119c4" providerId="ADAL" clId="{B6745356-B6CF-45AA-ADCC-AC8F740A00DA}" dt="2022-07-26T11:10:58.674" v="62869"/>
          <ac:spMkLst>
            <pc:docMk/>
            <pc:sldMk cId="3976925495" sldId="704"/>
            <ac:spMk id="77" creationId="{72666154-789E-44A4-8CC6-5667E673EE62}"/>
          </ac:spMkLst>
        </pc:spChg>
        <pc:spChg chg="add del mod modVis">
          <ac:chgData name="Matthäus Alberding" userId="89cdd4c9-d044-4ab4-9e6f-8f065e0119c4" providerId="ADAL" clId="{B6745356-B6CF-45AA-ADCC-AC8F740A00DA}" dt="2022-07-26T11:11:00.711" v="62914"/>
          <ac:spMkLst>
            <pc:docMk/>
            <pc:sldMk cId="3976925495" sldId="704"/>
            <ac:spMk id="78" creationId="{128CB1A2-614F-4546-85DE-938CA00FDB52}"/>
          </ac:spMkLst>
        </pc:spChg>
        <pc:spChg chg="add del mod modVis">
          <ac:chgData name="Matthäus Alberding" userId="89cdd4c9-d044-4ab4-9e6f-8f065e0119c4" providerId="ADAL" clId="{B6745356-B6CF-45AA-ADCC-AC8F740A00DA}" dt="2022-07-26T11:11:03.115" v="62960"/>
          <ac:spMkLst>
            <pc:docMk/>
            <pc:sldMk cId="3976925495" sldId="704"/>
            <ac:spMk id="79" creationId="{EA8ACED4-C99A-4FA2-B438-277E8CD3C9CD}"/>
          </ac:spMkLst>
        </pc:spChg>
        <pc:graphicFrameChg chg="add del mod">
          <ac:chgData name="Matthäus Alberding" userId="89cdd4c9-d044-4ab4-9e6f-8f065e0119c4" providerId="ADAL" clId="{B6745356-B6CF-45AA-ADCC-AC8F740A00DA}" dt="2022-07-26T10:38:44.589" v="60450" actId="478"/>
          <ac:graphicFrameMkLst>
            <pc:docMk/>
            <pc:sldMk cId="3976925495" sldId="704"/>
            <ac:graphicFrameMk id="7" creationId="{C57F7AEF-F3C9-4D08-BE88-7C7AFDEEC6C2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6T14:29:58.171" v="76607"/>
          <ac:graphicFrameMkLst>
            <pc:docMk/>
            <pc:sldMk cId="3976925495" sldId="704"/>
            <ac:graphicFrameMk id="41" creationId="{6FD40599-561A-4F97-B337-86C4D5391629}"/>
          </ac:graphicFrameMkLst>
        </pc:graphicFrameChg>
        <pc:picChg chg="add mod ord">
          <ac:chgData name="Matthäus Alberding" userId="89cdd4c9-d044-4ab4-9e6f-8f065e0119c4" providerId="ADAL" clId="{B6745356-B6CF-45AA-ADCC-AC8F740A00DA}" dt="2022-07-26T13:47:27.005" v="71519" actId="1076"/>
          <ac:picMkLst>
            <pc:docMk/>
            <pc:sldMk cId="3976925495" sldId="704"/>
            <ac:picMk id="9" creationId="{9437DA43-FF93-48FB-81B5-DBAA3DEC1561}"/>
          </ac:picMkLst>
        </pc:picChg>
        <pc:cxnChg chg="add del mod ord">
          <ac:chgData name="Matthäus Alberding" userId="89cdd4c9-d044-4ab4-9e6f-8f065e0119c4" providerId="ADAL" clId="{B6745356-B6CF-45AA-ADCC-AC8F740A00DA}" dt="2022-07-26T10:57:02.659" v="61519" actId="478"/>
          <ac:cxnSpMkLst>
            <pc:docMk/>
            <pc:sldMk cId="3976925495" sldId="704"/>
            <ac:cxnSpMk id="29" creationId="{3BE6F21E-37C7-43F4-82F4-D8F3CE48ADC3}"/>
          </ac:cxnSpMkLst>
        </pc:cxnChg>
        <pc:cxnChg chg="add del mod ord">
          <ac:chgData name="Matthäus Alberding" userId="89cdd4c9-d044-4ab4-9e6f-8f065e0119c4" providerId="ADAL" clId="{B6745356-B6CF-45AA-ADCC-AC8F740A00DA}" dt="2022-07-26T10:57:02.268" v="61518" actId="478"/>
          <ac:cxnSpMkLst>
            <pc:docMk/>
            <pc:sldMk cId="3976925495" sldId="704"/>
            <ac:cxnSpMk id="30" creationId="{740F5FED-27E3-4347-9635-1E30EC17A823}"/>
          </ac:cxnSpMkLst>
        </pc:cxnChg>
        <pc:cxnChg chg="add del mod ord">
          <ac:chgData name="Matthäus Alberding" userId="89cdd4c9-d044-4ab4-9e6f-8f065e0119c4" providerId="ADAL" clId="{B6745356-B6CF-45AA-ADCC-AC8F740A00DA}" dt="2022-07-26T10:57:03.363" v="61520" actId="478"/>
          <ac:cxnSpMkLst>
            <pc:docMk/>
            <pc:sldMk cId="3976925495" sldId="704"/>
            <ac:cxnSpMk id="33" creationId="{CBC5FD01-278A-40C4-BC58-BEC75B672036}"/>
          </ac:cxnSpMkLst>
        </pc:cxnChg>
        <pc:cxnChg chg="add del mod ord">
          <ac:chgData name="Matthäus Alberding" userId="89cdd4c9-d044-4ab4-9e6f-8f065e0119c4" providerId="ADAL" clId="{B6745356-B6CF-45AA-ADCC-AC8F740A00DA}" dt="2022-07-26T10:57:01.760" v="61517" actId="478"/>
          <ac:cxnSpMkLst>
            <pc:docMk/>
            <pc:sldMk cId="3976925495" sldId="704"/>
            <ac:cxnSpMk id="37" creationId="{49EE5D34-6839-4AFD-A655-B84A215FE255}"/>
          </ac:cxnSpMkLst>
        </pc:cxnChg>
        <pc:cxnChg chg="add del mod ord">
          <ac:chgData name="Matthäus Alberding" userId="89cdd4c9-d044-4ab4-9e6f-8f065e0119c4" providerId="ADAL" clId="{B6745356-B6CF-45AA-ADCC-AC8F740A00DA}" dt="2022-07-26T10:57:01.083" v="61516" actId="478"/>
          <ac:cxnSpMkLst>
            <pc:docMk/>
            <pc:sldMk cId="3976925495" sldId="704"/>
            <ac:cxnSpMk id="42" creationId="{26F5390F-0F5D-428B-9723-039B13DD5D1B}"/>
          </ac:cxnSpMkLst>
        </pc:cxnChg>
        <pc:cxnChg chg="add del mod ord">
          <ac:chgData name="Matthäus Alberding" userId="89cdd4c9-d044-4ab4-9e6f-8f065e0119c4" providerId="ADAL" clId="{B6745356-B6CF-45AA-ADCC-AC8F740A00DA}" dt="2022-07-26T10:56:59.553" v="61514" actId="478"/>
          <ac:cxnSpMkLst>
            <pc:docMk/>
            <pc:sldMk cId="3976925495" sldId="704"/>
            <ac:cxnSpMk id="45" creationId="{8A7106FA-8C6B-43FD-BD55-870992D49AA2}"/>
          </ac:cxnSpMkLst>
        </pc:cxnChg>
        <pc:cxnChg chg="add del mod ord">
          <ac:chgData name="Matthäus Alberding" userId="89cdd4c9-d044-4ab4-9e6f-8f065e0119c4" providerId="ADAL" clId="{B6745356-B6CF-45AA-ADCC-AC8F740A00DA}" dt="2022-07-26T10:57:00.212" v="61515" actId="478"/>
          <ac:cxnSpMkLst>
            <pc:docMk/>
            <pc:sldMk cId="3976925495" sldId="704"/>
            <ac:cxnSpMk id="48" creationId="{FCEEC6AF-9CA9-4B94-A746-E988D18B698C}"/>
          </ac:cxnSpMkLst>
        </pc:cxnChg>
        <pc:cxnChg chg="add del mod">
          <ac:chgData name="Matthäus Alberding" userId="89cdd4c9-d044-4ab4-9e6f-8f065e0119c4" providerId="ADAL" clId="{B6745356-B6CF-45AA-ADCC-AC8F740A00DA}" dt="2022-07-26T10:56:58.971" v="61513" actId="478"/>
          <ac:cxnSpMkLst>
            <pc:docMk/>
            <pc:sldMk cId="3976925495" sldId="704"/>
            <ac:cxnSpMk id="51" creationId="{41ECBDEA-22A4-489C-85DF-8A32F3ABB337}"/>
          </ac:cxnSpMkLst>
        </pc:cxnChg>
      </pc:sldChg>
      <pc:sldChg chg="addSp delSp modSp new add del mod modTransition modShow">
        <pc:chgData name="Matthäus Alberding" userId="89cdd4c9-d044-4ab4-9e6f-8f065e0119c4" providerId="ADAL" clId="{B6745356-B6CF-45AA-ADCC-AC8F740A00DA}" dt="2022-07-26T11:45:56.603" v="63134" actId="47"/>
        <pc:sldMkLst>
          <pc:docMk/>
          <pc:sldMk cId="509378630" sldId="705"/>
        </pc:sldMkLst>
        <pc:spChg chg="mod">
          <ac:chgData name="Matthäus Alberding" userId="89cdd4c9-d044-4ab4-9e6f-8f065e0119c4" providerId="ADAL" clId="{B6745356-B6CF-45AA-ADCC-AC8F740A00DA}" dt="2022-07-26T11:19:54.918" v="63062" actId="948"/>
          <ac:spMkLst>
            <pc:docMk/>
            <pc:sldMk cId="509378630" sldId="705"/>
            <ac:spMk id="4" creationId="{D5B59A0F-0B36-4D3E-A8E1-1A3D688A5671}"/>
          </ac:spMkLst>
        </pc:spChg>
        <pc:spChg chg="mod">
          <ac:chgData name="Matthäus Alberding" userId="89cdd4c9-d044-4ab4-9e6f-8f065e0119c4" providerId="ADAL" clId="{B6745356-B6CF-45AA-ADCC-AC8F740A00DA}" dt="2022-07-26T11:21:49.705" v="63133" actId="20577"/>
          <ac:spMkLst>
            <pc:docMk/>
            <pc:sldMk cId="509378630" sldId="705"/>
            <ac:spMk id="5" creationId="{0EF1D518-7BB2-4710-86B8-9C39D9372970}"/>
          </ac:spMkLst>
        </pc:spChg>
        <pc:spChg chg="add del mod modVis">
          <ac:chgData name="Matthäus Alberding" userId="89cdd4c9-d044-4ab4-9e6f-8f065e0119c4" providerId="ADAL" clId="{B6745356-B6CF-45AA-ADCC-AC8F740A00DA}" dt="2022-07-26T11:19:54.935" v="63101"/>
          <ac:spMkLst>
            <pc:docMk/>
            <pc:sldMk cId="509378630" sldId="705"/>
            <ac:spMk id="7" creationId="{E21A23E0-E166-4AA6-994C-EFCFD503CFEE}"/>
          </ac:spMkLst>
        </pc:spChg>
        <pc:graphicFrameChg chg="add mod ord modVis">
          <ac:chgData name="Matthäus Alberding" userId="89cdd4c9-d044-4ab4-9e6f-8f065e0119c4" providerId="ADAL" clId="{B6745356-B6CF-45AA-ADCC-AC8F740A00DA}" dt="2022-07-26T11:19:54.936" v="63103"/>
          <ac:graphicFrameMkLst>
            <pc:docMk/>
            <pc:sldMk cId="509378630" sldId="705"/>
            <ac:graphicFrameMk id="6" creationId="{4CB5E9E2-4C6C-46E6-AA73-C71DF3E0EAD4}"/>
          </ac:graphicFrameMkLst>
        </pc:graphicFrameChg>
      </pc:sldChg>
      <pc:sldChg chg="modSp new add del mod modTransition modShow">
        <pc:chgData name="Matthäus Alberding" userId="89cdd4c9-d044-4ab4-9e6f-8f065e0119c4" providerId="ADAL" clId="{B6745356-B6CF-45AA-ADCC-AC8F740A00DA}" dt="2022-07-26T14:19:07.460" v="75347" actId="47"/>
        <pc:sldMkLst>
          <pc:docMk/>
          <pc:sldMk cId="3187545599" sldId="705"/>
        </pc:sldMkLst>
        <pc:spChg chg="mod">
          <ac:chgData name="Matthäus Alberding" userId="89cdd4c9-d044-4ab4-9e6f-8f065e0119c4" providerId="ADAL" clId="{B6745356-B6CF-45AA-ADCC-AC8F740A00DA}" dt="2022-07-26T13:43:45.079" v="71325" actId="6549"/>
          <ac:spMkLst>
            <pc:docMk/>
            <pc:sldMk cId="3187545599" sldId="705"/>
            <ac:spMk id="5" creationId="{8350B044-AF6B-4B8A-9D01-5C6D7159806C}"/>
          </ac:spMkLst>
        </pc:spChg>
        <pc:spChg chg="mod">
          <ac:chgData name="Matthäus Alberding" userId="89cdd4c9-d044-4ab4-9e6f-8f065e0119c4" providerId="ADAL" clId="{B6745356-B6CF-45AA-ADCC-AC8F740A00DA}" dt="2022-07-26T11:49:25.608" v="63560" actId="27636"/>
          <ac:spMkLst>
            <pc:docMk/>
            <pc:sldMk cId="3187545599" sldId="705"/>
            <ac:spMk id="6" creationId="{6A98572E-A953-42D6-A851-E915ADDBB49C}"/>
          </ac:spMkLst>
        </pc:spChg>
      </pc:sldChg>
      <pc:sldChg chg="addSp delSp modSp new add mod modTransition modShow">
        <pc:chgData name="Matthäus Alberding" userId="89cdd4c9-d044-4ab4-9e6f-8f065e0119c4" providerId="ADAL" clId="{B6745356-B6CF-45AA-ADCC-AC8F740A00DA}" dt="2022-07-26T13:33:15.838" v="70969" actId="20577"/>
        <pc:sldMkLst>
          <pc:docMk/>
          <pc:sldMk cId="2410940153" sldId="706"/>
        </pc:sldMkLst>
        <pc:spChg chg="mod ord">
          <ac:chgData name="Matthäus Alberding" userId="89cdd4c9-d044-4ab4-9e6f-8f065e0119c4" providerId="ADAL" clId="{B6745356-B6CF-45AA-ADCC-AC8F740A00DA}" dt="2022-07-26T13:24:07.463" v="70406"/>
          <ac:spMkLst>
            <pc:docMk/>
            <pc:sldMk cId="2410940153" sldId="706"/>
            <ac:spMk id="2" creationId="{644A6C13-3E6A-4DCF-9BE1-23F1CFF7035C}"/>
          </ac:spMkLst>
        </pc:spChg>
        <pc:spChg chg="mod ord">
          <ac:chgData name="Matthäus Alberding" userId="89cdd4c9-d044-4ab4-9e6f-8f065e0119c4" providerId="ADAL" clId="{B6745356-B6CF-45AA-ADCC-AC8F740A00DA}" dt="2022-07-26T13:24:07.463" v="70408"/>
          <ac:spMkLst>
            <pc:docMk/>
            <pc:sldMk cId="2410940153" sldId="706"/>
            <ac:spMk id="3" creationId="{00ABC263-B67D-448E-892B-7CB7274F5532}"/>
          </ac:spMkLst>
        </pc:spChg>
        <pc:spChg chg="mod ord">
          <ac:chgData name="Matthäus Alberding" userId="89cdd4c9-d044-4ab4-9e6f-8f065e0119c4" providerId="ADAL" clId="{B6745356-B6CF-45AA-ADCC-AC8F740A00DA}" dt="2022-07-26T13:25:37.515" v="70493" actId="948"/>
          <ac:spMkLst>
            <pc:docMk/>
            <pc:sldMk cId="2410940153" sldId="706"/>
            <ac:spMk id="4" creationId="{5BB7E497-1117-447A-B806-CB97E759DEFE}"/>
          </ac:spMkLst>
        </pc:spChg>
        <pc:spChg chg="mod ord">
          <ac:chgData name="Matthäus Alberding" userId="89cdd4c9-d044-4ab4-9e6f-8f065e0119c4" providerId="ADAL" clId="{B6745356-B6CF-45AA-ADCC-AC8F740A00DA}" dt="2022-07-26T13:24:07.463" v="70412"/>
          <ac:spMkLst>
            <pc:docMk/>
            <pc:sldMk cId="2410940153" sldId="706"/>
            <ac:spMk id="5" creationId="{273522DF-ED6A-4C30-9CC9-0B671AF47422}"/>
          </ac:spMkLst>
        </pc:spChg>
        <pc:spChg chg="add del mod modVis">
          <ac:chgData name="Matthäus Alberding" userId="89cdd4c9-d044-4ab4-9e6f-8f065e0119c4" providerId="ADAL" clId="{B6745356-B6CF-45AA-ADCC-AC8F740A00DA}" dt="2022-07-26T11:49:28.401" v="63615"/>
          <ac:spMkLst>
            <pc:docMk/>
            <pc:sldMk cId="2410940153" sldId="706"/>
            <ac:spMk id="7" creationId="{4C9C95BA-9217-456C-A8F0-3CE3A29B9C75}"/>
          </ac:spMkLst>
        </pc:spChg>
        <pc:spChg chg="add del mod modVis">
          <ac:chgData name="Matthäus Alberding" userId="89cdd4c9-d044-4ab4-9e6f-8f065e0119c4" providerId="ADAL" clId="{B6745356-B6CF-45AA-ADCC-AC8F740A00DA}" dt="2022-07-26T11:49:30.373" v="63662"/>
          <ac:spMkLst>
            <pc:docMk/>
            <pc:sldMk cId="2410940153" sldId="706"/>
            <ac:spMk id="8" creationId="{266FF92B-C853-474C-B346-ED871D8C4C48}"/>
          </ac:spMkLst>
        </pc:spChg>
        <pc:spChg chg="add del mod modVis">
          <ac:chgData name="Matthäus Alberding" userId="89cdd4c9-d044-4ab4-9e6f-8f065e0119c4" providerId="ADAL" clId="{B6745356-B6CF-45AA-ADCC-AC8F740A00DA}" dt="2022-07-26T11:49:56.832" v="63768"/>
          <ac:spMkLst>
            <pc:docMk/>
            <pc:sldMk cId="2410940153" sldId="706"/>
            <ac:spMk id="9" creationId="{18D545E6-6FDA-4920-B67E-FD493D02080B}"/>
          </ac:spMkLst>
        </pc:spChg>
        <pc:spChg chg="add del mod modVis">
          <ac:chgData name="Matthäus Alberding" userId="89cdd4c9-d044-4ab4-9e6f-8f065e0119c4" providerId="ADAL" clId="{B6745356-B6CF-45AA-ADCC-AC8F740A00DA}" dt="2022-07-26T13:09:06.180" v="67259"/>
          <ac:spMkLst>
            <pc:docMk/>
            <pc:sldMk cId="2410940153" sldId="706"/>
            <ac:spMk id="9" creationId="{4A04D6FB-0621-4B11-809A-6ACE66CC0BDE}"/>
          </ac:spMkLst>
        </pc:spChg>
        <pc:spChg chg="add del mod modVis">
          <ac:chgData name="Matthäus Alberding" userId="89cdd4c9-d044-4ab4-9e6f-8f065e0119c4" providerId="ADAL" clId="{B6745356-B6CF-45AA-ADCC-AC8F740A00DA}" dt="2022-07-26T13:09:07.576" v="67302"/>
          <ac:spMkLst>
            <pc:docMk/>
            <pc:sldMk cId="2410940153" sldId="706"/>
            <ac:spMk id="10" creationId="{02F1E1B7-CFA5-42CF-8FFB-8E9BE37A8996}"/>
          </ac:spMkLst>
        </pc:spChg>
        <pc:spChg chg="add del mod modVis">
          <ac:chgData name="Matthäus Alberding" userId="89cdd4c9-d044-4ab4-9e6f-8f065e0119c4" providerId="ADAL" clId="{B6745356-B6CF-45AA-ADCC-AC8F740A00DA}" dt="2022-07-26T11:50:00.099" v="63815"/>
          <ac:spMkLst>
            <pc:docMk/>
            <pc:sldMk cId="2410940153" sldId="706"/>
            <ac:spMk id="10" creationId="{1C2AF840-EF8D-4A00-B8B2-AFC214848CDA}"/>
          </ac:spMkLst>
        </pc:spChg>
        <pc:spChg chg="add del mod modVis">
          <ac:chgData name="Matthäus Alberding" userId="89cdd4c9-d044-4ab4-9e6f-8f065e0119c4" providerId="ADAL" clId="{B6745356-B6CF-45AA-ADCC-AC8F740A00DA}" dt="2022-07-26T13:09:12.847" v="67353"/>
          <ac:spMkLst>
            <pc:docMk/>
            <pc:sldMk cId="2410940153" sldId="706"/>
            <ac:spMk id="11" creationId="{5F39E7C8-90DC-496B-B341-6610D8EC8E47}"/>
          </ac:spMkLst>
        </pc:spChg>
        <pc:spChg chg="add del mod modVis">
          <ac:chgData name="Matthäus Alberding" userId="89cdd4c9-d044-4ab4-9e6f-8f065e0119c4" providerId="ADAL" clId="{B6745356-B6CF-45AA-ADCC-AC8F740A00DA}" dt="2022-07-26T11:50:02.635" v="63860"/>
          <ac:spMkLst>
            <pc:docMk/>
            <pc:sldMk cId="2410940153" sldId="706"/>
            <ac:spMk id="11" creationId="{98466A2C-50C0-43C1-BAE7-67AAC1DCB4B6}"/>
          </ac:spMkLst>
        </pc:spChg>
        <pc:spChg chg="add del mod modVis">
          <ac:chgData name="Matthäus Alberding" userId="89cdd4c9-d044-4ab4-9e6f-8f065e0119c4" providerId="ADAL" clId="{B6745356-B6CF-45AA-ADCC-AC8F740A00DA}" dt="2022-07-26T11:50:03.763" v="63908"/>
          <ac:spMkLst>
            <pc:docMk/>
            <pc:sldMk cId="2410940153" sldId="706"/>
            <ac:spMk id="12" creationId="{2212BCF1-8936-4340-91A7-315E50A2F3FE}"/>
          </ac:spMkLst>
        </pc:spChg>
        <pc:spChg chg="add del mod modVis">
          <ac:chgData name="Matthäus Alberding" userId="89cdd4c9-d044-4ab4-9e6f-8f065e0119c4" providerId="ADAL" clId="{B6745356-B6CF-45AA-ADCC-AC8F740A00DA}" dt="2022-07-26T11:50:05.301" v="63952"/>
          <ac:spMkLst>
            <pc:docMk/>
            <pc:sldMk cId="2410940153" sldId="706"/>
            <ac:spMk id="13" creationId="{9BFD8081-E3D4-499F-842F-4EA172FEF5CC}"/>
          </ac:spMkLst>
        </pc:spChg>
        <pc:spChg chg="add del mod modVis">
          <ac:chgData name="Matthäus Alberding" userId="89cdd4c9-d044-4ab4-9e6f-8f065e0119c4" providerId="ADAL" clId="{B6745356-B6CF-45AA-ADCC-AC8F740A00DA}" dt="2022-07-26T11:50:07.263" v="64000"/>
          <ac:spMkLst>
            <pc:docMk/>
            <pc:sldMk cId="2410940153" sldId="706"/>
            <ac:spMk id="14" creationId="{B26D9942-1F6C-49D0-AC4D-1E0E4905CF34}"/>
          </ac:spMkLst>
        </pc:spChg>
        <pc:spChg chg="add del mod modVis">
          <ac:chgData name="Matthäus Alberding" userId="89cdd4c9-d044-4ab4-9e6f-8f065e0119c4" providerId="ADAL" clId="{B6745356-B6CF-45AA-ADCC-AC8F740A00DA}" dt="2022-07-26T11:50:09.107" v="64044"/>
          <ac:spMkLst>
            <pc:docMk/>
            <pc:sldMk cId="2410940153" sldId="706"/>
            <ac:spMk id="15" creationId="{09B18FBE-D6CB-445B-A2CC-5C2323D0289E}"/>
          </ac:spMkLst>
        </pc:spChg>
        <pc:spChg chg="add del mod modVis">
          <ac:chgData name="Matthäus Alberding" userId="89cdd4c9-d044-4ab4-9e6f-8f065e0119c4" providerId="ADAL" clId="{B6745356-B6CF-45AA-ADCC-AC8F740A00DA}" dt="2022-07-26T11:50:12.717" v="64093"/>
          <ac:spMkLst>
            <pc:docMk/>
            <pc:sldMk cId="2410940153" sldId="706"/>
            <ac:spMk id="16" creationId="{260618FD-527E-4DE2-9A3D-6D2C5B95012C}"/>
          </ac:spMkLst>
        </pc:spChg>
        <pc:spChg chg="add mod ord">
          <ac:chgData name="Matthäus Alberding" userId="89cdd4c9-d044-4ab4-9e6f-8f065e0119c4" providerId="ADAL" clId="{B6745356-B6CF-45AA-ADCC-AC8F740A00DA}" dt="2022-07-26T13:25:40.821" v="70535" actId="1076"/>
          <ac:spMkLst>
            <pc:docMk/>
            <pc:sldMk cId="2410940153" sldId="706"/>
            <ac:spMk id="20" creationId="{0747D1EC-FCDB-44D6-89A9-334D827BE066}"/>
          </ac:spMkLst>
        </pc:spChg>
        <pc:spChg chg="add del mod modVis">
          <ac:chgData name="Matthäus Alberding" userId="89cdd4c9-d044-4ab4-9e6f-8f065e0119c4" providerId="ADAL" clId="{B6745356-B6CF-45AA-ADCC-AC8F740A00DA}" dt="2022-07-26T13:23:53.111" v="70310"/>
          <ac:spMkLst>
            <pc:docMk/>
            <pc:sldMk cId="2410940153" sldId="706"/>
            <ac:spMk id="22" creationId="{E1756586-5C07-47AA-BA88-F9FFDB1F78D4}"/>
          </ac:spMkLst>
        </pc:spChg>
        <pc:spChg chg="add del mod modVis">
          <ac:chgData name="Matthäus Alberding" userId="89cdd4c9-d044-4ab4-9e6f-8f065e0119c4" providerId="ADAL" clId="{B6745356-B6CF-45AA-ADCC-AC8F740A00DA}" dt="2022-07-26T12:04:54.500" v="64230"/>
          <ac:spMkLst>
            <pc:docMk/>
            <pc:sldMk cId="2410940153" sldId="706"/>
            <ac:spMk id="24" creationId="{B566E79F-A25C-4C6E-A8F3-54489395CCB6}"/>
          </ac:spMkLst>
        </pc:spChg>
        <pc:spChg chg="add mod ord">
          <ac:chgData name="Matthäus Alberding" userId="89cdd4c9-d044-4ab4-9e6f-8f065e0119c4" providerId="ADAL" clId="{B6745356-B6CF-45AA-ADCC-AC8F740A00DA}" dt="2022-07-26T13:25:49.723" v="70538" actId="1076"/>
          <ac:spMkLst>
            <pc:docMk/>
            <pc:sldMk cId="2410940153" sldId="706"/>
            <ac:spMk id="24" creationId="{BBDF2C07-DAB9-4659-866A-CEB67F24CB47}"/>
          </ac:spMkLst>
        </pc:spChg>
        <pc:spChg chg="add del mod modVis">
          <ac:chgData name="Matthäus Alberding" userId="89cdd4c9-d044-4ab4-9e6f-8f065e0119c4" providerId="ADAL" clId="{B6745356-B6CF-45AA-ADCC-AC8F740A00DA}" dt="2022-07-26T13:23:53.638" v="70353"/>
          <ac:spMkLst>
            <pc:docMk/>
            <pc:sldMk cId="2410940153" sldId="706"/>
            <ac:spMk id="25" creationId="{63B72C98-2E25-451A-862C-6EBC85C42F68}"/>
          </ac:spMkLst>
        </pc:spChg>
        <pc:spChg chg="add del mod modVis">
          <ac:chgData name="Matthäus Alberding" userId="89cdd4c9-d044-4ab4-9e6f-8f065e0119c4" providerId="ADAL" clId="{B6745356-B6CF-45AA-ADCC-AC8F740A00DA}" dt="2022-07-26T12:05:00.883" v="64309"/>
          <ac:spMkLst>
            <pc:docMk/>
            <pc:sldMk cId="2410940153" sldId="706"/>
            <ac:spMk id="25" creationId="{86E5B7FA-AE2E-466D-8A77-92C99519B765}"/>
          </ac:spMkLst>
        </pc:spChg>
        <pc:spChg chg="add del mod modVis">
          <ac:chgData name="Matthäus Alberding" userId="89cdd4c9-d044-4ab4-9e6f-8f065e0119c4" providerId="ADAL" clId="{B6745356-B6CF-45AA-ADCC-AC8F740A00DA}" dt="2022-07-26T13:23:55.653" v="70397"/>
          <ac:spMkLst>
            <pc:docMk/>
            <pc:sldMk cId="2410940153" sldId="706"/>
            <ac:spMk id="26" creationId="{33203D10-BED4-43C9-8707-6C0CF400CB23}"/>
          </ac:spMkLst>
        </pc:spChg>
        <pc:spChg chg="add del mod modVis">
          <ac:chgData name="Matthäus Alberding" userId="89cdd4c9-d044-4ab4-9e6f-8f065e0119c4" providerId="ADAL" clId="{B6745356-B6CF-45AA-ADCC-AC8F740A00DA}" dt="2022-07-26T12:05:04.533" v="64357"/>
          <ac:spMkLst>
            <pc:docMk/>
            <pc:sldMk cId="2410940153" sldId="706"/>
            <ac:spMk id="26" creationId="{F0EEA5A6-861E-48C5-BC51-D3A4A343F19F}"/>
          </ac:spMkLst>
        </pc:spChg>
        <pc:spChg chg="add del mod modVis">
          <ac:chgData name="Matthäus Alberding" userId="89cdd4c9-d044-4ab4-9e6f-8f065e0119c4" providerId="ADAL" clId="{B6745356-B6CF-45AA-ADCC-AC8F740A00DA}" dt="2022-07-26T12:05:11.655" v="64446"/>
          <ac:spMkLst>
            <pc:docMk/>
            <pc:sldMk cId="2410940153" sldId="706"/>
            <ac:spMk id="27" creationId="{3D00216A-8C04-457C-99DC-77C07CA60771}"/>
          </ac:spMkLst>
        </pc:spChg>
        <pc:spChg chg="add del mod modVis">
          <ac:chgData name="Matthäus Alberding" userId="89cdd4c9-d044-4ab4-9e6f-8f065e0119c4" providerId="ADAL" clId="{B6745356-B6CF-45AA-ADCC-AC8F740A00DA}" dt="2022-07-26T13:24:20.598" v="70483"/>
          <ac:spMkLst>
            <pc:docMk/>
            <pc:sldMk cId="2410940153" sldId="706"/>
            <ac:spMk id="27" creationId="{C4319EF2-1E2C-4C8B-83C7-696FCDC5029E}"/>
          </ac:spMkLst>
        </pc:spChg>
        <pc:spChg chg="del mod modVis">
          <ac:chgData name="Matthäus Alberding" userId="89cdd4c9-d044-4ab4-9e6f-8f065e0119c4" providerId="ADAL" clId="{B6745356-B6CF-45AA-ADCC-AC8F740A00DA}" dt="2022-07-26T12:05:14.717" v="64485" actId="478"/>
          <ac:spMkLst>
            <pc:docMk/>
            <pc:sldMk cId="2410940153" sldId="706"/>
            <ac:spMk id="28" creationId="{B71D10E0-A791-4432-9A7A-125628F87F1F}"/>
          </ac:spMkLst>
        </pc:spChg>
        <pc:spChg chg="add del mod modVis">
          <ac:chgData name="Matthäus Alberding" userId="89cdd4c9-d044-4ab4-9e6f-8f065e0119c4" providerId="ADAL" clId="{B6745356-B6CF-45AA-ADCC-AC8F740A00DA}" dt="2022-07-26T13:25:37.533" v="70532"/>
          <ac:spMkLst>
            <pc:docMk/>
            <pc:sldMk cId="2410940153" sldId="706"/>
            <ac:spMk id="28" creationId="{D223B836-D7D2-4EC7-8C22-341587F1994C}"/>
          </ac:spMkLst>
        </pc:spChg>
        <pc:spChg chg="add del mod modVis">
          <ac:chgData name="Matthäus Alberding" userId="89cdd4c9-d044-4ab4-9e6f-8f065e0119c4" providerId="ADAL" clId="{B6745356-B6CF-45AA-ADCC-AC8F740A00DA}" dt="2022-07-26T12:05:17.339" v="64527"/>
          <ac:spMkLst>
            <pc:docMk/>
            <pc:sldMk cId="2410940153" sldId="706"/>
            <ac:spMk id="29" creationId="{3AB44D40-73CA-492F-8739-F92051090990}"/>
          </ac:spMkLst>
        </pc:spChg>
        <pc:spChg chg="add mod">
          <ac:chgData name="Matthäus Alberding" userId="89cdd4c9-d044-4ab4-9e6f-8f065e0119c4" providerId="ADAL" clId="{B6745356-B6CF-45AA-ADCC-AC8F740A00DA}" dt="2022-07-26T13:33:11.213" v="70961" actId="1076"/>
          <ac:spMkLst>
            <pc:docMk/>
            <pc:sldMk cId="2410940153" sldId="706"/>
            <ac:spMk id="30" creationId="{53AD324C-0E2F-4868-9DE0-A5AAB140B56E}"/>
          </ac:spMkLst>
        </pc:spChg>
        <pc:spChg chg="add del mod modVis">
          <ac:chgData name="Matthäus Alberding" userId="89cdd4c9-d044-4ab4-9e6f-8f065e0119c4" providerId="ADAL" clId="{B6745356-B6CF-45AA-ADCC-AC8F740A00DA}" dt="2022-07-26T12:05:25.082" v="64570"/>
          <ac:spMkLst>
            <pc:docMk/>
            <pc:sldMk cId="2410940153" sldId="706"/>
            <ac:spMk id="30" creationId="{F3E34499-415D-4ECD-AAC6-078C9BEC2B22}"/>
          </ac:spMkLst>
        </pc:spChg>
        <pc:spChg chg="add mod">
          <ac:chgData name="Matthäus Alberding" userId="89cdd4c9-d044-4ab4-9e6f-8f065e0119c4" providerId="ADAL" clId="{B6745356-B6CF-45AA-ADCC-AC8F740A00DA}" dt="2022-07-26T13:33:15.838" v="70969" actId="20577"/>
          <ac:spMkLst>
            <pc:docMk/>
            <pc:sldMk cId="2410940153" sldId="706"/>
            <ac:spMk id="31" creationId="{83A7BEFB-7AB9-4466-9A12-551393127402}"/>
          </ac:spMkLst>
        </pc:spChg>
        <pc:graphicFrameChg chg="add mod ord modVis">
          <ac:chgData name="Matthäus Alberding" userId="89cdd4c9-d044-4ab4-9e6f-8f065e0119c4" providerId="ADAL" clId="{B6745356-B6CF-45AA-ADCC-AC8F740A00DA}" dt="2022-07-26T13:25:37.534" v="70534"/>
          <ac:graphicFrameMkLst>
            <pc:docMk/>
            <pc:sldMk cId="2410940153" sldId="706"/>
            <ac:graphicFrameMk id="6" creationId="{26924653-280A-4BA3-9914-E69864588682}"/>
          </ac:graphicFrameMkLst>
        </pc:graphicFrameChg>
        <pc:picChg chg="add del mod ord">
          <ac:chgData name="Matthäus Alberding" userId="89cdd4c9-d044-4ab4-9e6f-8f065e0119c4" providerId="ADAL" clId="{B6745356-B6CF-45AA-ADCC-AC8F740A00DA}" dt="2022-07-26T13:25:34.541" v="70490" actId="478"/>
          <ac:picMkLst>
            <pc:docMk/>
            <pc:sldMk cId="2410940153" sldId="706"/>
            <ac:picMk id="8" creationId="{D17C78F4-70BE-4A8B-A623-4111717A115F}"/>
          </ac:picMkLst>
        </pc:picChg>
        <pc:picChg chg="add mod ord">
          <ac:chgData name="Matthäus Alberding" userId="89cdd4c9-d044-4ab4-9e6f-8f065e0119c4" providerId="ADAL" clId="{B6745356-B6CF-45AA-ADCC-AC8F740A00DA}" dt="2022-07-26T13:25:40.821" v="70535" actId="1076"/>
          <ac:picMkLst>
            <pc:docMk/>
            <pc:sldMk cId="2410940153" sldId="706"/>
            <ac:picMk id="18" creationId="{4F9DE18C-57E5-4AF8-B714-00F32A1B896E}"/>
          </ac:picMkLst>
        </pc:picChg>
        <pc:picChg chg="add mod ord">
          <ac:chgData name="Matthäus Alberding" userId="89cdd4c9-d044-4ab4-9e6f-8f065e0119c4" providerId="ADAL" clId="{B6745356-B6CF-45AA-ADCC-AC8F740A00DA}" dt="2022-07-26T13:25:40.821" v="70535" actId="1076"/>
          <ac:picMkLst>
            <pc:docMk/>
            <pc:sldMk cId="2410940153" sldId="706"/>
            <ac:picMk id="19" creationId="{3490B8D8-24F3-4867-926F-A9C08028B85D}"/>
          </ac:picMkLst>
        </pc:picChg>
        <pc:picChg chg="add mod ord">
          <ac:chgData name="Matthäus Alberding" userId="89cdd4c9-d044-4ab4-9e6f-8f065e0119c4" providerId="ADAL" clId="{B6745356-B6CF-45AA-ADCC-AC8F740A00DA}" dt="2022-07-26T13:25:47.887" v="70537" actId="1076"/>
          <ac:picMkLst>
            <pc:docMk/>
            <pc:sldMk cId="2410940153" sldId="706"/>
            <ac:picMk id="21" creationId="{5D9E98DB-690F-4418-A320-42FD431EBA3C}"/>
          </ac:picMkLst>
        </pc:picChg>
        <pc:picChg chg="add mod ord">
          <ac:chgData name="Matthäus Alberding" userId="89cdd4c9-d044-4ab4-9e6f-8f065e0119c4" providerId="ADAL" clId="{B6745356-B6CF-45AA-ADCC-AC8F740A00DA}" dt="2022-07-26T13:25:40.821" v="70535" actId="1076"/>
          <ac:picMkLst>
            <pc:docMk/>
            <pc:sldMk cId="2410940153" sldId="706"/>
            <ac:picMk id="23" creationId="{9D39A0DB-C198-4440-B500-63D04B842D8C}"/>
          </ac:picMkLst>
        </pc:picChg>
        <pc:cxnChg chg="add del mod">
          <ac:chgData name="Matthäus Alberding" userId="89cdd4c9-d044-4ab4-9e6f-8f065e0119c4" providerId="ADAL" clId="{B6745356-B6CF-45AA-ADCC-AC8F740A00DA}" dt="2022-07-26T13:10:12.917" v="67369" actId="478"/>
          <ac:cxnSpMkLst>
            <pc:docMk/>
            <pc:sldMk cId="2410940153" sldId="706"/>
            <ac:cxnSpMk id="13" creationId="{1625C635-5707-4615-BB57-D3A7566EA81A}"/>
          </ac:cxnSpMkLst>
        </pc:cxnChg>
        <pc:cxnChg chg="add mod ord">
          <ac:chgData name="Matthäus Alberding" userId="89cdd4c9-d044-4ab4-9e6f-8f065e0119c4" providerId="ADAL" clId="{B6745356-B6CF-45AA-ADCC-AC8F740A00DA}" dt="2022-07-26T13:25:51.253" v="70539" actId="14100"/>
          <ac:cxnSpMkLst>
            <pc:docMk/>
            <pc:sldMk cId="2410940153" sldId="706"/>
            <ac:cxnSpMk id="15" creationId="{D543E2CC-7FD6-4201-99C0-E4BDBE037DB5}"/>
          </ac:cxnSpMkLst>
        </pc:cxnChg>
        <pc:cxnChg chg="add mod ord">
          <ac:chgData name="Matthäus Alberding" userId="89cdd4c9-d044-4ab4-9e6f-8f065e0119c4" providerId="ADAL" clId="{B6745356-B6CF-45AA-ADCC-AC8F740A00DA}" dt="2022-07-26T13:25:40.821" v="70535" actId="1076"/>
          <ac:cxnSpMkLst>
            <pc:docMk/>
            <pc:sldMk cId="2410940153" sldId="706"/>
            <ac:cxnSpMk id="17" creationId="{04395F39-1787-48A7-8B35-2301465FB104}"/>
          </ac:cxnSpMkLst>
        </pc:cxnChg>
      </pc:sldChg>
      <pc:sldChg chg="addSp delSp modSp new add mod ord modTransition modShow">
        <pc:chgData name="Matthäus Alberding" userId="89cdd4c9-d044-4ab4-9e6f-8f065e0119c4" providerId="ADAL" clId="{B6745356-B6CF-45AA-ADCC-AC8F740A00DA}" dt="2022-07-26T13:34:23.579" v="71086"/>
        <pc:sldMkLst>
          <pc:docMk/>
          <pc:sldMk cId="2783016307" sldId="707"/>
        </pc:sldMkLst>
        <pc:spChg chg="mod">
          <ac:chgData name="Matthäus Alberding" userId="89cdd4c9-d044-4ab4-9e6f-8f065e0119c4" providerId="ADAL" clId="{B6745356-B6CF-45AA-ADCC-AC8F740A00DA}" dt="2022-07-26T13:34:10.531" v="71038" actId="948"/>
          <ac:spMkLst>
            <pc:docMk/>
            <pc:sldMk cId="2783016307" sldId="707"/>
            <ac:spMk id="4" creationId="{481E06D8-9634-4E4C-9E4D-1DD2B30D6663}"/>
          </ac:spMkLst>
        </pc:spChg>
        <pc:spChg chg="mod">
          <ac:chgData name="Matthäus Alberding" userId="89cdd4c9-d044-4ab4-9e6f-8f065e0119c4" providerId="ADAL" clId="{B6745356-B6CF-45AA-ADCC-AC8F740A00DA}" dt="2022-07-26T13:32:13.858" v="70946" actId="20577"/>
          <ac:spMkLst>
            <pc:docMk/>
            <pc:sldMk cId="2783016307" sldId="707"/>
            <ac:spMk id="5" creationId="{BAB24414-2A8D-401D-BB56-2517CC47466A}"/>
          </ac:spMkLst>
        </pc:spChg>
        <pc:spChg chg="add del mod modVis">
          <ac:chgData name="Matthäus Alberding" userId="89cdd4c9-d044-4ab4-9e6f-8f065e0119c4" providerId="ADAL" clId="{B6745356-B6CF-45AA-ADCC-AC8F740A00DA}" dt="2022-07-26T13:04:17.894" v="66939"/>
          <ac:spMkLst>
            <pc:docMk/>
            <pc:sldMk cId="2783016307" sldId="707"/>
            <ac:spMk id="6" creationId="{6B0FC825-D801-4F2D-AC57-F7DC82A808F9}"/>
          </ac:spMkLst>
        </pc:spChg>
        <pc:spChg chg="add del mod modVis">
          <ac:chgData name="Matthäus Alberding" userId="89cdd4c9-d044-4ab4-9e6f-8f065e0119c4" providerId="ADAL" clId="{B6745356-B6CF-45AA-ADCC-AC8F740A00DA}" dt="2022-07-26T12:05:46.540" v="64627"/>
          <ac:spMkLst>
            <pc:docMk/>
            <pc:sldMk cId="2783016307" sldId="707"/>
            <ac:spMk id="6" creationId="{FAC99B1C-ECEA-45FA-8AC8-DABDCD0F91B4}"/>
          </ac:spMkLst>
        </pc:spChg>
        <pc:spChg chg="add del mod modVis">
          <ac:chgData name="Matthäus Alberding" userId="89cdd4c9-d044-4ab4-9e6f-8f065e0119c4" providerId="ADAL" clId="{B6745356-B6CF-45AA-ADCC-AC8F740A00DA}" dt="2022-07-26T12:05:54.714" v="64697"/>
          <ac:spMkLst>
            <pc:docMk/>
            <pc:sldMk cId="2783016307" sldId="707"/>
            <ac:spMk id="8" creationId="{0C9004F0-54DE-4D5B-820A-2352988CA8B7}"/>
          </ac:spMkLst>
        </pc:spChg>
        <pc:spChg chg="add del mod modVis">
          <ac:chgData name="Matthäus Alberding" userId="89cdd4c9-d044-4ab4-9e6f-8f065e0119c4" providerId="ADAL" clId="{B6745356-B6CF-45AA-ADCC-AC8F740A00DA}" dt="2022-07-26T13:31:40.583" v="70593"/>
          <ac:spMkLst>
            <pc:docMk/>
            <pc:sldMk cId="2783016307" sldId="707"/>
            <ac:spMk id="8" creationId="{A9ABAC3B-2266-4741-B909-4A8B5EB78DD8}"/>
          </ac:spMkLst>
        </pc:spChg>
        <pc:spChg chg="add del mod modVis">
          <ac:chgData name="Matthäus Alberding" userId="89cdd4c9-d044-4ab4-9e6f-8f065e0119c4" providerId="ADAL" clId="{B6745356-B6CF-45AA-ADCC-AC8F740A00DA}" dt="2022-07-26T12:05:55.528" v="64741"/>
          <ac:spMkLst>
            <pc:docMk/>
            <pc:sldMk cId="2783016307" sldId="707"/>
            <ac:spMk id="9" creationId="{AC5A848F-9ADD-49ED-9D79-98273DA0BC23}"/>
          </ac:spMkLst>
        </pc:spChg>
        <pc:spChg chg="add del mod modVis">
          <ac:chgData name="Matthäus Alberding" userId="89cdd4c9-d044-4ab4-9e6f-8f065e0119c4" providerId="ADAL" clId="{B6745356-B6CF-45AA-ADCC-AC8F740A00DA}" dt="2022-07-26T13:31:44.231" v="70636"/>
          <ac:spMkLst>
            <pc:docMk/>
            <pc:sldMk cId="2783016307" sldId="707"/>
            <ac:spMk id="9" creationId="{F51B5459-6718-4523-A0AD-81ADFBFE3119}"/>
          </ac:spMkLst>
        </pc:spChg>
        <pc:spChg chg="add del mod modVis">
          <ac:chgData name="Matthäus Alberding" userId="89cdd4c9-d044-4ab4-9e6f-8f065e0119c4" providerId="ADAL" clId="{B6745356-B6CF-45AA-ADCC-AC8F740A00DA}" dt="2022-07-26T12:06:02.955" v="64792"/>
          <ac:spMkLst>
            <pc:docMk/>
            <pc:sldMk cId="2783016307" sldId="707"/>
            <ac:spMk id="10" creationId="{023924A0-847F-4A8D-9657-1B825EE51750}"/>
          </ac:spMkLst>
        </pc:spChg>
        <pc:spChg chg="add del mod modVis">
          <ac:chgData name="Matthäus Alberding" userId="89cdd4c9-d044-4ab4-9e6f-8f065e0119c4" providerId="ADAL" clId="{B6745356-B6CF-45AA-ADCC-AC8F740A00DA}" dt="2022-07-26T13:31:46.135" v="70684"/>
          <ac:spMkLst>
            <pc:docMk/>
            <pc:sldMk cId="2783016307" sldId="707"/>
            <ac:spMk id="10" creationId="{BD905012-4AF1-4922-82D7-13D03C5021BC}"/>
          </ac:spMkLst>
        </pc:spChg>
        <pc:spChg chg="add del mod modVis">
          <ac:chgData name="Matthäus Alberding" userId="89cdd4c9-d044-4ab4-9e6f-8f065e0119c4" providerId="ADAL" clId="{B6745356-B6CF-45AA-ADCC-AC8F740A00DA}" dt="2022-07-26T12:06:07.162" v="64845"/>
          <ac:spMkLst>
            <pc:docMk/>
            <pc:sldMk cId="2783016307" sldId="707"/>
            <ac:spMk id="11" creationId="{91682DEA-D490-4CC5-BFB1-C4B56E261FEC}"/>
          </ac:spMkLst>
        </pc:spChg>
        <pc:spChg chg="add del mod modVis">
          <ac:chgData name="Matthäus Alberding" userId="89cdd4c9-d044-4ab4-9e6f-8f065e0119c4" providerId="ADAL" clId="{B6745356-B6CF-45AA-ADCC-AC8F740A00DA}" dt="2022-07-26T13:31:48.683" v="70738"/>
          <ac:spMkLst>
            <pc:docMk/>
            <pc:sldMk cId="2783016307" sldId="707"/>
            <ac:spMk id="11" creationId="{E10A9DC3-D7C4-40D2-9DED-ECB5C4F7D237}"/>
          </ac:spMkLst>
        </pc:spChg>
        <pc:spChg chg="add del mod modVis">
          <ac:chgData name="Matthäus Alberding" userId="89cdd4c9-d044-4ab4-9e6f-8f065e0119c4" providerId="ADAL" clId="{B6745356-B6CF-45AA-ADCC-AC8F740A00DA}" dt="2022-07-26T13:31:50.569" v="70792"/>
          <ac:spMkLst>
            <pc:docMk/>
            <pc:sldMk cId="2783016307" sldId="707"/>
            <ac:spMk id="12" creationId="{0EFD3509-9C1C-43FA-890F-CDA2AB4896C4}"/>
          </ac:spMkLst>
        </pc:spChg>
        <pc:spChg chg="add del mod modVis">
          <ac:chgData name="Matthäus Alberding" userId="89cdd4c9-d044-4ab4-9e6f-8f065e0119c4" providerId="ADAL" clId="{B6745356-B6CF-45AA-ADCC-AC8F740A00DA}" dt="2022-07-26T12:06:07.701" v="64888"/>
          <ac:spMkLst>
            <pc:docMk/>
            <pc:sldMk cId="2783016307" sldId="707"/>
            <ac:spMk id="12" creationId="{CC4CFC3B-B878-4518-856F-D029C3CB1F26}"/>
          </ac:spMkLst>
        </pc:spChg>
        <pc:spChg chg="add del mod modVis">
          <ac:chgData name="Matthäus Alberding" userId="89cdd4c9-d044-4ab4-9e6f-8f065e0119c4" providerId="ADAL" clId="{B6745356-B6CF-45AA-ADCC-AC8F740A00DA}" dt="2022-07-26T13:32:01.799" v="70899"/>
          <ac:spMkLst>
            <pc:docMk/>
            <pc:sldMk cId="2783016307" sldId="707"/>
            <ac:spMk id="13" creationId="{BAADC85B-4E86-47E6-A84D-BBB89EB2C544}"/>
          </ac:spMkLst>
        </pc:spChg>
        <pc:spChg chg="add del mod modVis">
          <ac:chgData name="Matthäus Alberding" userId="89cdd4c9-d044-4ab4-9e6f-8f065e0119c4" providerId="ADAL" clId="{B6745356-B6CF-45AA-ADCC-AC8F740A00DA}" dt="2022-07-26T12:06:09.696" v="64943"/>
          <ac:spMkLst>
            <pc:docMk/>
            <pc:sldMk cId="2783016307" sldId="707"/>
            <ac:spMk id="13" creationId="{EED56598-6764-4D76-AFC0-910E39F2F1E6}"/>
          </ac:spMkLst>
        </pc:spChg>
        <pc:spChg chg="add del mod modVis">
          <ac:chgData name="Matthäus Alberding" userId="89cdd4c9-d044-4ab4-9e6f-8f065e0119c4" providerId="ADAL" clId="{B6745356-B6CF-45AA-ADCC-AC8F740A00DA}" dt="2022-07-26T13:32:07.579" v="70942"/>
          <ac:spMkLst>
            <pc:docMk/>
            <pc:sldMk cId="2783016307" sldId="707"/>
            <ac:spMk id="14" creationId="{C8F82CD7-4B9D-4D27-980C-33E82B7095B0}"/>
          </ac:spMkLst>
        </pc:spChg>
        <pc:spChg chg="add mod">
          <ac:chgData name="Matthäus Alberding" userId="89cdd4c9-d044-4ab4-9e6f-8f065e0119c4" providerId="ADAL" clId="{B6745356-B6CF-45AA-ADCC-AC8F740A00DA}" dt="2022-07-26T13:34:19.733" v="71084" actId="1076"/>
          <ac:spMkLst>
            <pc:docMk/>
            <pc:sldMk cId="2783016307" sldId="707"/>
            <ac:spMk id="19" creationId="{7F4ACF08-7637-42B6-A707-CCEB00CA725B}"/>
          </ac:spMkLst>
        </pc:spChg>
        <pc:spChg chg="add del mod modVis">
          <ac:chgData name="Matthäus Alberding" userId="89cdd4c9-d044-4ab4-9e6f-8f065e0119c4" providerId="ADAL" clId="{B6745356-B6CF-45AA-ADCC-AC8F740A00DA}" dt="2022-07-26T13:34:08.483" v="71031"/>
          <ac:spMkLst>
            <pc:docMk/>
            <pc:sldMk cId="2783016307" sldId="707"/>
            <ac:spMk id="20" creationId="{F328296C-BE5E-4FE7-95BE-61CF2DE8F463}"/>
          </ac:spMkLst>
        </pc:spChg>
        <pc:spChg chg="add del mod modVis">
          <ac:chgData name="Matthäus Alberding" userId="89cdd4c9-d044-4ab4-9e6f-8f065e0119c4" providerId="ADAL" clId="{B6745356-B6CF-45AA-ADCC-AC8F740A00DA}" dt="2022-07-26T13:34:10.547" v="71077"/>
          <ac:spMkLst>
            <pc:docMk/>
            <pc:sldMk cId="2783016307" sldId="707"/>
            <ac:spMk id="21" creationId="{4A425561-8069-49B0-B1A3-F4CA0AADF193}"/>
          </ac:spMkLst>
        </pc:spChg>
        <pc:graphicFrameChg chg="add mod ord modVis">
          <ac:chgData name="Matthäus Alberding" userId="89cdd4c9-d044-4ab4-9e6f-8f065e0119c4" providerId="ADAL" clId="{B6745356-B6CF-45AA-ADCC-AC8F740A00DA}" dt="2022-07-26T13:34:10.548" v="71079"/>
          <ac:graphicFrameMkLst>
            <pc:docMk/>
            <pc:sldMk cId="2783016307" sldId="707"/>
            <ac:graphicFrameMk id="7" creationId="{07292561-CD7A-40BE-977E-C4444DB00411}"/>
          </ac:graphicFrameMkLst>
        </pc:graphicFrameChg>
        <pc:picChg chg="add mod">
          <ac:chgData name="Matthäus Alberding" userId="89cdd4c9-d044-4ab4-9e6f-8f065e0119c4" providerId="ADAL" clId="{B6745356-B6CF-45AA-ADCC-AC8F740A00DA}" dt="2022-07-26T13:34:16.125" v="71082" actId="1076"/>
          <ac:picMkLst>
            <pc:docMk/>
            <pc:sldMk cId="2783016307" sldId="707"/>
            <ac:picMk id="16" creationId="{6CA75D08-6567-4687-8594-0DC4641F7F8B}"/>
          </ac:picMkLst>
        </pc:picChg>
        <pc:picChg chg="add mod">
          <ac:chgData name="Matthäus Alberding" userId="89cdd4c9-d044-4ab4-9e6f-8f065e0119c4" providerId="ADAL" clId="{B6745356-B6CF-45AA-ADCC-AC8F740A00DA}" dt="2022-07-26T13:34:18.166" v="71083" actId="1076"/>
          <ac:picMkLst>
            <pc:docMk/>
            <pc:sldMk cId="2783016307" sldId="707"/>
            <ac:picMk id="18" creationId="{9A4EE709-986C-49E8-9877-4D0AEB434451}"/>
          </ac:picMkLst>
        </pc:picChg>
      </pc:sldChg>
      <pc:sldChg chg="add del ord">
        <pc:chgData name="Matthäus Alberding" userId="89cdd4c9-d044-4ab4-9e6f-8f065e0119c4" providerId="ADAL" clId="{B6745356-B6CF-45AA-ADCC-AC8F740A00DA}" dt="2022-07-26T13:02:57.990" v="66602" actId="47"/>
        <pc:sldMkLst>
          <pc:docMk/>
          <pc:sldMk cId="982369626" sldId="708"/>
        </pc:sldMkLst>
      </pc:sldChg>
      <pc:sldChg chg="addSp delSp modSp new add mod modClrScheme chgLayout">
        <pc:chgData name="Matthäus Alberding" userId="89cdd4c9-d044-4ab4-9e6f-8f065e0119c4" providerId="ADAL" clId="{B6745356-B6CF-45AA-ADCC-AC8F740A00DA}" dt="2022-07-29T09:24:40.603" v="103984"/>
        <pc:sldMkLst>
          <pc:docMk/>
          <pc:sldMk cId="1205009463" sldId="709"/>
        </pc:sldMkLst>
        <pc:spChg chg="mod ord">
          <ac:chgData name="Matthäus Alberding" userId="89cdd4c9-d044-4ab4-9e6f-8f065e0119c4" providerId="ADAL" clId="{B6745356-B6CF-45AA-ADCC-AC8F740A00DA}" dt="2022-07-26T12:36:01.075" v="65237"/>
          <ac:spMkLst>
            <pc:docMk/>
            <pc:sldMk cId="1205009463" sldId="709"/>
            <ac:spMk id="2" creationId="{E7B5A4F7-3272-4588-B547-3A77FADABCD8}"/>
          </ac:spMkLst>
        </pc:spChg>
        <pc:spChg chg="mod ord">
          <ac:chgData name="Matthäus Alberding" userId="89cdd4c9-d044-4ab4-9e6f-8f065e0119c4" providerId="ADAL" clId="{B6745356-B6CF-45AA-ADCC-AC8F740A00DA}" dt="2022-07-26T12:36:01.075" v="65237"/>
          <ac:spMkLst>
            <pc:docMk/>
            <pc:sldMk cId="1205009463" sldId="709"/>
            <ac:spMk id="3" creationId="{B0694351-4FDA-4AE2-8A03-FBDF62AED0D1}"/>
          </ac:spMkLst>
        </pc:spChg>
        <pc:spChg chg="del mod ord">
          <ac:chgData name="Matthäus Alberding" userId="89cdd4c9-d044-4ab4-9e6f-8f065e0119c4" providerId="ADAL" clId="{B6745356-B6CF-45AA-ADCC-AC8F740A00DA}" dt="2022-07-26T12:36:01.075" v="65237"/>
          <ac:spMkLst>
            <pc:docMk/>
            <pc:sldMk cId="1205009463" sldId="709"/>
            <ac:spMk id="4" creationId="{AC435413-F29B-4C5D-8FD2-1B8B34560DE3}"/>
          </ac:spMkLst>
        </pc:spChg>
        <pc:spChg chg="add del mod modVis">
          <ac:chgData name="Matthäus Alberding" userId="89cdd4c9-d044-4ab4-9e6f-8f065e0119c4" providerId="ADAL" clId="{B6745356-B6CF-45AA-ADCC-AC8F740A00DA}" dt="2022-07-27T07:27:14.069" v="98741"/>
          <ac:spMkLst>
            <pc:docMk/>
            <pc:sldMk cId="1205009463" sldId="709"/>
            <ac:spMk id="4" creationId="{C2A2FCA2-CBEE-4425-BB8D-2934F8301AB4}"/>
          </ac:spMkLst>
        </pc:spChg>
        <pc:spChg chg="add del mod modVis">
          <ac:chgData name="Matthäus Alberding" userId="89cdd4c9-d044-4ab4-9e6f-8f065e0119c4" providerId="ADAL" clId="{B6745356-B6CF-45AA-ADCC-AC8F740A00DA}" dt="2022-07-29T09:24:40.602" v="103982"/>
          <ac:spMkLst>
            <pc:docMk/>
            <pc:sldMk cId="1205009463" sldId="709"/>
            <ac:spMk id="4" creationId="{C436BD95-445E-4333-A454-5A5CFEF6AAFC}"/>
          </ac:spMkLst>
        </pc:spChg>
        <pc:spChg chg="del mod ord">
          <ac:chgData name="Matthäus Alberding" userId="89cdd4c9-d044-4ab4-9e6f-8f065e0119c4" providerId="ADAL" clId="{B6745356-B6CF-45AA-ADCC-AC8F740A00DA}" dt="2022-07-26T12:36:01.075" v="65237"/>
          <ac:spMkLst>
            <pc:docMk/>
            <pc:sldMk cId="1205009463" sldId="709"/>
            <ac:spMk id="5" creationId="{14C9FA49-BCE8-45F8-BD0C-108A9ECC6A15}"/>
          </ac:spMkLst>
        </pc:spChg>
        <pc:spChg chg="add mod ord">
          <ac:chgData name="Matthäus Alberding" userId="89cdd4c9-d044-4ab4-9e6f-8f065e0119c4" providerId="ADAL" clId="{B6745356-B6CF-45AA-ADCC-AC8F740A00DA}" dt="2022-07-29T09:24:40.584" v="103943" actId="948"/>
          <ac:spMkLst>
            <pc:docMk/>
            <pc:sldMk cId="1205009463" sldId="709"/>
            <ac:spMk id="6" creationId="{0B867C63-6C8F-4AE3-A805-60035E8F81B9}"/>
          </ac:spMkLst>
        </pc:spChg>
        <pc:spChg chg="add mod ord">
          <ac:chgData name="Matthäus Alberding" userId="89cdd4c9-d044-4ab4-9e6f-8f065e0119c4" providerId="ADAL" clId="{B6745356-B6CF-45AA-ADCC-AC8F740A00DA}" dt="2022-07-26T12:38:23" v="65458" actId="1076"/>
          <ac:spMkLst>
            <pc:docMk/>
            <pc:sldMk cId="1205009463" sldId="709"/>
            <ac:spMk id="7" creationId="{394F0CB7-71FC-4C42-AE68-DCA8544DB532}"/>
          </ac:spMkLst>
        </pc:spChg>
        <pc:spChg chg="add mod ord">
          <ac:chgData name="Matthäus Alberding" userId="89cdd4c9-d044-4ab4-9e6f-8f065e0119c4" providerId="ADAL" clId="{B6745356-B6CF-45AA-ADCC-AC8F740A00DA}" dt="2022-07-26T13:06:00.317" v="67099" actId="20577"/>
          <ac:spMkLst>
            <pc:docMk/>
            <pc:sldMk cId="1205009463" sldId="709"/>
            <ac:spMk id="8" creationId="{A0EF5E84-5869-4DFD-B7A7-E0B8928C5C3F}"/>
          </ac:spMkLst>
        </pc:spChg>
        <pc:spChg chg="add mod ord">
          <ac:chgData name="Matthäus Alberding" userId="89cdd4c9-d044-4ab4-9e6f-8f065e0119c4" providerId="ADAL" clId="{B6745356-B6CF-45AA-ADCC-AC8F740A00DA}" dt="2022-07-26T12:38:08.426" v="65456" actId="20577"/>
          <ac:spMkLst>
            <pc:docMk/>
            <pc:sldMk cId="1205009463" sldId="709"/>
            <ac:spMk id="9" creationId="{3D4F32F9-7189-4B22-A40E-521071FC04FC}"/>
          </ac:spMkLst>
        </pc:spChg>
        <pc:spChg chg="add del mod ord">
          <ac:chgData name="Matthäus Alberding" userId="89cdd4c9-d044-4ab4-9e6f-8f065e0119c4" providerId="ADAL" clId="{B6745356-B6CF-45AA-ADCC-AC8F740A00DA}" dt="2022-07-26T13:06:30.409" v="67114" actId="1076"/>
          <ac:spMkLst>
            <pc:docMk/>
            <pc:sldMk cId="1205009463" sldId="709"/>
            <ac:spMk id="10" creationId="{3EABC1B3-7DF2-4A78-9F66-F230DFFAB19D}"/>
          </ac:spMkLst>
        </pc:spChg>
        <pc:spChg chg="add del mod ord">
          <ac:chgData name="Matthäus Alberding" userId="89cdd4c9-d044-4ab4-9e6f-8f065e0119c4" providerId="ADAL" clId="{B6745356-B6CF-45AA-ADCC-AC8F740A00DA}" dt="2022-07-26T13:07:16.398" v="67197" actId="20577"/>
          <ac:spMkLst>
            <pc:docMk/>
            <pc:sldMk cId="1205009463" sldId="709"/>
            <ac:spMk id="11" creationId="{F09FF309-F035-4270-90C8-20E76B16E88D}"/>
          </ac:spMkLst>
        </pc:spChg>
        <pc:spChg chg="add del mod">
          <ac:chgData name="Matthäus Alberding" userId="89cdd4c9-d044-4ab4-9e6f-8f065e0119c4" providerId="ADAL" clId="{B6745356-B6CF-45AA-ADCC-AC8F740A00DA}" dt="2022-07-26T12:37:20.217" v="65354" actId="478"/>
          <ac:spMkLst>
            <pc:docMk/>
            <pc:sldMk cId="1205009463" sldId="709"/>
            <ac:spMk id="14" creationId="{4EB8FF7B-FA4A-431F-8F80-48DEB5BB7352}"/>
          </ac:spMkLst>
        </pc:spChg>
        <pc:spChg chg="add del mod">
          <ac:chgData name="Matthäus Alberding" userId="89cdd4c9-d044-4ab4-9e6f-8f065e0119c4" providerId="ADAL" clId="{B6745356-B6CF-45AA-ADCC-AC8F740A00DA}" dt="2022-07-26T12:37:29.786" v="65360" actId="478"/>
          <ac:spMkLst>
            <pc:docMk/>
            <pc:sldMk cId="1205009463" sldId="709"/>
            <ac:spMk id="15" creationId="{0B8C2552-F87A-4448-B3F1-0C1FC7C84959}"/>
          </ac:spMkLst>
        </pc:spChg>
        <pc:spChg chg="add del">
          <ac:chgData name="Matthäus Alberding" userId="89cdd4c9-d044-4ab4-9e6f-8f065e0119c4" providerId="ADAL" clId="{B6745356-B6CF-45AA-ADCC-AC8F740A00DA}" dt="2022-07-26T12:37:35.006" v="65363" actId="478"/>
          <ac:spMkLst>
            <pc:docMk/>
            <pc:sldMk cId="1205009463" sldId="709"/>
            <ac:spMk id="18" creationId="{CCD5F91F-D3DC-47DE-A0AA-8674352D58A2}"/>
          </ac:spMkLst>
        </pc:spChg>
        <pc:spChg chg="add mod">
          <ac:chgData name="Matthäus Alberding" userId="89cdd4c9-d044-4ab4-9e6f-8f065e0119c4" providerId="ADAL" clId="{B6745356-B6CF-45AA-ADCC-AC8F740A00DA}" dt="2022-07-26T13:07:21.185" v="67198" actId="1076"/>
          <ac:spMkLst>
            <pc:docMk/>
            <pc:sldMk cId="1205009463" sldId="709"/>
            <ac:spMk id="19" creationId="{204FB70F-C859-4AE8-8070-A1A34386810B}"/>
          </ac:spMkLst>
        </pc:spChg>
        <pc:spChg chg="add mod">
          <ac:chgData name="Matthäus Alberding" userId="89cdd4c9-d044-4ab4-9e6f-8f065e0119c4" providerId="ADAL" clId="{B6745356-B6CF-45AA-ADCC-AC8F740A00DA}" dt="2022-07-26T13:07:21.185" v="67198" actId="1076"/>
          <ac:spMkLst>
            <pc:docMk/>
            <pc:sldMk cId="1205009463" sldId="709"/>
            <ac:spMk id="20" creationId="{2EC0D559-29C2-41BF-A5FC-9167C07885DA}"/>
          </ac:spMkLst>
        </pc:spChg>
        <pc:spChg chg="add del mod modVis">
          <ac:chgData name="Matthäus Alberding" userId="89cdd4c9-d044-4ab4-9e6f-8f065e0119c4" providerId="ADAL" clId="{B6745356-B6CF-45AA-ADCC-AC8F740A00DA}" dt="2022-07-26T12:38:01.686" v="65409"/>
          <ac:spMkLst>
            <pc:docMk/>
            <pc:sldMk cId="1205009463" sldId="709"/>
            <ac:spMk id="21" creationId="{22670F29-E0F4-4618-816C-F77484374818}"/>
          </ac:spMkLst>
        </pc:spChg>
        <pc:spChg chg="add del mod modVis">
          <ac:chgData name="Matthäus Alberding" userId="89cdd4c9-d044-4ab4-9e6f-8f065e0119c4" providerId="ADAL" clId="{B6745356-B6CF-45AA-ADCC-AC8F740A00DA}" dt="2022-07-26T12:38:04.423" v="65452"/>
          <ac:spMkLst>
            <pc:docMk/>
            <pc:sldMk cId="1205009463" sldId="709"/>
            <ac:spMk id="22" creationId="{D94CF3DF-24A7-44C1-AF7F-B38D8D896C00}"/>
          </ac:spMkLst>
        </pc:spChg>
        <pc:spChg chg="add del mod modVis">
          <ac:chgData name="Matthäus Alberding" userId="89cdd4c9-d044-4ab4-9e6f-8f065e0119c4" providerId="ADAL" clId="{B6745356-B6CF-45AA-ADCC-AC8F740A00DA}" dt="2022-07-26T12:38:24.311" v="65499"/>
          <ac:spMkLst>
            <pc:docMk/>
            <pc:sldMk cId="1205009463" sldId="709"/>
            <ac:spMk id="23" creationId="{78312FA3-E240-448D-A500-AC534E3C0F48}"/>
          </ac:spMkLst>
        </pc:spChg>
        <pc:spChg chg="add mod">
          <ac:chgData name="Matthäus Alberding" userId="89cdd4c9-d044-4ab4-9e6f-8f065e0119c4" providerId="ADAL" clId="{B6745356-B6CF-45AA-ADCC-AC8F740A00DA}" dt="2022-07-26T13:07:21.185" v="67198" actId="1076"/>
          <ac:spMkLst>
            <pc:docMk/>
            <pc:sldMk cId="1205009463" sldId="709"/>
            <ac:spMk id="24" creationId="{2A6B2311-CCFA-450F-80FF-6472A10F7FD3}"/>
          </ac:spMkLst>
        </pc:spChg>
        <pc:graphicFrameChg chg="add mod ord modVis">
          <ac:chgData name="Matthäus Alberding" userId="89cdd4c9-d044-4ab4-9e6f-8f065e0119c4" providerId="ADAL" clId="{B6745356-B6CF-45AA-ADCC-AC8F740A00DA}" dt="2022-07-29T09:24:40.603" v="103984"/>
          <ac:graphicFrameMkLst>
            <pc:docMk/>
            <pc:sldMk cId="1205009463" sldId="709"/>
            <ac:graphicFrameMk id="12" creationId="{DD629EF8-AC1B-41EA-A3EE-87A19C56E296}"/>
          </ac:graphicFrameMkLst>
        </pc:graphicFrameChg>
        <pc:picChg chg="add mod">
          <ac:chgData name="Matthäus Alberding" userId="89cdd4c9-d044-4ab4-9e6f-8f065e0119c4" providerId="ADAL" clId="{B6745356-B6CF-45AA-ADCC-AC8F740A00DA}" dt="2022-07-26T12:36:58.745" v="65333" actId="1076"/>
          <ac:picMkLst>
            <pc:docMk/>
            <pc:sldMk cId="1205009463" sldId="709"/>
            <ac:picMk id="13" creationId="{C11F4015-62AF-4844-B0AB-D082A4BC99A0}"/>
          </ac:picMkLst>
        </pc:picChg>
        <pc:picChg chg="add mod">
          <ac:chgData name="Matthäus Alberding" userId="89cdd4c9-d044-4ab4-9e6f-8f065e0119c4" providerId="ADAL" clId="{B6745356-B6CF-45AA-ADCC-AC8F740A00DA}" dt="2022-07-26T13:07:21.185" v="67198" actId="1076"/>
          <ac:picMkLst>
            <pc:docMk/>
            <pc:sldMk cId="1205009463" sldId="709"/>
            <ac:picMk id="16" creationId="{78CF7296-9ED2-453C-9554-76F698B177EA}"/>
          </ac:picMkLst>
        </pc:picChg>
        <pc:picChg chg="add del mod">
          <ac:chgData name="Matthäus Alberding" userId="89cdd4c9-d044-4ab4-9e6f-8f065e0119c4" providerId="ADAL" clId="{B6745356-B6CF-45AA-ADCC-AC8F740A00DA}" dt="2022-07-26T13:07:05.794" v="67139" actId="478"/>
          <ac:picMkLst>
            <pc:docMk/>
            <pc:sldMk cId="1205009463" sldId="709"/>
            <ac:picMk id="25" creationId="{E07F5A86-3AFD-426B-9466-C1AF71D398AA}"/>
          </ac:picMkLst>
        </pc:picChg>
      </pc:sldChg>
      <pc:sldChg chg="addSp delSp modSp new add del mod modClrScheme chgLayout">
        <pc:chgData name="Matthäus Alberding" userId="89cdd4c9-d044-4ab4-9e6f-8f065e0119c4" providerId="ADAL" clId="{B6745356-B6CF-45AA-ADCC-AC8F740A00DA}" dt="2022-07-26T12:59:21.422" v="66426" actId="47"/>
        <pc:sldMkLst>
          <pc:docMk/>
          <pc:sldMk cId="2926756958" sldId="710"/>
        </pc:sldMkLst>
        <pc:spChg chg="mod ord">
          <ac:chgData name="Matthäus Alberding" userId="89cdd4c9-d044-4ab4-9e6f-8f065e0119c4" providerId="ADAL" clId="{B6745356-B6CF-45AA-ADCC-AC8F740A00DA}" dt="2022-07-26T12:51:41.296" v="65507"/>
          <ac:spMkLst>
            <pc:docMk/>
            <pc:sldMk cId="2926756958" sldId="710"/>
            <ac:spMk id="2" creationId="{CBAF21D5-5160-4C4F-8FE2-27B2E39961A4}"/>
          </ac:spMkLst>
        </pc:spChg>
        <pc:spChg chg="mod ord">
          <ac:chgData name="Matthäus Alberding" userId="89cdd4c9-d044-4ab4-9e6f-8f065e0119c4" providerId="ADAL" clId="{B6745356-B6CF-45AA-ADCC-AC8F740A00DA}" dt="2022-07-26T12:51:41.296" v="65507"/>
          <ac:spMkLst>
            <pc:docMk/>
            <pc:sldMk cId="2926756958" sldId="710"/>
            <ac:spMk id="3" creationId="{FC29A0CF-5094-4F4B-8D19-99AF20AEA8CE}"/>
          </ac:spMkLst>
        </pc:spChg>
        <pc:spChg chg="del mod ord">
          <ac:chgData name="Matthäus Alberding" userId="89cdd4c9-d044-4ab4-9e6f-8f065e0119c4" providerId="ADAL" clId="{B6745356-B6CF-45AA-ADCC-AC8F740A00DA}" dt="2022-07-26T12:51:41.296" v="65507"/>
          <ac:spMkLst>
            <pc:docMk/>
            <pc:sldMk cId="2926756958" sldId="710"/>
            <ac:spMk id="4" creationId="{72861D03-60B4-4B81-8593-DD0E41F3449B}"/>
          </ac:spMkLst>
        </pc:spChg>
        <pc:spChg chg="del">
          <ac:chgData name="Matthäus Alberding" userId="89cdd4c9-d044-4ab4-9e6f-8f065e0119c4" providerId="ADAL" clId="{B6745356-B6CF-45AA-ADCC-AC8F740A00DA}" dt="2022-07-26T12:51:41.296" v="65507"/>
          <ac:spMkLst>
            <pc:docMk/>
            <pc:sldMk cId="2926756958" sldId="710"/>
            <ac:spMk id="5" creationId="{174D67C5-8EEF-4EB0-8D13-85BFF253C117}"/>
          </ac:spMkLst>
        </pc:spChg>
        <pc:spChg chg="del">
          <ac:chgData name="Matthäus Alberding" userId="89cdd4c9-d044-4ab4-9e6f-8f065e0119c4" providerId="ADAL" clId="{B6745356-B6CF-45AA-ADCC-AC8F740A00DA}" dt="2022-07-26T12:51:41.296" v="65507"/>
          <ac:spMkLst>
            <pc:docMk/>
            <pc:sldMk cId="2926756958" sldId="710"/>
            <ac:spMk id="6" creationId="{16503298-244E-47C4-B174-35E064495C17}"/>
          </ac:spMkLst>
        </pc:spChg>
        <pc:spChg chg="del mod ord">
          <ac:chgData name="Matthäus Alberding" userId="89cdd4c9-d044-4ab4-9e6f-8f065e0119c4" providerId="ADAL" clId="{B6745356-B6CF-45AA-ADCC-AC8F740A00DA}" dt="2022-07-26T12:51:41.296" v="65507"/>
          <ac:spMkLst>
            <pc:docMk/>
            <pc:sldMk cId="2926756958" sldId="710"/>
            <ac:spMk id="7" creationId="{E4815CFC-399B-45F3-96AD-6A6494DA1697}"/>
          </ac:spMkLst>
        </pc:spChg>
        <pc:spChg chg="del mod ord">
          <ac:chgData name="Matthäus Alberding" userId="89cdd4c9-d044-4ab4-9e6f-8f065e0119c4" providerId="ADAL" clId="{B6745356-B6CF-45AA-ADCC-AC8F740A00DA}" dt="2022-07-26T12:51:41.296" v="65507"/>
          <ac:spMkLst>
            <pc:docMk/>
            <pc:sldMk cId="2926756958" sldId="710"/>
            <ac:spMk id="8" creationId="{1C251094-A685-4DC8-A712-F434A14CE0D3}"/>
          </ac:spMkLst>
        </pc:spChg>
        <pc:spChg chg="del">
          <ac:chgData name="Matthäus Alberding" userId="89cdd4c9-d044-4ab4-9e6f-8f065e0119c4" providerId="ADAL" clId="{B6745356-B6CF-45AA-ADCC-AC8F740A00DA}" dt="2022-07-26T12:51:41.296" v="65507"/>
          <ac:spMkLst>
            <pc:docMk/>
            <pc:sldMk cId="2926756958" sldId="710"/>
            <ac:spMk id="9" creationId="{E3E9B32F-8C64-4687-954D-20DD30F9EA4E}"/>
          </ac:spMkLst>
        </pc:spChg>
        <pc:spChg chg="add mod ord">
          <ac:chgData name="Matthäus Alberding" userId="89cdd4c9-d044-4ab4-9e6f-8f065e0119c4" providerId="ADAL" clId="{B6745356-B6CF-45AA-ADCC-AC8F740A00DA}" dt="2022-07-26T12:51:41.296" v="65507"/>
          <ac:spMkLst>
            <pc:docMk/>
            <pc:sldMk cId="2926756958" sldId="710"/>
            <ac:spMk id="10" creationId="{1FEBCDA9-C026-4A04-955B-AC3AB8B3D84B}"/>
          </ac:spMkLst>
        </pc:spChg>
        <pc:spChg chg="add del mod ord">
          <ac:chgData name="Matthäus Alberding" userId="89cdd4c9-d044-4ab4-9e6f-8f065e0119c4" providerId="ADAL" clId="{B6745356-B6CF-45AA-ADCC-AC8F740A00DA}" dt="2022-07-26T12:51:42.962" v="65524" actId="478"/>
          <ac:spMkLst>
            <pc:docMk/>
            <pc:sldMk cId="2926756958" sldId="710"/>
            <ac:spMk id="11" creationId="{2B09F978-4048-403B-86FF-362A217DAB52}"/>
          </ac:spMkLst>
        </pc:spChg>
        <pc:spChg chg="add mod ord">
          <ac:chgData name="Matthäus Alberding" userId="89cdd4c9-d044-4ab4-9e6f-8f065e0119c4" providerId="ADAL" clId="{B6745356-B6CF-45AA-ADCC-AC8F740A00DA}" dt="2022-07-26T12:51:41.320" v="65508" actId="27636"/>
          <ac:spMkLst>
            <pc:docMk/>
            <pc:sldMk cId="2926756958" sldId="710"/>
            <ac:spMk id="12" creationId="{F391D67B-B5FA-49F5-8D78-3586AA880256}"/>
          </ac:spMkLst>
        </pc:spChg>
        <pc:graphicFrameChg chg="add mod ord modVis">
          <ac:chgData name="Matthäus Alberding" userId="89cdd4c9-d044-4ab4-9e6f-8f065e0119c4" providerId="ADAL" clId="{B6745356-B6CF-45AA-ADCC-AC8F740A00DA}" dt="2022-07-26T12:51:41.820" v="65523"/>
          <ac:graphicFrameMkLst>
            <pc:docMk/>
            <pc:sldMk cId="2926756958" sldId="710"/>
            <ac:graphicFrameMk id="13" creationId="{D6C1AAC7-3683-41B3-8D16-42542021D907}"/>
          </ac:graphicFrameMkLst>
        </pc:graphicFrameChg>
        <pc:graphicFrameChg chg="add mod">
          <ac:chgData name="Matthäus Alberding" userId="89cdd4c9-d044-4ab4-9e6f-8f065e0119c4" providerId="ADAL" clId="{B6745356-B6CF-45AA-ADCC-AC8F740A00DA}" dt="2022-07-26T12:52:20.257" v="65531" actId="1957"/>
          <ac:graphicFrameMkLst>
            <pc:docMk/>
            <pc:sldMk cId="2926756958" sldId="710"/>
            <ac:graphicFrameMk id="14" creationId="{9EB9C463-830C-40ED-942C-90F9C91379C5}"/>
          </ac:graphicFrameMkLst>
        </pc:graphicFrameChg>
      </pc:sldChg>
      <pc:sldChg chg="addSp delSp modSp add mod ord">
        <pc:chgData name="Matthäus Alberding" userId="89cdd4c9-d044-4ab4-9e6f-8f065e0119c4" providerId="ADAL" clId="{B6745356-B6CF-45AA-ADCC-AC8F740A00DA}" dt="2022-07-26T12:59:42.690" v="66432" actId="1076"/>
        <pc:sldMkLst>
          <pc:docMk/>
          <pc:sldMk cId="2988086726" sldId="711"/>
        </pc:sldMkLst>
        <pc:spChg chg="mod">
          <ac:chgData name="Matthäus Alberding" userId="89cdd4c9-d044-4ab4-9e6f-8f065e0119c4" providerId="ADAL" clId="{B6745356-B6CF-45AA-ADCC-AC8F740A00DA}" dt="2022-07-26T12:58:50.276" v="66384" actId="948"/>
          <ac:spMkLst>
            <pc:docMk/>
            <pc:sldMk cId="2988086726" sldId="711"/>
            <ac:spMk id="4" creationId="{CD24A587-6A69-4DE2-B3BC-22DE4F768FB7}"/>
          </ac:spMkLst>
        </pc:spChg>
        <pc:spChg chg="mod">
          <ac:chgData name="Matthäus Alberding" userId="89cdd4c9-d044-4ab4-9e6f-8f065e0119c4" providerId="ADAL" clId="{B6745356-B6CF-45AA-ADCC-AC8F740A00DA}" dt="2022-07-26T12:56:08.891" v="65589"/>
          <ac:spMkLst>
            <pc:docMk/>
            <pc:sldMk cId="2988086726" sldId="711"/>
            <ac:spMk id="5" creationId="{94F85DF8-1390-4F6B-AF62-12EFD4B69CC9}"/>
          </ac:spMkLst>
        </pc:spChg>
        <pc:spChg chg="mod">
          <ac:chgData name="Matthäus Alberding" userId="89cdd4c9-d044-4ab4-9e6f-8f065e0119c4" providerId="ADAL" clId="{B6745356-B6CF-45AA-ADCC-AC8F740A00DA}" dt="2022-07-26T12:57:02.540" v="65683" actId="6549"/>
          <ac:spMkLst>
            <pc:docMk/>
            <pc:sldMk cId="2988086726" sldId="711"/>
            <ac:spMk id="7" creationId="{60890FAC-A6C1-47CF-9F16-9C73D343DE87}"/>
          </ac:spMkLst>
        </pc:spChg>
        <pc:spChg chg="add del mod modVis">
          <ac:chgData name="Matthäus Alberding" userId="89cdd4c9-d044-4ab4-9e6f-8f065e0119c4" providerId="ADAL" clId="{B6745356-B6CF-45AA-ADCC-AC8F740A00DA}" dt="2022-07-26T12:57:58.291" v="65759"/>
          <ac:spMkLst>
            <pc:docMk/>
            <pc:sldMk cId="2988086726" sldId="711"/>
            <ac:spMk id="8" creationId="{9F5A4E89-E8F3-423A-900B-56BE5A329168}"/>
          </ac:spMkLst>
        </pc:spChg>
        <pc:spChg chg="add del mod modVis">
          <ac:chgData name="Matthäus Alberding" userId="89cdd4c9-d044-4ab4-9e6f-8f065e0119c4" providerId="ADAL" clId="{B6745356-B6CF-45AA-ADCC-AC8F740A00DA}" dt="2022-07-26T12:58:13.727" v="65897"/>
          <ac:spMkLst>
            <pc:docMk/>
            <pc:sldMk cId="2988086726" sldId="711"/>
            <ac:spMk id="10" creationId="{15805EB4-B699-4F0B-ADD9-9694B62C7F0F}"/>
          </ac:spMkLst>
        </pc:spChg>
        <pc:spChg chg="add del mod modVis">
          <ac:chgData name="Matthäus Alberding" userId="89cdd4c9-d044-4ab4-9e6f-8f065e0119c4" providerId="ADAL" clId="{B6745356-B6CF-45AA-ADCC-AC8F740A00DA}" dt="2022-07-26T12:58:18.313" v="65953"/>
          <ac:spMkLst>
            <pc:docMk/>
            <pc:sldMk cId="2988086726" sldId="711"/>
            <ac:spMk id="11" creationId="{01FC4810-F61B-47C9-BCAB-74547006A7C1}"/>
          </ac:spMkLst>
        </pc:spChg>
        <pc:spChg chg="add del mod modVis">
          <ac:chgData name="Matthäus Alberding" userId="89cdd4c9-d044-4ab4-9e6f-8f065e0119c4" providerId="ADAL" clId="{B6745356-B6CF-45AA-ADCC-AC8F740A00DA}" dt="2022-07-26T12:58:19.093" v="65996"/>
          <ac:spMkLst>
            <pc:docMk/>
            <pc:sldMk cId="2988086726" sldId="711"/>
            <ac:spMk id="13" creationId="{2954BE7D-2673-46B5-9CCC-7305CBCA2AB8}"/>
          </ac:spMkLst>
        </pc:spChg>
        <pc:spChg chg="mod">
          <ac:chgData name="Matthäus Alberding" userId="89cdd4c9-d044-4ab4-9e6f-8f065e0119c4" providerId="ADAL" clId="{B6745356-B6CF-45AA-ADCC-AC8F740A00DA}" dt="2022-07-26T12:57:32.786" v="65689" actId="113"/>
          <ac:spMkLst>
            <pc:docMk/>
            <pc:sldMk cId="2988086726" sldId="711"/>
            <ac:spMk id="14" creationId="{2FD7B4F8-729A-4E62-9272-FD4708C9F516}"/>
          </ac:spMkLst>
        </pc:spChg>
        <pc:spChg chg="del">
          <ac:chgData name="Matthäus Alberding" userId="89cdd4c9-d044-4ab4-9e6f-8f065e0119c4" providerId="ADAL" clId="{B6745356-B6CF-45AA-ADCC-AC8F740A00DA}" dt="2022-07-26T12:57:36.890" v="65690" actId="478"/>
          <ac:spMkLst>
            <pc:docMk/>
            <pc:sldMk cId="2988086726" sldId="711"/>
            <ac:spMk id="15" creationId="{CEA724CB-A117-40C1-BD1A-0F82BC3C0283}"/>
          </ac:spMkLst>
        </pc:spChg>
        <pc:spChg chg="add del mod modVis">
          <ac:chgData name="Matthäus Alberding" userId="89cdd4c9-d044-4ab4-9e6f-8f065e0119c4" providerId="ADAL" clId="{B6745356-B6CF-45AA-ADCC-AC8F740A00DA}" dt="2022-07-26T12:58:19.898" v="66043"/>
          <ac:spMkLst>
            <pc:docMk/>
            <pc:sldMk cId="2988086726" sldId="711"/>
            <ac:spMk id="16" creationId="{B42A95B2-3EF5-41ED-90C5-D83F420B77ED}"/>
          </ac:spMkLst>
        </pc:spChg>
        <pc:spChg chg="add del mod modVis">
          <ac:chgData name="Matthäus Alberding" userId="89cdd4c9-d044-4ab4-9e6f-8f065e0119c4" providerId="ADAL" clId="{B6745356-B6CF-45AA-ADCC-AC8F740A00DA}" dt="2022-07-26T12:58:24.603" v="66095"/>
          <ac:spMkLst>
            <pc:docMk/>
            <pc:sldMk cId="2988086726" sldId="711"/>
            <ac:spMk id="17" creationId="{7852E7F6-3B7A-4833-865D-A2679B9C8D8C}"/>
          </ac:spMkLst>
        </pc:spChg>
        <pc:spChg chg="add del mod modVis">
          <ac:chgData name="Matthäus Alberding" userId="89cdd4c9-d044-4ab4-9e6f-8f065e0119c4" providerId="ADAL" clId="{B6745356-B6CF-45AA-ADCC-AC8F740A00DA}" dt="2022-07-26T12:58:29.512" v="66141"/>
          <ac:spMkLst>
            <pc:docMk/>
            <pc:sldMk cId="2988086726" sldId="711"/>
            <ac:spMk id="18" creationId="{2F8BF831-DCE2-447B-A7E8-B49E55FCEA8D}"/>
          </ac:spMkLst>
        </pc:spChg>
        <pc:spChg chg="add del mod modVis">
          <ac:chgData name="Matthäus Alberding" userId="89cdd4c9-d044-4ab4-9e6f-8f065e0119c4" providerId="ADAL" clId="{B6745356-B6CF-45AA-ADCC-AC8F740A00DA}" dt="2022-07-26T12:58:31.785" v="66196"/>
          <ac:spMkLst>
            <pc:docMk/>
            <pc:sldMk cId="2988086726" sldId="711"/>
            <ac:spMk id="19" creationId="{E095AB30-E42C-4E9B-BD37-E1EA2C18AB82}"/>
          </ac:spMkLst>
        </pc:spChg>
        <pc:spChg chg="add del mod modVis">
          <ac:chgData name="Matthäus Alberding" userId="89cdd4c9-d044-4ab4-9e6f-8f065e0119c4" providerId="ADAL" clId="{B6745356-B6CF-45AA-ADCC-AC8F740A00DA}" dt="2022-07-26T12:58:35.994" v="66259"/>
          <ac:spMkLst>
            <pc:docMk/>
            <pc:sldMk cId="2988086726" sldId="711"/>
            <ac:spMk id="20" creationId="{DFF749E7-3DAA-47FB-A8AD-D426B1593D4B}"/>
          </ac:spMkLst>
        </pc:spChg>
        <pc:spChg chg="add del mod modVis">
          <ac:chgData name="Matthäus Alberding" userId="89cdd4c9-d044-4ab4-9e6f-8f065e0119c4" providerId="ADAL" clId="{B6745356-B6CF-45AA-ADCC-AC8F740A00DA}" dt="2022-07-26T12:58:39.339" v="66302"/>
          <ac:spMkLst>
            <pc:docMk/>
            <pc:sldMk cId="2988086726" sldId="711"/>
            <ac:spMk id="21" creationId="{B40D5BBF-F5D1-48C2-9156-EA784B4FD067}"/>
          </ac:spMkLst>
        </pc:spChg>
        <pc:spChg chg="add del mod modVis">
          <ac:chgData name="Matthäus Alberding" userId="89cdd4c9-d044-4ab4-9e6f-8f065e0119c4" providerId="ADAL" clId="{B6745356-B6CF-45AA-ADCC-AC8F740A00DA}" dt="2022-07-26T12:58:50.293" v="66423"/>
          <ac:spMkLst>
            <pc:docMk/>
            <pc:sldMk cId="2988086726" sldId="711"/>
            <ac:spMk id="22" creationId="{526E1165-CF32-45B3-A2EE-6F07BAE9980F}"/>
          </ac:spMkLst>
        </pc:spChg>
        <pc:spChg chg="add mod">
          <ac:chgData name="Matthäus Alberding" userId="89cdd4c9-d044-4ab4-9e6f-8f065e0119c4" providerId="ADAL" clId="{B6745356-B6CF-45AA-ADCC-AC8F740A00DA}" dt="2022-07-26T12:59:42.690" v="66432" actId="1076"/>
          <ac:spMkLst>
            <pc:docMk/>
            <pc:sldMk cId="2988086726" sldId="711"/>
            <ac:spMk id="23" creationId="{5FFE9947-869E-4C6D-ACD2-14A0A9D9A54F}"/>
          </ac:spMkLst>
        </pc:spChg>
        <pc:graphicFrameChg chg="mod">
          <ac:chgData name="Matthäus Alberding" userId="89cdd4c9-d044-4ab4-9e6f-8f065e0119c4" providerId="ADAL" clId="{B6745356-B6CF-45AA-ADCC-AC8F740A00DA}" dt="2022-07-26T12:58:50.294" v="66425"/>
          <ac:graphicFrameMkLst>
            <pc:docMk/>
            <pc:sldMk cId="2988086726" sldId="711"/>
            <ac:graphicFrameMk id="9" creationId="{A41FC733-6609-415B-B0FC-E0EA47A53594}"/>
          </ac:graphicFrameMkLst>
        </pc:graphicFrameChg>
      </pc:sldChg>
      <pc:sldChg chg="addSp delSp modSp new add del mod">
        <pc:chgData name="Matthäus Alberding" userId="89cdd4c9-d044-4ab4-9e6f-8f065e0119c4" providerId="ADAL" clId="{B6745356-B6CF-45AA-ADCC-AC8F740A00DA}" dt="2022-07-26T13:09:30.121" v="67361" actId="47"/>
        <pc:sldMkLst>
          <pc:docMk/>
          <pc:sldMk cId="1635047760" sldId="712"/>
        </pc:sldMkLst>
        <pc:spChg chg="mod">
          <ac:chgData name="Matthäus Alberding" userId="89cdd4c9-d044-4ab4-9e6f-8f065e0119c4" providerId="ADAL" clId="{B6745356-B6CF-45AA-ADCC-AC8F740A00DA}" dt="2022-07-26T13:04:47.943" v="66989" actId="948"/>
          <ac:spMkLst>
            <pc:docMk/>
            <pc:sldMk cId="1635047760" sldId="712"/>
            <ac:spMk id="4" creationId="{F08FE16C-C97B-4DEF-899D-3A7D8499304E}"/>
          </ac:spMkLst>
        </pc:spChg>
        <pc:spChg chg="mod">
          <ac:chgData name="Matthäus Alberding" userId="89cdd4c9-d044-4ab4-9e6f-8f065e0119c4" providerId="ADAL" clId="{B6745356-B6CF-45AA-ADCC-AC8F740A00DA}" dt="2022-07-26T13:03:52.124" v="66665" actId="27636"/>
          <ac:spMkLst>
            <pc:docMk/>
            <pc:sldMk cId="1635047760" sldId="712"/>
            <ac:spMk id="5" creationId="{EEB32AC5-6B0F-4FAF-8DF2-6B2F6AB54DC8}"/>
          </ac:spMkLst>
        </pc:spChg>
        <pc:spChg chg="add del mod modVis">
          <ac:chgData name="Matthäus Alberding" userId="89cdd4c9-d044-4ab4-9e6f-8f065e0119c4" providerId="ADAL" clId="{B6745356-B6CF-45AA-ADCC-AC8F740A00DA}" dt="2022-07-26T13:03:52.064" v="66649"/>
          <ac:spMkLst>
            <pc:docMk/>
            <pc:sldMk cId="1635047760" sldId="712"/>
            <ac:spMk id="8" creationId="{540794E5-509C-4D1D-B5D4-5D54A9971FAD}"/>
          </ac:spMkLst>
        </pc:spChg>
        <pc:spChg chg="add del mod modVis">
          <ac:chgData name="Matthäus Alberding" userId="89cdd4c9-d044-4ab4-9e6f-8f065e0119c4" providerId="ADAL" clId="{B6745356-B6CF-45AA-ADCC-AC8F740A00DA}" dt="2022-07-26T13:04:03.035" v="66715"/>
          <ac:spMkLst>
            <pc:docMk/>
            <pc:sldMk cId="1635047760" sldId="712"/>
            <ac:spMk id="10" creationId="{CB305719-3B2E-4DB4-A4E8-E7A09B9CFC7D}"/>
          </ac:spMkLst>
        </pc:spChg>
        <pc:spChg chg="add del mod modVis">
          <ac:chgData name="Matthäus Alberding" userId="89cdd4c9-d044-4ab4-9e6f-8f065e0119c4" providerId="ADAL" clId="{B6745356-B6CF-45AA-ADCC-AC8F740A00DA}" dt="2022-07-26T13:04:04.786" v="66760"/>
          <ac:spMkLst>
            <pc:docMk/>
            <pc:sldMk cId="1635047760" sldId="712"/>
            <ac:spMk id="11" creationId="{9D768CE4-725A-4220-9F56-7CB80ACC4A56}"/>
          </ac:spMkLst>
        </pc:spChg>
        <pc:spChg chg="add del mod modVis">
          <ac:chgData name="Matthäus Alberding" userId="89cdd4c9-d044-4ab4-9e6f-8f065e0119c4" providerId="ADAL" clId="{B6745356-B6CF-45AA-ADCC-AC8F740A00DA}" dt="2022-07-26T13:04:07.766" v="66803"/>
          <ac:spMkLst>
            <pc:docMk/>
            <pc:sldMk cId="1635047760" sldId="712"/>
            <ac:spMk id="12" creationId="{9F481D2A-16CB-45D0-9EE5-EFCBC18DF5A6}"/>
          </ac:spMkLst>
        </pc:spChg>
        <pc:spChg chg="add del mod modVis">
          <ac:chgData name="Matthäus Alberding" userId="89cdd4c9-d044-4ab4-9e6f-8f065e0119c4" providerId="ADAL" clId="{B6745356-B6CF-45AA-ADCC-AC8F740A00DA}" dt="2022-07-26T13:04:09.110" v="66850"/>
          <ac:spMkLst>
            <pc:docMk/>
            <pc:sldMk cId="1635047760" sldId="712"/>
            <ac:spMk id="13" creationId="{C76357CC-5858-4E81-A961-C56CEF0F1A03}"/>
          </ac:spMkLst>
        </pc:spChg>
        <pc:spChg chg="add del mod modVis">
          <ac:chgData name="Matthäus Alberding" userId="89cdd4c9-d044-4ab4-9e6f-8f065e0119c4" providerId="ADAL" clId="{B6745356-B6CF-45AA-ADCC-AC8F740A00DA}" dt="2022-07-26T13:04:10.496" v="66895"/>
          <ac:spMkLst>
            <pc:docMk/>
            <pc:sldMk cId="1635047760" sldId="712"/>
            <ac:spMk id="14" creationId="{05230842-0C83-4E8F-97C3-185242169B5C}"/>
          </ac:spMkLst>
        </pc:spChg>
        <pc:spChg chg="add del mod modVis">
          <ac:chgData name="Matthäus Alberding" userId="89cdd4c9-d044-4ab4-9e6f-8f065e0119c4" providerId="ADAL" clId="{B6745356-B6CF-45AA-ADCC-AC8F740A00DA}" dt="2022-07-26T13:04:47.190" v="66985"/>
          <ac:spMkLst>
            <pc:docMk/>
            <pc:sldMk cId="1635047760" sldId="712"/>
            <ac:spMk id="15" creationId="{86FE7FAD-1571-4F17-9629-554D6E13CBF3}"/>
          </ac:spMkLst>
        </pc:spChg>
        <pc:spChg chg="add del mod modVis">
          <ac:chgData name="Matthäus Alberding" userId="89cdd4c9-d044-4ab4-9e6f-8f065e0119c4" providerId="ADAL" clId="{B6745356-B6CF-45AA-ADCC-AC8F740A00DA}" dt="2022-07-26T13:04:47.958" v="67028"/>
          <ac:spMkLst>
            <pc:docMk/>
            <pc:sldMk cId="1635047760" sldId="712"/>
            <ac:spMk id="16" creationId="{3DB2ABEA-84D7-491F-B3B6-B353538C31AE}"/>
          </ac:spMkLst>
        </pc:spChg>
        <pc:graphicFrameChg chg="add mod ord modVis">
          <ac:chgData name="Matthäus Alberding" userId="89cdd4c9-d044-4ab4-9e6f-8f065e0119c4" providerId="ADAL" clId="{B6745356-B6CF-45AA-ADCC-AC8F740A00DA}" dt="2022-07-26T13:04:47.958" v="67030"/>
          <ac:graphicFrameMkLst>
            <pc:docMk/>
            <pc:sldMk cId="1635047760" sldId="712"/>
            <ac:graphicFrameMk id="9" creationId="{101404CB-917C-4E31-A134-141E553FC637}"/>
          </ac:graphicFrameMkLst>
        </pc:graphicFrameChg>
        <pc:picChg chg="add mod">
          <ac:chgData name="Matthäus Alberding" userId="89cdd4c9-d044-4ab4-9e6f-8f065e0119c4" providerId="ADAL" clId="{B6745356-B6CF-45AA-ADCC-AC8F740A00DA}" dt="2022-07-26T13:04:13.451" v="66898" actId="1076"/>
          <ac:picMkLst>
            <pc:docMk/>
            <pc:sldMk cId="1635047760" sldId="712"/>
            <ac:picMk id="7" creationId="{AC60F59A-0F71-40E4-A37E-18E3BB83F1C3}"/>
          </ac:picMkLst>
        </pc:picChg>
        <pc:picChg chg="add mod">
          <ac:chgData name="Matthäus Alberding" userId="89cdd4c9-d044-4ab4-9e6f-8f065e0119c4" providerId="ADAL" clId="{B6745356-B6CF-45AA-ADCC-AC8F740A00DA}" dt="2022-07-26T13:07:31.393" v="67200" actId="1076"/>
          <ac:picMkLst>
            <pc:docMk/>
            <pc:sldMk cId="1635047760" sldId="712"/>
            <ac:picMk id="17" creationId="{63A1E99D-4CE3-492C-910D-08C3491C977E}"/>
          </ac:picMkLst>
        </pc:picChg>
      </pc:sldChg>
      <pc:sldChg chg="addSp delSp modSp new add mod modClrScheme chgLayout">
        <pc:chgData name="Matthäus Alberding" userId="89cdd4c9-d044-4ab4-9e6f-8f065e0119c4" providerId="ADAL" clId="{B6745356-B6CF-45AA-ADCC-AC8F740A00DA}" dt="2022-07-26T13:23:14.963" v="70260" actId="1076"/>
        <pc:sldMkLst>
          <pc:docMk/>
          <pc:sldMk cId="3527635183" sldId="712"/>
        </pc:sldMkLst>
        <pc:spChg chg="mod ord">
          <ac:chgData name="Matthäus Alberding" userId="89cdd4c9-d044-4ab4-9e6f-8f065e0119c4" providerId="ADAL" clId="{B6745356-B6CF-45AA-ADCC-AC8F740A00DA}" dt="2022-07-26T13:16:34.444" v="67486"/>
          <ac:spMkLst>
            <pc:docMk/>
            <pc:sldMk cId="3527635183" sldId="712"/>
            <ac:spMk id="2" creationId="{66FFA8E0-E5F0-48BF-A25C-18C5B2DA4094}"/>
          </ac:spMkLst>
        </pc:spChg>
        <pc:spChg chg="mod ord">
          <ac:chgData name="Matthäus Alberding" userId="89cdd4c9-d044-4ab4-9e6f-8f065e0119c4" providerId="ADAL" clId="{B6745356-B6CF-45AA-ADCC-AC8F740A00DA}" dt="2022-07-26T13:16:34.444" v="67486"/>
          <ac:spMkLst>
            <pc:docMk/>
            <pc:sldMk cId="3527635183" sldId="712"/>
            <ac:spMk id="3" creationId="{23ADF3F7-6916-4C5D-AF77-AB9F6C1D63F9}"/>
          </ac:spMkLst>
        </pc:spChg>
        <pc:spChg chg="del mod ord">
          <ac:chgData name="Matthäus Alberding" userId="89cdd4c9-d044-4ab4-9e6f-8f065e0119c4" providerId="ADAL" clId="{B6745356-B6CF-45AA-ADCC-AC8F740A00DA}" dt="2022-07-26T13:16:34.444" v="67486"/>
          <ac:spMkLst>
            <pc:docMk/>
            <pc:sldMk cId="3527635183" sldId="712"/>
            <ac:spMk id="4" creationId="{075A1220-B673-4A3B-ADCB-AAFA3DBAD714}"/>
          </ac:spMkLst>
        </pc:spChg>
        <pc:spChg chg="del">
          <ac:chgData name="Matthäus Alberding" userId="89cdd4c9-d044-4ab4-9e6f-8f065e0119c4" providerId="ADAL" clId="{B6745356-B6CF-45AA-ADCC-AC8F740A00DA}" dt="2022-07-26T13:16:34.444" v="67486"/>
          <ac:spMkLst>
            <pc:docMk/>
            <pc:sldMk cId="3527635183" sldId="712"/>
            <ac:spMk id="5" creationId="{5C4BAAD4-C070-470A-A340-7203A2097959}"/>
          </ac:spMkLst>
        </pc:spChg>
        <pc:spChg chg="del">
          <ac:chgData name="Matthäus Alberding" userId="89cdd4c9-d044-4ab4-9e6f-8f065e0119c4" providerId="ADAL" clId="{B6745356-B6CF-45AA-ADCC-AC8F740A00DA}" dt="2022-07-26T13:16:34.444" v="67486"/>
          <ac:spMkLst>
            <pc:docMk/>
            <pc:sldMk cId="3527635183" sldId="712"/>
            <ac:spMk id="6" creationId="{862111F3-ED97-413A-968F-FBF88EE2B05A}"/>
          </ac:spMkLst>
        </pc:spChg>
        <pc:spChg chg="del mod ord">
          <ac:chgData name="Matthäus Alberding" userId="89cdd4c9-d044-4ab4-9e6f-8f065e0119c4" providerId="ADAL" clId="{B6745356-B6CF-45AA-ADCC-AC8F740A00DA}" dt="2022-07-26T13:16:34.444" v="67486"/>
          <ac:spMkLst>
            <pc:docMk/>
            <pc:sldMk cId="3527635183" sldId="712"/>
            <ac:spMk id="7" creationId="{55641190-3F79-4C5C-B7FB-5D41361843AB}"/>
          </ac:spMkLst>
        </pc:spChg>
        <pc:spChg chg="del mod ord">
          <ac:chgData name="Matthäus Alberding" userId="89cdd4c9-d044-4ab4-9e6f-8f065e0119c4" providerId="ADAL" clId="{B6745356-B6CF-45AA-ADCC-AC8F740A00DA}" dt="2022-07-26T13:16:34.444" v="67486"/>
          <ac:spMkLst>
            <pc:docMk/>
            <pc:sldMk cId="3527635183" sldId="712"/>
            <ac:spMk id="8" creationId="{7FE5C1E7-EBBD-4F30-B5F1-F1934281A1A1}"/>
          </ac:spMkLst>
        </pc:spChg>
        <pc:spChg chg="del">
          <ac:chgData name="Matthäus Alberding" userId="89cdd4c9-d044-4ab4-9e6f-8f065e0119c4" providerId="ADAL" clId="{B6745356-B6CF-45AA-ADCC-AC8F740A00DA}" dt="2022-07-26T13:16:34.444" v="67486"/>
          <ac:spMkLst>
            <pc:docMk/>
            <pc:sldMk cId="3527635183" sldId="712"/>
            <ac:spMk id="9" creationId="{7EE04F9C-5295-4C40-AC1B-6B2C9A635A2F}"/>
          </ac:spMkLst>
        </pc:spChg>
        <pc:spChg chg="add mod ord">
          <ac:chgData name="Matthäus Alberding" userId="89cdd4c9-d044-4ab4-9e6f-8f065e0119c4" providerId="ADAL" clId="{B6745356-B6CF-45AA-ADCC-AC8F740A00DA}" dt="2022-07-26T13:20:59.995" v="70192" actId="948"/>
          <ac:spMkLst>
            <pc:docMk/>
            <pc:sldMk cId="3527635183" sldId="712"/>
            <ac:spMk id="10" creationId="{958DC5C8-A4B4-4F50-A453-A9FD27065FB6}"/>
          </ac:spMkLst>
        </pc:spChg>
        <pc:spChg chg="add del mod ord">
          <ac:chgData name="Matthäus Alberding" userId="89cdd4c9-d044-4ab4-9e6f-8f065e0119c4" providerId="ADAL" clId="{B6745356-B6CF-45AA-ADCC-AC8F740A00DA}" dt="2022-07-26T13:17:01.175" v="67503" actId="478"/>
          <ac:spMkLst>
            <pc:docMk/>
            <pc:sldMk cId="3527635183" sldId="712"/>
            <ac:spMk id="11" creationId="{BA76E6A7-8FE1-4703-BCF9-B53B99338F15}"/>
          </ac:spMkLst>
        </pc:spChg>
        <pc:spChg chg="add mod ord">
          <ac:chgData name="Matthäus Alberding" userId="89cdd4c9-d044-4ab4-9e6f-8f065e0119c4" providerId="ADAL" clId="{B6745356-B6CF-45AA-ADCC-AC8F740A00DA}" dt="2022-07-26T13:17:13.069" v="67510" actId="20577"/>
          <ac:spMkLst>
            <pc:docMk/>
            <pc:sldMk cId="3527635183" sldId="712"/>
            <ac:spMk id="12" creationId="{75CA1C7C-7319-4099-AA9E-293B31BCA98D}"/>
          </ac:spMkLst>
        </pc:spChg>
        <pc:spChg chg="add del mod modVis">
          <ac:chgData name="Matthäus Alberding" userId="89cdd4c9-d044-4ab4-9e6f-8f065e0119c4" providerId="ADAL" clId="{B6745356-B6CF-45AA-ADCC-AC8F740A00DA}" dt="2022-07-26T13:17:23.626" v="67594"/>
          <ac:spMkLst>
            <pc:docMk/>
            <pc:sldMk cId="3527635183" sldId="712"/>
            <ac:spMk id="16" creationId="{2D2FCC73-A28F-4A0A-9B62-E7885E181734}"/>
          </ac:spMkLst>
        </pc:spChg>
        <pc:spChg chg="add del mod modVis">
          <ac:chgData name="Matthäus Alberding" userId="89cdd4c9-d044-4ab4-9e6f-8f065e0119c4" providerId="ADAL" clId="{B6745356-B6CF-45AA-ADCC-AC8F740A00DA}" dt="2022-07-26T13:17:29.923" v="67653"/>
          <ac:spMkLst>
            <pc:docMk/>
            <pc:sldMk cId="3527635183" sldId="712"/>
            <ac:spMk id="17" creationId="{C15DF275-4006-4F5B-924A-1F9DD6D3DC2C}"/>
          </ac:spMkLst>
        </pc:spChg>
        <pc:spChg chg="add del mod modVis">
          <ac:chgData name="Matthäus Alberding" userId="89cdd4c9-d044-4ab4-9e6f-8f065e0119c4" providerId="ADAL" clId="{B6745356-B6CF-45AA-ADCC-AC8F740A00DA}" dt="2022-07-26T13:17:30.758" v="67696"/>
          <ac:spMkLst>
            <pc:docMk/>
            <pc:sldMk cId="3527635183" sldId="712"/>
            <ac:spMk id="18" creationId="{1CF89F15-C187-447C-8028-F198FE6BA2FE}"/>
          </ac:spMkLst>
        </pc:spChg>
        <pc:spChg chg="add del mod modVis">
          <ac:chgData name="Matthäus Alberding" userId="89cdd4c9-d044-4ab4-9e6f-8f065e0119c4" providerId="ADAL" clId="{B6745356-B6CF-45AA-ADCC-AC8F740A00DA}" dt="2022-07-26T13:17:32.249" v="67752"/>
          <ac:spMkLst>
            <pc:docMk/>
            <pc:sldMk cId="3527635183" sldId="712"/>
            <ac:spMk id="19" creationId="{9460AA09-2529-401C-BF59-CD572065DA28}"/>
          </ac:spMkLst>
        </pc:spChg>
        <pc:spChg chg="add del mod modVis">
          <ac:chgData name="Matthäus Alberding" userId="89cdd4c9-d044-4ab4-9e6f-8f065e0119c4" providerId="ADAL" clId="{B6745356-B6CF-45AA-ADCC-AC8F740A00DA}" dt="2022-07-26T13:18:36.259" v="67798"/>
          <ac:spMkLst>
            <pc:docMk/>
            <pc:sldMk cId="3527635183" sldId="712"/>
            <ac:spMk id="20" creationId="{EF5B02B2-76DF-423B-BFF0-37718A9D9CC8}"/>
          </ac:spMkLst>
        </pc:spChg>
        <pc:spChg chg="add del mod modVis">
          <ac:chgData name="Matthäus Alberding" userId="89cdd4c9-d044-4ab4-9e6f-8f065e0119c4" providerId="ADAL" clId="{B6745356-B6CF-45AA-ADCC-AC8F740A00DA}" dt="2022-07-26T13:18:43.515" v="67880"/>
          <ac:spMkLst>
            <pc:docMk/>
            <pc:sldMk cId="3527635183" sldId="712"/>
            <ac:spMk id="21" creationId="{650F76B3-C28F-408F-BA9E-DBC77E771F09}"/>
          </ac:spMkLst>
        </pc:spChg>
        <pc:spChg chg="add del mod modVis">
          <ac:chgData name="Matthäus Alberding" userId="89cdd4c9-d044-4ab4-9e6f-8f065e0119c4" providerId="ADAL" clId="{B6745356-B6CF-45AA-ADCC-AC8F740A00DA}" dt="2022-07-26T13:18:47.556" v="67925"/>
          <ac:spMkLst>
            <pc:docMk/>
            <pc:sldMk cId="3527635183" sldId="712"/>
            <ac:spMk id="22" creationId="{40CCF2F6-B6C8-442D-A56D-23BD90615D81}"/>
          </ac:spMkLst>
        </pc:spChg>
        <pc:spChg chg="add del mod modVis">
          <ac:chgData name="Matthäus Alberding" userId="89cdd4c9-d044-4ab4-9e6f-8f065e0119c4" providerId="ADAL" clId="{B6745356-B6CF-45AA-ADCC-AC8F740A00DA}" dt="2022-07-26T13:18:59.363" v="68021"/>
          <ac:spMkLst>
            <pc:docMk/>
            <pc:sldMk cId="3527635183" sldId="712"/>
            <ac:spMk id="23" creationId="{3947A04A-9D6C-4F33-BDC8-C4F494F981C7}"/>
          </ac:spMkLst>
        </pc:spChg>
        <pc:spChg chg="add del mod modVis">
          <ac:chgData name="Matthäus Alberding" userId="89cdd4c9-d044-4ab4-9e6f-8f065e0119c4" providerId="ADAL" clId="{B6745356-B6CF-45AA-ADCC-AC8F740A00DA}" dt="2022-07-26T13:19:04.301" v="68065"/>
          <ac:spMkLst>
            <pc:docMk/>
            <pc:sldMk cId="3527635183" sldId="712"/>
            <ac:spMk id="24" creationId="{A60CB64D-1017-43EF-9973-138337B54AF8}"/>
          </ac:spMkLst>
        </pc:spChg>
        <pc:spChg chg="add del mod modVis">
          <ac:chgData name="Matthäus Alberding" userId="89cdd4c9-d044-4ab4-9e6f-8f065e0119c4" providerId="ADAL" clId="{B6745356-B6CF-45AA-ADCC-AC8F740A00DA}" dt="2022-07-26T13:19:07.067" v="68122"/>
          <ac:spMkLst>
            <pc:docMk/>
            <pc:sldMk cId="3527635183" sldId="712"/>
            <ac:spMk id="25" creationId="{E2F801C5-B955-44AA-BEA5-32B7998DC52D}"/>
          </ac:spMkLst>
        </pc:spChg>
        <pc:spChg chg="add del mod modVis">
          <ac:chgData name="Matthäus Alberding" userId="89cdd4c9-d044-4ab4-9e6f-8f065e0119c4" providerId="ADAL" clId="{B6745356-B6CF-45AA-ADCC-AC8F740A00DA}" dt="2022-07-26T13:19:09.345" v="68169"/>
          <ac:spMkLst>
            <pc:docMk/>
            <pc:sldMk cId="3527635183" sldId="712"/>
            <ac:spMk id="26" creationId="{B9713180-D9E9-4FF0-9B07-A3FF042D3FF6}"/>
          </ac:spMkLst>
        </pc:spChg>
        <pc:spChg chg="add del mod modVis">
          <ac:chgData name="Matthäus Alberding" userId="89cdd4c9-d044-4ab4-9e6f-8f065e0119c4" providerId="ADAL" clId="{B6745356-B6CF-45AA-ADCC-AC8F740A00DA}" dt="2022-07-26T13:19:10.865" v="68214"/>
          <ac:spMkLst>
            <pc:docMk/>
            <pc:sldMk cId="3527635183" sldId="712"/>
            <ac:spMk id="27" creationId="{00B84AE4-1C7E-469E-AC83-949466C32F88}"/>
          </ac:spMkLst>
        </pc:spChg>
        <pc:spChg chg="add del mod modVis">
          <ac:chgData name="Matthäus Alberding" userId="89cdd4c9-d044-4ab4-9e6f-8f065e0119c4" providerId="ADAL" clId="{B6745356-B6CF-45AA-ADCC-AC8F740A00DA}" dt="2022-07-26T13:19:12.873" v="68266"/>
          <ac:spMkLst>
            <pc:docMk/>
            <pc:sldMk cId="3527635183" sldId="712"/>
            <ac:spMk id="28" creationId="{9B419E95-0FF7-428C-81FF-CB5796A26DD1}"/>
          </ac:spMkLst>
        </pc:spChg>
        <pc:spChg chg="add del mod modVis">
          <ac:chgData name="Matthäus Alberding" userId="89cdd4c9-d044-4ab4-9e6f-8f065e0119c4" providerId="ADAL" clId="{B6745356-B6CF-45AA-ADCC-AC8F740A00DA}" dt="2022-07-26T13:19:14.616" v="68316"/>
          <ac:spMkLst>
            <pc:docMk/>
            <pc:sldMk cId="3527635183" sldId="712"/>
            <ac:spMk id="29" creationId="{80EA4C90-69B6-4DA2-AB9D-6E66CEFDEA7A}"/>
          </ac:spMkLst>
        </pc:spChg>
        <pc:spChg chg="add del mod modVis">
          <ac:chgData name="Matthäus Alberding" userId="89cdd4c9-d044-4ab4-9e6f-8f065e0119c4" providerId="ADAL" clId="{B6745356-B6CF-45AA-ADCC-AC8F740A00DA}" dt="2022-07-26T13:19:17.555" v="68377"/>
          <ac:spMkLst>
            <pc:docMk/>
            <pc:sldMk cId="3527635183" sldId="712"/>
            <ac:spMk id="30" creationId="{2E0066B5-AC12-4DCA-A4FB-35B5A33D27EC}"/>
          </ac:spMkLst>
        </pc:spChg>
        <pc:spChg chg="add del mod modVis">
          <ac:chgData name="Matthäus Alberding" userId="89cdd4c9-d044-4ab4-9e6f-8f065e0119c4" providerId="ADAL" clId="{B6745356-B6CF-45AA-ADCC-AC8F740A00DA}" dt="2022-07-26T13:19:22.996" v="68444"/>
          <ac:spMkLst>
            <pc:docMk/>
            <pc:sldMk cId="3527635183" sldId="712"/>
            <ac:spMk id="31" creationId="{2EC0F921-A1D7-40A8-A950-9C4646E9C976}"/>
          </ac:spMkLst>
        </pc:spChg>
        <pc:spChg chg="add del mod modVis">
          <ac:chgData name="Matthäus Alberding" userId="89cdd4c9-d044-4ab4-9e6f-8f065e0119c4" providerId="ADAL" clId="{B6745356-B6CF-45AA-ADCC-AC8F740A00DA}" dt="2022-07-26T13:19:26.885" v="68506"/>
          <ac:spMkLst>
            <pc:docMk/>
            <pc:sldMk cId="3527635183" sldId="712"/>
            <ac:spMk id="32" creationId="{59CBA967-E852-4C4E-8A57-2A2BD02EF782}"/>
          </ac:spMkLst>
        </pc:spChg>
        <pc:spChg chg="add del mod modVis">
          <ac:chgData name="Matthäus Alberding" userId="89cdd4c9-d044-4ab4-9e6f-8f065e0119c4" providerId="ADAL" clId="{B6745356-B6CF-45AA-ADCC-AC8F740A00DA}" dt="2022-07-26T13:19:27.693" v="68552"/>
          <ac:spMkLst>
            <pc:docMk/>
            <pc:sldMk cId="3527635183" sldId="712"/>
            <ac:spMk id="33" creationId="{C6AD74B1-1863-415C-BEDA-726ED8086570}"/>
          </ac:spMkLst>
        </pc:spChg>
        <pc:spChg chg="add del mod modVis">
          <ac:chgData name="Matthäus Alberding" userId="89cdd4c9-d044-4ab4-9e6f-8f065e0119c4" providerId="ADAL" clId="{B6745356-B6CF-45AA-ADCC-AC8F740A00DA}" dt="2022-07-26T13:19:28.418" v="68595"/>
          <ac:spMkLst>
            <pc:docMk/>
            <pc:sldMk cId="3527635183" sldId="712"/>
            <ac:spMk id="34" creationId="{508BDE73-35BC-48AF-BF95-FD7B55D4E9F6}"/>
          </ac:spMkLst>
        </pc:spChg>
        <pc:spChg chg="add del mod modVis">
          <ac:chgData name="Matthäus Alberding" userId="89cdd4c9-d044-4ab4-9e6f-8f065e0119c4" providerId="ADAL" clId="{B6745356-B6CF-45AA-ADCC-AC8F740A00DA}" dt="2022-07-26T13:19:29.654" v="68639"/>
          <ac:spMkLst>
            <pc:docMk/>
            <pc:sldMk cId="3527635183" sldId="712"/>
            <ac:spMk id="35" creationId="{6EAE9E9A-D1D0-47E2-B496-8DC4D0A75506}"/>
          </ac:spMkLst>
        </pc:spChg>
        <pc:spChg chg="add del mod modVis">
          <ac:chgData name="Matthäus Alberding" userId="89cdd4c9-d044-4ab4-9e6f-8f065e0119c4" providerId="ADAL" clId="{B6745356-B6CF-45AA-ADCC-AC8F740A00DA}" dt="2022-07-26T13:19:30.633" v="68682"/>
          <ac:spMkLst>
            <pc:docMk/>
            <pc:sldMk cId="3527635183" sldId="712"/>
            <ac:spMk id="36" creationId="{FF299014-FA43-4B33-B3FB-1FAB49380C8E}"/>
          </ac:spMkLst>
        </pc:spChg>
        <pc:spChg chg="add del mod modVis">
          <ac:chgData name="Matthäus Alberding" userId="89cdd4c9-d044-4ab4-9e6f-8f065e0119c4" providerId="ADAL" clId="{B6745356-B6CF-45AA-ADCC-AC8F740A00DA}" dt="2022-07-26T13:19:34.197" v="68731"/>
          <ac:spMkLst>
            <pc:docMk/>
            <pc:sldMk cId="3527635183" sldId="712"/>
            <ac:spMk id="37" creationId="{A8D448FF-0AF7-46B5-B121-BDA0917E6A2C}"/>
          </ac:spMkLst>
        </pc:spChg>
        <pc:spChg chg="add del mod modVis">
          <ac:chgData name="Matthäus Alberding" userId="89cdd4c9-d044-4ab4-9e6f-8f065e0119c4" providerId="ADAL" clId="{B6745356-B6CF-45AA-ADCC-AC8F740A00DA}" dt="2022-07-26T13:19:36" v="68779"/>
          <ac:spMkLst>
            <pc:docMk/>
            <pc:sldMk cId="3527635183" sldId="712"/>
            <ac:spMk id="38" creationId="{F4EC62DF-679B-4741-AC55-3A8FDBE178AF}"/>
          </ac:spMkLst>
        </pc:spChg>
        <pc:spChg chg="add del mod modVis">
          <ac:chgData name="Matthäus Alberding" userId="89cdd4c9-d044-4ab4-9e6f-8f065e0119c4" providerId="ADAL" clId="{B6745356-B6CF-45AA-ADCC-AC8F740A00DA}" dt="2022-07-26T13:19:36.732" v="68822"/>
          <ac:spMkLst>
            <pc:docMk/>
            <pc:sldMk cId="3527635183" sldId="712"/>
            <ac:spMk id="39" creationId="{F48EB604-E29B-4D01-83DD-4810C3D8DB58}"/>
          </ac:spMkLst>
        </pc:spChg>
        <pc:spChg chg="add del mod modVis">
          <ac:chgData name="Matthäus Alberding" userId="89cdd4c9-d044-4ab4-9e6f-8f065e0119c4" providerId="ADAL" clId="{B6745356-B6CF-45AA-ADCC-AC8F740A00DA}" dt="2022-07-26T13:19:45.171" v="68868"/>
          <ac:spMkLst>
            <pc:docMk/>
            <pc:sldMk cId="3527635183" sldId="712"/>
            <ac:spMk id="40" creationId="{7335A473-BCE8-498F-B844-76A1C2F52259}"/>
          </ac:spMkLst>
        </pc:spChg>
        <pc:spChg chg="add del mod modVis">
          <ac:chgData name="Matthäus Alberding" userId="89cdd4c9-d044-4ab4-9e6f-8f065e0119c4" providerId="ADAL" clId="{B6745356-B6CF-45AA-ADCC-AC8F740A00DA}" dt="2022-07-26T13:19:46.464" v="68916"/>
          <ac:spMkLst>
            <pc:docMk/>
            <pc:sldMk cId="3527635183" sldId="712"/>
            <ac:spMk id="41" creationId="{FDE231C3-E8E0-4E42-B7E0-88C379EF525C}"/>
          </ac:spMkLst>
        </pc:spChg>
        <pc:spChg chg="add del mod modVis">
          <ac:chgData name="Matthäus Alberding" userId="89cdd4c9-d044-4ab4-9e6f-8f065e0119c4" providerId="ADAL" clId="{B6745356-B6CF-45AA-ADCC-AC8F740A00DA}" dt="2022-07-26T13:19:48.012" v="68978"/>
          <ac:spMkLst>
            <pc:docMk/>
            <pc:sldMk cId="3527635183" sldId="712"/>
            <ac:spMk id="42" creationId="{95E1ED96-C870-4C4C-B8E1-6F561350623E}"/>
          </ac:spMkLst>
        </pc:spChg>
        <pc:spChg chg="add del mod modVis">
          <ac:chgData name="Matthäus Alberding" userId="89cdd4c9-d044-4ab4-9e6f-8f065e0119c4" providerId="ADAL" clId="{B6745356-B6CF-45AA-ADCC-AC8F740A00DA}" dt="2022-07-26T13:19:48.764" v="69021"/>
          <ac:spMkLst>
            <pc:docMk/>
            <pc:sldMk cId="3527635183" sldId="712"/>
            <ac:spMk id="43" creationId="{953739B3-1664-404A-9DBB-3E454DEE5007}"/>
          </ac:spMkLst>
        </pc:spChg>
        <pc:spChg chg="add del mod modVis">
          <ac:chgData name="Matthäus Alberding" userId="89cdd4c9-d044-4ab4-9e6f-8f065e0119c4" providerId="ADAL" clId="{B6745356-B6CF-45AA-ADCC-AC8F740A00DA}" dt="2022-07-26T13:19:50.651" v="69064"/>
          <ac:spMkLst>
            <pc:docMk/>
            <pc:sldMk cId="3527635183" sldId="712"/>
            <ac:spMk id="44" creationId="{E3C8CA2C-DE47-4403-A831-58D2B560F320}"/>
          </ac:spMkLst>
        </pc:spChg>
        <pc:spChg chg="add del mod modVis">
          <ac:chgData name="Matthäus Alberding" userId="89cdd4c9-d044-4ab4-9e6f-8f065e0119c4" providerId="ADAL" clId="{B6745356-B6CF-45AA-ADCC-AC8F740A00DA}" dt="2022-07-26T13:19:51.845" v="69110"/>
          <ac:spMkLst>
            <pc:docMk/>
            <pc:sldMk cId="3527635183" sldId="712"/>
            <ac:spMk id="45" creationId="{1980370E-F96E-4AE6-AA30-CE4B5B0E0819}"/>
          </ac:spMkLst>
        </pc:spChg>
        <pc:spChg chg="add del mod modVis">
          <ac:chgData name="Matthäus Alberding" userId="89cdd4c9-d044-4ab4-9e6f-8f065e0119c4" providerId="ADAL" clId="{B6745356-B6CF-45AA-ADCC-AC8F740A00DA}" dt="2022-07-26T13:19:54.964" v="69162"/>
          <ac:spMkLst>
            <pc:docMk/>
            <pc:sldMk cId="3527635183" sldId="712"/>
            <ac:spMk id="46" creationId="{98418542-C64B-4E96-897A-B5E772CE0672}"/>
          </ac:spMkLst>
        </pc:spChg>
        <pc:spChg chg="add del mod modVis">
          <ac:chgData name="Matthäus Alberding" userId="89cdd4c9-d044-4ab4-9e6f-8f065e0119c4" providerId="ADAL" clId="{B6745356-B6CF-45AA-ADCC-AC8F740A00DA}" dt="2022-07-26T13:19:55.910" v="69208"/>
          <ac:spMkLst>
            <pc:docMk/>
            <pc:sldMk cId="3527635183" sldId="712"/>
            <ac:spMk id="47" creationId="{4587BF3C-07B4-44FC-A373-BD4F9CFAEAE6}"/>
          </ac:spMkLst>
        </pc:spChg>
        <pc:spChg chg="add del mod modVis">
          <ac:chgData name="Matthäus Alberding" userId="89cdd4c9-d044-4ab4-9e6f-8f065e0119c4" providerId="ADAL" clId="{B6745356-B6CF-45AA-ADCC-AC8F740A00DA}" dt="2022-07-26T13:19:58.843" v="69266"/>
          <ac:spMkLst>
            <pc:docMk/>
            <pc:sldMk cId="3527635183" sldId="712"/>
            <ac:spMk id="48" creationId="{BAC32850-6998-4790-8E99-1345DE156732}"/>
          </ac:spMkLst>
        </pc:spChg>
        <pc:spChg chg="add del mod modVis">
          <ac:chgData name="Matthäus Alberding" userId="89cdd4c9-d044-4ab4-9e6f-8f065e0119c4" providerId="ADAL" clId="{B6745356-B6CF-45AA-ADCC-AC8F740A00DA}" dt="2022-07-26T13:20:02.260" v="69337"/>
          <ac:spMkLst>
            <pc:docMk/>
            <pc:sldMk cId="3527635183" sldId="712"/>
            <ac:spMk id="49" creationId="{A25D56BC-0833-4479-8E9C-7741A4FC2F5F}"/>
          </ac:spMkLst>
        </pc:spChg>
        <pc:spChg chg="add del mod modVis">
          <ac:chgData name="Matthäus Alberding" userId="89cdd4c9-d044-4ab4-9e6f-8f065e0119c4" providerId="ADAL" clId="{B6745356-B6CF-45AA-ADCC-AC8F740A00DA}" dt="2022-07-26T13:20:08.292" v="69420"/>
          <ac:spMkLst>
            <pc:docMk/>
            <pc:sldMk cId="3527635183" sldId="712"/>
            <ac:spMk id="50" creationId="{E8C41559-A8B5-4447-9CBC-247B7E84EC4D}"/>
          </ac:spMkLst>
        </pc:spChg>
        <pc:spChg chg="add del mod modVis">
          <ac:chgData name="Matthäus Alberding" userId="89cdd4c9-d044-4ab4-9e6f-8f065e0119c4" providerId="ADAL" clId="{B6745356-B6CF-45AA-ADCC-AC8F740A00DA}" dt="2022-07-26T13:20:13.592" v="69493"/>
          <ac:spMkLst>
            <pc:docMk/>
            <pc:sldMk cId="3527635183" sldId="712"/>
            <ac:spMk id="51" creationId="{7A86C85C-46D2-49C3-A6AE-67794AF8AB18}"/>
          </ac:spMkLst>
        </pc:spChg>
        <pc:spChg chg="add del mod modVis">
          <ac:chgData name="Matthäus Alberding" userId="89cdd4c9-d044-4ab4-9e6f-8f065e0119c4" providerId="ADAL" clId="{B6745356-B6CF-45AA-ADCC-AC8F740A00DA}" dt="2022-07-26T13:20:19.011" v="69536"/>
          <ac:spMkLst>
            <pc:docMk/>
            <pc:sldMk cId="3527635183" sldId="712"/>
            <ac:spMk id="52" creationId="{CBDFD9EE-8E3D-4670-8090-69BC4FB47B0B}"/>
          </ac:spMkLst>
        </pc:spChg>
        <pc:spChg chg="add del mod modVis">
          <ac:chgData name="Matthäus Alberding" userId="89cdd4c9-d044-4ab4-9e6f-8f065e0119c4" providerId="ADAL" clId="{B6745356-B6CF-45AA-ADCC-AC8F740A00DA}" dt="2022-07-26T13:20:21.964" v="69613"/>
          <ac:spMkLst>
            <pc:docMk/>
            <pc:sldMk cId="3527635183" sldId="712"/>
            <ac:spMk id="53" creationId="{F1041927-B79E-45F6-8FB4-3995B8683B2E}"/>
          </ac:spMkLst>
        </pc:spChg>
        <pc:spChg chg="add del mod modVis">
          <ac:chgData name="Matthäus Alberding" userId="89cdd4c9-d044-4ab4-9e6f-8f065e0119c4" providerId="ADAL" clId="{B6745356-B6CF-45AA-ADCC-AC8F740A00DA}" dt="2022-07-26T13:20:22.663" v="69656"/>
          <ac:spMkLst>
            <pc:docMk/>
            <pc:sldMk cId="3527635183" sldId="712"/>
            <ac:spMk id="54" creationId="{723D5599-25F0-4325-8666-445C2F2EDA6B}"/>
          </ac:spMkLst>
        </pc:spChg>
        <pc:spChg chg="add del mod modVis">
          <ac:chgData name="Matthäus Alberding" userId="89cdd4c9-d044-4ab4-9e6f-8f065e0119c4" providerId="ADAL" clId="{B6745356-B6CF-45AA-ADCC-AC8F740A00DA}" dt="2022-07-26T13:20:30.745" v="69722"/>
          <ac:spMkLst>
            <pc:docMk/>
            <pc:sldMk cId="3527635183" sldId="712"/>
            <ac:spMk id="55" creationId="{2A3AE45B-9749-42A8-B160-C853D2CC38AB}"/>
          </ac:spMkLst>
        </pc:spChg>
        <pc:spChg chg="add del mod modVis">
          <ac:chgData name="Matthäus Alberding" userId="89cdd4c9-d044-4ab4-9e6f-8f065e0119c4" providerId="ADAL" clId="{B6745356-B6CF-45AA-ADCC-AC8F740A00DA}" dt="2022-07-26T13:20:32.346" v="69775"/>
          <ac:spMkLst>
            <pc:docMk/>
            <pc:sldMk cId="3527635183" sldId="712"/>
            <ac:spMk id="56" creationId="{1B1C56C5-BEB0-4BE1-AAC1-DB0DBC344498}"/>
          </ac:spMkLst>
        </pc:spChg>
        <pc:spChg chg="add del mod modVis">
          <ac:chgData name="Matthäus Alberding" userId="89cdd4c9-d044-4ab4-9e6f-8f065e0119c4" providerId="ADAL" clId="{B6745356-B6CF-45AA-ADCC-AC8F740A00DA}" dt="2022-07-26T13:20:34.084" v="69822"/>
          <ac:spMkLst>
            <pc:docMk/>
            <pc:sldMk cId="3527635183" sldId="712"/>
            <ac:spMk id="57" creationId="{00C92450-A1FF-43B3-B7ED-E30308BBE15C}"/>
          </ac:spMkLst>
        </pc:spChg>
        <pc:spChg chg="add del mod modVis">
          <ac:chgData name="Matthäus Alberding" userId="89cdd4c9-d044-4ab4-9e6f-8f065e0119c4" providerId="ADAL" clId="{B6745356-B6CF-45AA-ADCC-AC8F740A00DA}" dt="2022-07-26T13:20:35.727" v="69882"/>
          <ac:spMkLst>
            <pc:docMk/>
            <pc:sldMk cId="3527635183" sldId="712"/>
            <ac:spMk id="58" creationId="{66F6E680-BA98-40BD-9E2A-28180745B9A3}"/>
          </ac:spMkLst>
        </pc:spChg>
        <pc:spChg chg="add del mod modVis">
          <ac:chgData name="Matthäus Alberding" userId="89cdd4c9-d044-4ab4-9e6f-8f065e0119c4" providerId="ADAL" clId="{B6745356-B6CF-45AA-ADCC-AC8F740A00DA}" dt="2022-07-26T13:20:44.376" v="69955"/>
          <ac:spMkLst>
            <pc:docMk/>
            <pc:sldMk cId="3527635183" sldId="712"/>
            <ac:spMk id="59" creationId="{DCC86322-1974-4866-A7FF-C9609B82EA5A}"/>
          </ac:spMkLst>
        </pc:spChg>
        <pc:spChg chg="add del mod modVis">
          <ac:chgData name="Matthäus Alberding" userId="89cdd4c9-d044-4ab4-9e6f-8f065e0119c4" providerId="ADAL" clId="{B6745356-B6CF-45AA-ADCC-AC8F740A00DA}" dt="2022-07-26T13:20:46.216" v="70006"/>
          <ac:spMkLst>
            <pc:docMk/>
            <pc:sldMk cId="3527635183" sldId="712"/>
            <ac:spMk id="60" creationId="{803AB26F-CB92-4034-91B3-A308C1A5081F}"/>
          </ac:spMkLst>
        </pc:spChg>
        <pc:spChg chg="add del mod modVis">
          <ac:chgData name="Matthäus Alberding" userId="89cdd4c9-d044-4ab4-9e6f-8f065e0119c4" providerId="ADAL" clId="{B6745356-B6CF-45AA-ADCC-AC8F740A00DA}" dt="2022-07-26T13:20:50.404" v="70066"/>
          <ac:spMkLst>
            <pc:docMk/>
            <pc:sldMk cId="3527635183" sldId="712"/>
            <ac:spMk id="61" creationId="{4EBE0B37-6E93-4218-B9A7-C7CCAE0E6405}"/>
          </ac:spMkLst>
        </pc:spChg>
        <pc:spChg chg="add del mod modVis">
          <ac:chgData name="Matthäus Alberding" userId="89cdd4c9-d044-4ab4-9e6f-8f065e0119c4" providerId="ADAL" clId="{B6745356-B6CF-45AA-ADCC-AC8F740A00DA}" dt="2022-07-26T13:20:54.961" v="70132"/>
          <ac:spMkLst>
            <pc:docMk/>
            <pc:sldMk cId="3527635183" sldId="712"/>
            <ac:spMk id="62" creationId="{44BCDAC0-8A71-4988-8D3D-4A40BE937C3B}"/>
          </ac:spMkLst>
        </pc:spChg>
        <pc:spChg chg="add del mod modVis">
          <ac:chgData name="Matthäus Alberding" userId="89cdd4c9-d044-4ab4-9e6f-8f065e0119c4" providerId="ADAL" clId="{B6745356-B6CF-45AA-ADCC-AC8F740A00DA}" dt="2022-07-26T13:20:58.373" v="70187"/>
          <ac:spMkLst>
            <pc:docMk/>
            <pc:sldMk cId="3527635183" sldId="712"/>
            <ac:spMk id="63" creationId="{D4572CDA-B07C-4257-8093-9D28C120BAD9}"/>
          </ac:spMkLst>
        </pc:spChg>
        <pc:spChg chg="add del mod modVis">
          <ac:chgData name="Matthäus Alberding" userId="89cdd4c9-d044-4ab4-9e6f-8f065e0119c4" providerId="ADAL" clId="{B6745356-B6CF-45AA-ADCC-AC8F740A00DA}" dt="2022-07-26T13:21:00.013" v="70231"/>
          <ac:spMkLst>
            <pc:docMk/>
            <pc:sldMk cId="3527635183" sldId="712"/>
            <ac:spMk id="64" creationId="{A953E907-5EE4-49BB-8EAC-99BE2522E98A}"/>
          </ac:spMkLst>
        </pc:spChg>
        <pc:spChg chg="add mod">
          <ac:chgData name="Matthäus Alberding" userId="89cdd4c9-d044-4ab4-9e6f-8f065e0119c4" providerId="ADAL" clId="{B6745356-B6CF-45AA-ADCC-AC8F740A00DA}" dt="2022-07-26T13:21:12.091" v="70234"/>
          <ac:spMkLst>
            <pc:docMk/>
            <pc:sldMk cId="3527635183" sldId="712"/>
            <ac:spMk id="65" creationId="{D937F1EF-D49A-40C9-8122-F4A52902C855}"/>
          </ac:spMkLst>
        </pc:spChg>
        <pc:spChg chg="add mod">
          <ac:chgData name="Matthäus Alberding" userId="89cdd4c9-d044-4ab4-9e6f-8f065e0119c4" providerId="ADAL" clId="{B6745356-B6CF-45AA-ADCC-AC8F740A00DA}" dt="2022-07-26T13:21:12.091" v="70234"/>
          <ac:spMkLst>
            <pc:docMk/>
            <pc:sldMk cId="3527635183" sldId="712"/>
            <ac:spMk id="66" creationId="{175BCB21-CA8E-46CE-AA81-396C559D36C8}"/>
          </ac:spMkLst>
        </pc:spChg>
        <pc:spChg chg="add mod">
          <ac:chgData name="Matthäus Alberding" userId="89cdd4c9-d044-4ab4-9e6f-8f065e0119c4" providerId="ADAL" clId="{B6745356-B6CF-45AA-ADCC-AC8F740A00DA}" dt="2022-07-26T13:22:14.360" v="70245"/>
          <ac:spMkLst>
            <pc:docMk/>
            <pc:sldMk cId="3527635183" sldId="712"/>
            <ac:spMk id="69" creationId="{F0D94D63-08A7-44BC-8D0C-B8F71DCC834C}"/>
          </ac:spMkLst>
        </pc:spChg>
        <pc:spChg chg="add mod">
          <ac:chgData name="Matthäus Alberding" userId="89cdd4c9-d044-4ab4-9e6f-8f065e0119c4" providerId="ADAL" clId="{B6745356-B6CF-45AA-ADCC-AC8F740A00DA}" dt="2022-07-26T13:23:00.881" v="70255" actId="113"/>
          <ac:spMkLst>
            <pc:docMk/>
            <pc:sldMk cId="3527635183" sldId="712"/>
            <ac:spMk id="70" creationId="{0E74AE22-DA7D-4E7F-B318-FF7C9C9269F8}"/>
          </ac:spMkLst>
        </pc:spChg>
        <pc:spChg chg="add mod">
          <ac:chgData name="Matthäus Alberding" userId="89cdd4c9-d044-4ab4-9e6f-8f065e0119c4" providerId="ADAL" clId="{B6745356-B6CF-45AA-ADCC-AC8F740A00DA}" dt="2022-07-26T13:22:26.977" v="70248" actId="1076"/>
          <ac:spMkLst>
            <pc:docMk/>
            <pc:sldMk cId="3527635183" sldId="712"/>
            <ac:spMk id="71" creationId="{2F2A4D26-DFC0-4CBE-BA02-ECCDE9AD93DB}"/>
          </ac:spMkLst>
        </pc:spChg>
        <pc:spChg chg="add mod">
          <ac:chgData name="Matthäus Alberding" userId="89cdd4c9-d044-4ab4-9e6f-8f065e0119c4" providerId="ADAL" clId="{B6745356-B6CF-45AA-ADCC-AC8F740A00DA}" dt="2022-07-26T13:23:14.963" v="70260" actId="1076"/>
          <ac:spMkLst>
            <pc:docMk/>
            <pc:sldMk cId="3527635183" sldId="712"/>
            <ac:spMk id="72" creationId="{6B8E11EE-DAE1-4FD6-A1DA-E4C093BDC341}"/>
          </ac:spMkLst>
        </pc:spChg>
        <pc:graphicFrameChg chg="add mod ord modVis">
          <ac:chgData name="Matthäus Alberding" userId="89cdd4c9-d044-4ab4-9e6f-8f065e0119c4" providerId="ADAL" clId="{B6745356-B6CF-45AA-ADCC-AC8F740A00DA}" dt="2022-07-26T13:21:00.014" v="70233"/>
          <ac:graphicFrameMkLst>
            <pc:docMk/>
            <pc:sldMk cId="3527635183" sldId="712"/>
            <ac:graphicFrameMk id="13" creationId="{6A309C26-472E-4B8E-8093-77240C03EC3B}"/>
          </ac:graphicFrameMkLst>
        </pc:graphicFrameChg>
        <pc:graphicFrameChg chg="add del mod">
          <ac:chgData name="Matthäus Alberding" userId="89cdd4c9-d044-4ab4-9e6f-8f065e0119c4" providerId="ADAL" clId="{B6745356-B6CF-45AA-ADCC-AC8F740A00DA}" dt="2022-07-26T13:21:41.478" v="70238" actId="478"/>
          <ac:graphicFrameMkLst>
            <pc:docMk/>
            <pc:sldMk cId="3527635183" sldId="712"/>
            <ac:graphicFrameMk id="67" creationId="{D4F039ED-724D-4E47-B5D0-DE517CD3C781}"/>
          </ac:graphicFrameMkLst>
        </pc:graphicFrameChg>
        <pc:graphicFrameChg chg="add mod">
          <ac:chgData name="Matthäus Alberding" userId="89cdd4c9-d044-4ab4-9e6f-8f065e0119c4" providerId="ADAL" clId="{B6745356-B6CF-45AA-ADCC-AC8F740A00DA}" dt="2022-07-26T13:21:55.208" v="70241"/>
          <ac:graphicFrameMkLst>
            <pc:docMk/>
            <pc:sldMk cId="3527635183" sldId="712"/>
            <ac:graphicFrameMk id="68" creationId="{21F99691-117A-4EC0-B352-439B6756369B}"/>
          </ac:graphicFrameMkLst>
        </pc:graphicFrameChg>
        <pc:picChg chg="add mod">
          <ac:chgData name="Matthäus Alberding" userId="89cdd4c9-d044-4ab4-9e6f-8f065e0119c4" providerId="ADAL" clId="{B6745356-B6CF-45AA-ADCC-AC8F740A00DA}" dt="2022-07-26T13:21:19.497" v="70236" actId="1076"/>
          <ac:picMkLst>
            <pc:docMk/>
            <pc:sldMk cId="3527635183" sldId="712"/>
            <ac:picMk id="15" creationId="{7C10D8D6-6BB1-4838-AF20-E629DA45E7C8}"/>
          </ac:picMkLst>
        </pc:picChg>
      </pc:sldChg>
      <pc:sldChg chg="addSp delSp modSp add mod modTransition modShow">
        <pc:chgData name="Matthäus Alberding" userId="89cdd4c9-d044-4ab4-9e6f-8f065e0119c4" providerId="ADAL" clId="{B6745356-B6CF-45AA-ADCC-AC8F740A00DA}" dt="2022-07-26T14:58:33.548" v="80266" actId="478"/>
        <pc:sldMkLst>
          <pc:docMk/>
          <pc:sldMk cId="2095349722" sldId="713"/>
        </pc:sldMkLst>
        <pc:spChg chg="mod">
          <ac:chgData name="Matthäus Alberding" userId="89cdd4c9-d044-4ab4-9e6f-8f065e0119c4" providerId="ADAL" clId="{B6745356-B6CF-45AA-ADCC-AC8F740A00DA}" dt="2022-07-26T14:34:29.572" v="77414" actId="948"/>
          <ac:spMkLst>
            <pc:docMk/>
            <pc:sldMk cId="2095349722" sldId="713"/>
            <ac:spMk id="4" creationId="{C576965E-3B1C-4D63-938E-36F16A3A3B67}"/>
          </ac:spMkLst>
        </pc:spChg>
        <pc:spChg chg="add mod">
          <ac:chgData name="Matthäus Alberding" userId="89cdd4c9-d044-4ab4-9e6f-8f065e0119c4" providerId="ADAL" clId="{B6745356-B6CF-45AA-ADCC-AC8F740A00DA}" dt="2022-07-26T14:39:23.532" v="77944" actId="14100"/>
          <ac:spMkLst>
            <pc:docMk/>
            <pc:sldMk cId="2095349722" sldId="713"/>
            <ac:spMk id="5" creationId="{28399786-93AD-4226-B646-30005A96E0EE}"/>
          </ac:spMkLst>
        </pc:spChg>
        <pc:spChg chg="del">
          <ac:chgData name="Matthäus Alberding" userId="89cdd4c9-d044-4ab4-9e6f-8f065e0119c4" providerId="ADAL" clId="{B6745356-B6CF-45AA-ADCC-AC8F740A00DA}" dt="2022-07-26T13:48:13.903" v="71526" actId="478"/>
          <ac:spMkLst>
            <pc:docMk/>
            <pc:sldMk cId="2095349722" sldId="713"/>
            <ac:spMk id="10" creationId="{C5CA343A-E931-4D81-B05E-8341FA26BAC8}"/>
          </ac:spMkLst>
        </pc:spChg>
        <pc:spChg chg="del">
          <ac:chgData name="Matthäus Alberding" userId="89cdd4c9-d044-4ab4-9e6f-8f065e0119c4" providerId="ADAL" clId="{B6745356-B6CF-45AA-ADCC-AC8F740A00DA}" dt="2022-07-26T13:48:13.903" v="71526" actId="478"/>
          <ac:spMkLst>
            <pc:docMk/>
            <pc:sldMk cId="2095349722" sldId="713"/>
            <ac:spMk id="11" creationId="{EDC96387-3CC9-4AD5-8ABA-B87E0E80ADA2}"/>
          </ac:spMkLst>
        </pc:spChg>
        <pc:spChg chg="del">
          <ac:chgData name="Matthäus Alberding" userId="89cdd4c9-d044-4ab4-9e6f-8f065e0119c4" providerId="ADAL" clId="{B6745356-B6CF-45AA-ADCC-AC8F740A00DA}" dt="2022-07-26T13:48:13.903" v="71526" actId="478"/>
          <ac:spMkLst>
            <pc:docMk/>
            <pc:sldMk cId="2095349722" sldId="713"/>
            <ac:spMk id="12" creationId="{DD2C0436-3A95-4B12-983B-CD75F1A08110}"/>
          </ac:spMkLst>
        </pc:spChg>
        <pc:spChg chg="del">
          <ac:chgData name="Matthäus Alberding" userId="89cdd4c9-d044-4ab4-9e6f-8f065e0119c4" providerId="ADAL" clId="{B6745356-B6CF-45AA-ADCC-AC8F740A00DA}" dt="2022-07-26T13:48:13.903" v="71526" actId="478"/>
          <ac:spMkLst>
            <pc:docMk/>
            <pc:sldMk cId="2095349722" sldId="713"/>
            <ac:spMk id="13" creationId="{80ABB229-41F9-432B-9D1B-77589966BC37}"/>
          </ac:spMkLst>
        </pc:spChg>
        <pc:spChg chg="del">
          <ac:chgData name="Matthäus Alberding" userId="89cdd4c9-d044-4ab4-9e6f-8f065e0119c4" providerId="ADAL" clId="{B6745356-B6CF-45AA-ADCC-AC8F740A00DA}" dt="2022-07-26T13:48:13.903" v="71526" actId="478"/>
          <ac:spMkLst>
            <pc:docMk/>
            <pc:sldMk cId="2095349722" sldId="713"/>
            <ac:spMk id="14" creationId="{93A9869C-F50C-4452-89BD-1568565855E1}"/>
          </ac:spMkLst>
        </pc:spChg>
        <pc:spChg chg="del">
          <ac:chgData name="Matthäus Alberding" userId="89cdd4c9-d044-4ab4-9e6f-8f065e0119c4" providerId="ADAL" clId="{B6745356-B6CF-45AA-ADCC-AC8F740A00DA}" dt="2022-07-26T13:48:13.903" v="71526" actId="478"/>
          <ac:spMkLst>
            <pc:docMk/>
            <pc:sldMk cId="2095349722" sldId="713"/>
            <ac:spMk id="15" creationId="{17ADF6C9-D911-4168-9B46-EB65BF7ED94B}"/>
          </ac:spMkLst>
        </pc:spChg>
        <pc:spChg chg="del">
          <ac:chgData name="Matthäus Alberding" userId="89cdd4c9-d044-4ab4-9e6f-8f065e0119c4" providerId="ADAL" clId="{B6745356-B6CF-45AA-ADCC-AC8F740A00DA}" dt="2022-07-26T13:48:13.903" v="71526" actId="478"/>
          <ac:spMkLst>
            <pc:docMk/>
            <pc:sldMk cId="2095349722" sldId="713"/>
            <ac:spMk id="17" creationId="{D884B652-D86B-455C-BF1C-F0F93E482EB5}"/>
          </ac:spMkLst>
        </pc:spChg>
        <pc:spChg chg="mod">
          <ac:chgData name="Matthäus Alberding" userId="89cdd4c9-d044-4ab4-9e6f-8f065e0119c4" providerId="ADAL" clId="{B6745356-B6CF-45AA-ADCC-AC8F740A00DA}" dt="2022-07-26T14:34:10.245" v="77271" actId="207"/>
          <ac:spMkLst>
            <pc:docMk/>
            <pc:sldMk cId="2095349722" sldId="713"/>
            <ac:spMk id="19" creationId="{F5BFC6A9-7B32-4F08-ADC0-2A024C0A5DEC}"/>
          </ac:spMkLst>
        </pc:spChg>
        <pc:spChg chg="mod">
          <ac:chgData name="Matthäus Alberding" userId="89cdd4c9-d044-4ab4-9e6f-8f065e0119c4" providerId="ADAL" clId="{B6745356-B6CF-45AA-ADCC-AC8F740A00DA}" dt="2022-07-26T14:34:10.245" v="77271" actId="207"/>
          <ac:spMkLst>
            <pc:docMk/>
            <pc:sldMk cId="2095349722" sldId="713"/>
            <ac:spMk id="21" creationId="{E311A4D7-3C52-4A3C-8966-50070256C08F}"/>
          </ac:spMkLst>
        </pc:spChg>
        <pc:spChg chg="del">
          <ac:chgData name="Matthäus Alberding" userId="89cdd4c9-d044-4ab4-9e6f-8f065e0119c4" providerId="ADAL" clId="{B6745356-B6CF-45AA-ADCC-AC8F740A00DA}" dt="2022-07-26T13:49:23.625" v="71546" actId="478"/>
          <ac:spMkLst>
            <pc:docMk/>
            <pc:sldMk cId="2095349722" sldId="713"/>
            <ac:spMk id="22" creationId="{7E325468-45E4-4646-BFF8-DC08B036355D}"/>
          </ac:spMkLst>
        </pc:spChg>
        <pc:spChg chg="del mod">
          <ac:chgData name="Matthäus Alberding" userId="89cdd4c9-d044-4ab4-9e6f-8f065e0119c4" providerId="ADAL" clId="{B6745356-B6CF-45AA-ADCC-AC8F740A00DA}" dt="2022-07-26T14:01:39.457" v="72693" actId="478"/>
          <ac:spMkLst>
            <pc:docMk/>
            <pc:sldMk cId="2095349722" sldId="713"/>
            <ac:spMk id="23" creationId="{7830EC54-D42A-4636-B369-75283C15128D}"/>
          </ac:spMkLst>
        </pc:spChg>
        <pc:spChg chg="mod">
          <ac:chgData name="Matthäus Alberding" userId="89cdd4c9-d044-4ab4-9e6f-8f065e0119c4" providerId="ADAL" clId="{B6745356-B6CF-45AA-ADCC-AC8F740A00DA}" dt="2022-07-26T14:34:10.245" v="77271" actId="207"/>
          <ac:spMkLst>
            <pc:docMk/>
            <pc:sldMk cId="2095349722" sldId="713"/>
            <ac:spMk id="25" creationId="{FF68B786-17FA-47A5-A7F4-B86D0F8EEB26}"/>
          </ac:spMkLst>
        </pc:spChg>
        <pc:spChg chg="del">
          <ac:chgData name="Matthäus Alberding" userId="89cdd4c9-d044-4ab4-9e6f-8f065e0119c4" providerId="ADAL" clId="{B6745356-B6CF-45AA-ADCC-AC8F740A00DA}" dt="2022-07-26T13:48:13.903" v="71526" actId="478"/>
          <ac:spMkLst>
            <pc:docMk/>
            <pc:sldMk cId="2095349722" sldId="713"/>
            <ac:spMk id="26" creationId="{DB1A08AC-C153-44DF-A1A5-D6F1DD675DB7}"/>
          </ac:spMkLst>
        </pc:spChg>
        <pc:spChg chg="mod">
          <ac:chgData name="Matthäus Alberding" userId="89cdd4c9-d044-4ab4-9e6f-8f065e0119c4" providerId="ADAL" clId="{B6745356-B6CF-45AA-ADCC-AC8F740A00DA}" dt="2022-07-26T14:34:10.245" v="77271" actId="207"/>
          <ac:spMkLst>
            <pc:docMk/>
            <pc:sldMk cId="2095349722" sldId="713"/>
            <ac:spMk id="27" creationId="{3064FBB9-3854-409A-B2AC-8E6771C1B073}"/>
          </ac:spMkLst>
        </pc:spChg>
        <pc:spChg chg="add mod">
          <ac:chgData name="Matthäus Alberding" userId="89cdd4c9-d044-4ab4-9e6f-8f065e0119c4" providerId="ADAL" clId="{B6745356-B6CF-45AA-ADCC-AC8F740A00DA}" dt="2022-07-26T14:34:15.877" v="77272" actId="207"/>
          <ac:spMkLst>
            <pc:docMk/>
            <pc:sldMk cId="2095349722" sldId="713"/>
            <ac:spMk id="31" creationId="{4DCDC9B2-1B41-4140-9A60-2AAADD82F22D}"/>
          </ac:spMkLst>
        </pc:spChg>
        <pc:spChg chg="add mod">
          <ac:chgData name="Matthäus Alberding" userId="89cdd4c9-d044-4ab4-9e6f-8f065e0119c4" providerId="ADAL" clId="{B6745356-B6CF-45AA-ADCC-AC8F740A00DA}" dt="2022-07-26T14:34:10.245" v="77271" actId="207"/>
          <ac:spMkLst>
            <pc:docMk/>
            <pc:sldMk cId="2095349722" sldId="713"/>
            <ac:spMk id="32" creationId="{E2A93713-45DD-4D53-964E-74C7680E380F}"/>
          </ac:spMkLst>
        </pc:spChg>
        <pc:spChg chg="mod">
          <ac:chgData name="Matthäus Alberding" userId="89cdd4c9-d044-4ab4-9e6f-8f065e0119c4" providerId="ADAL" clId="{B6745356-B6CF-45AA-ADCC-AC8F740A00DA}" dt="2022-07-26T14:28:06.303" v="75972" actId="404"/>
          <ac:spMkLst>
            <pc:docMk/>
            <pc:sldMk cId="2095349722" sldId="713"/>
            <ac:spMk id="34" creationId="{3A1A497D-D1A7-4607-957D-850104E2ED6F}"/>
          </ac:spMkLst>
        </pc:spChg>
        <pc:spChg chg="mod">
          <ac:chgData name="Matthäus Alberding" userId="89cdd4c9-d044-4ab4-9e6f-8f065e0119c4" providerId="ADAL" clId="{B6745356-B6CF-45AA-ADCC-AC8F740A00DA}" dt="2022-07-26T14:28:04.295" v="75971" actId="404"/>
          <ac:spMkLst>
            <pc:docMk/>
            <pc:sldMk cId="2095349722" sldId="713"/>
            <ac:spMk id="35" creationId="{F71457AE-BCAB-41CA-BB85-BD9782BF4084}"/>
          </ac:spMkLst>
        </pc:spChg>
        <pc:spChg chg="add mod">
          <ac:chgData name="Matthäus Alberding" userId="89cdd4c9-d044-4ab4-9e6f-8f065e0119c4" providerId="ADAL" clId="{B6745356-B6CF-45AA-ADCC-AC8F740A00DA}" dt="2022-07-26T14:27:48.745" v="75965" actId="14100"/>
          <ac:spMkLst>
            <pc:docMk/>
            <pc:sldMk cId="2095349722" sldId="713"/>
            <ac:spMk id="39" creationId="{F039DE49-170A-44F4-BA61-3EFEC6B7134A}"/>
          </ac:spMkLst>
        </pc:spChg>
        <pc:spChg chg="add mod">
          <ac:chgData name="Matthäus Alberding" userId="89cdd4c9-d044-4ab4-9e6f-8f065e0119c4" providerId="ADAL" clId="{B6745356-B6CF-45AA-ADCC-AC8F740A00DA}" dt="2022-07-26T14:27:51.986" v="75966" actId="14100"/>
          <ac:spMkLst>
            <pc:docMk/>
            <pc:sldMk cId="2095349722" sldId="713"/>
            <ac:spMk id="40" creationId="{9A47BBB8-9A79-438E-80B5-5DA86BE86BFC}"/>
          </ac:spMkLst>
        </pc:spChg>
        <pc:spChg chg="add del mod modVis">
          <ac:chgData name="Matthäus Alberding" userId="89cdd4c9-d044-4ab4-9e6f-8f065e0119c4" providerId="ADAL" clId="{B6745356-B6CF-45AA-ADCC-AC8F740A00DA}" dt="2022-07-26T14:28:18.099" v="76042"/>
          <ac:spMkLst>
            <pc:docMk/>
            <pc:sldMk cId="2095349722" sldId="713"/>
            <ac:spMk id="44" creationId="{E6740422-E92D-4F92-BD7C-0BDE06E0728F}"/>
          </ac:spMkLst>
        </pc:spChg>
        <pc:spChg chg="add del mod modVis">
          <ac:chgData name="Matthäus Alberding" userId="89cdd4c9-d044-4ab4-9e6f-8f065e0119c4" providerId="ADAL" clId="{B6745356-B6CF-45AA-ADCC-AC8F740A00DA}" dt="2022-07-26T14:28:20.932" v="76099"/>
          <ac:spMkLst>
            <pc:docMk/>
            <pc:sldMk cId="2095349722" sldId="713"/>
            <ac:spMk id="45" creationId="{EEBF4A37-5834-442B-AFC0-0CFBDAAF33C6}"/>
          </ac:spMkLst>
        </pc:spChg>
        <pc:spChg chg="add del mod modVis">
          <ac:chgData name="Matthäus Alberding" userId="89cdd4c9-d044-4ab4-9e6f-8f065e0119c4" providerId="ADAL" clId="{B6745356-B6CF-45AA-ADCC-AC8F740A00DA}" dt="2022-07-26T14:28:22.739" v="76147"/>
          <ac:spMkLst>
            <pc:docMk/>
            <pc:sldMk cId="2095349722" sldId="713"/>
            <ac:spMk id="47" creationId="{4D0980C6-E840-4FA6-AAB6-742EA55D026A}"/>
          </ac:spMkLst>
        </pc:spChg>
        <pc:spChg chg="add del mod modVis">
          <ac:chgData name="Matthäus Alberding" userId="89cdd4c9-d044-4ab4-9e6f-8f065e0119c4" providerId="ADAL" clId="{B6745356-B6CF-45AA-ADCC-AC8F740A00DA}" dt="2022-07-26T14:28:24.479" v="76199"/>
          <ac:spMkLst>
            <pc:docMk/>
            <pc:sldMk cId="2095349722" sldId="713"/>
            <ac:spMk id="48" creationId="{4753C6AB-27DB-4E49-A4A2-27B2D37DC0A1}"/>
          </ac:spMkLst>
        </pc:spChg>
        <pc:spChg chg="add del mod modVis">
          <ac:chgData name="Matthäus Alberding" userId="89cdd4c9-d044-4ab4-9e6f-8f065e0119c4" providerId="ADAL" clId="{B6745356-B6CF-45AA-ADCC-AC8F740A00DA}" dt="2022-07-26T14:28:34.089" v="76262"/>
          <ac:spMkLst>
            <pc:docMk/>
            <pc:sldMk cId="2095349722" sldId="713"/>
            <ac:spMk id="49" creationId="{C9751DF2-8E83-4029-BFAF-8EDCB23F95A2}"/>
          </ac:spMkLst>
        </pc:spChg>
        <pc:spChg chg="add mod">
          <ac:chgData name="Matthäus Alberding" userId="89cdd4c9-d044-4ab4-9e6f-8f065e0119c4" providerId="ADAL" clId="{B6745356-B6CF-45AA-ADCC-AC8F740A00DA}" dt="2022-07-26T14:01:44.584" v="72698"/>
          <ac:spMkLst>
            <pc:docMk/>
            <pc:sldMk cId="2095349722" sldId="713"/>
            <ac:spMk id="50" creationId="{63F259F5-0755-4DFD-8124-EB7D34A831B5}"/>
          </ac:spMkLst>
        </pc:spChg>
        <pc:spChg chg="add mod">
          <ac:chgData name="Matthäus Alberding" userId="89cdd4c9-d044-4ab4-9e6f-8f065e0119c4" providerId="ADAL" clId="{B6745356-B6CF-45AA-ADCC-AC8F740A00DA}" dt="2022-07-26T14:01:44.584" v="72698"/>
          <ac:spMkLst>
            <pc:docMk/>
            <pc:sldMk cId="2095349722" sldId="713"/>
            <ac:spMk id="51" creationId="{92CDC788-A66C-4CA6-B7A0-5F467A18CAEB}"/>
          </ac:spMkLst>
        </pc:spChg>
        <pc:spChg chg="add mod">
          <ac:chgData name="Matthäus Alberding" userId="89cdd4c9-d044-4ab4-9e6f-8f065e0119c4" providerId="ADAL" clId="{B6745356-B6CF-45AA-ADCC-AC8F740A00DA}" dt="2022-07-26T14:01:44.584" v="72698"/>
          <ac:spMkLst>
            <pc:docMk/>
            <pc:sldMk cId="2095349722" sldId="713"/>
            <ac:spMk id="52" creationId="{7454D070-3397-4E1C-B3C2-85B4A46C9961}"/>
          </ac:spMkLst>
        </pc:spChg>
        <pc:spChg chg="add mod">
          <ac:chgData name="Matthäus Alberding" userId="89cdd4c9-d044-4ab4-9e6f-8f065e0119c4" providerId="ADAL" clId="{B6745356-B6CF-45AA-ADCC-AC8F740A00DA}" dt="2022-07-26T14:34:15.877" v="77272" actId="207"/>
          <ac:spMkLst>
            <pc:docMk/>
            <pc:sldMk cId="2095349722" sldId="713"/>
            <ac:spMk id="53" creationId="{7F4D89DF-EE8A-4D50-9036-540141F1E6BB}"/>
          </ac:spMkLst>
        </pc:spChg>
        <pc:spChg chg="add del mod modVis">
          <ac:chgData name="Matthäus Alberding" userId="89cdd4c9-d044-4ab4-9e6f-8f065e0119c4" providerId="ADAL" clId="{B6745356-B6CF-45AA-ADCC-AC8F740A00DA}" dt="2022-07-26T14:28:40.276" v="76338"/>
          <ac:spMkLst>
            <pc:docMk/>
            <pc:sldMk cId="2095349722" sldId="713"/>
            <ac:spMk id="54" creationId="{A07B1323-1A82-4D2C-9895-3C5C450741C0}"/>
          </ac:spMkLst>
        </pc:spChg>
        <pc:spChg chg="del mod">
          <ac:chgData name="Matthäus Alberding" userId="89cdd4c9-d044-4ab4-9e6f-8f065e0119c4" providerId="ADAL" clId="{B6745356-B6CF-45AA-ADCC-AC8F740A00DA}" dt="2022-07-26T14:01:42.846" v="72696" actId="478"/>
          <ac:spMkLst>
            <pc:docMk/>
            <pc:sldMk cId="2095349722" sldId="713"/>
            <ac:spMk id="55" creationId="{03A89C3D-FE47-4EBE-BF95-A370FE36A8D9}"/>
          </ac:spMkLst>
        </pc:spChg>
        <pc:spChg chg="del mod">
          <ac:chgData name="Matthäus Alberding" userId="89cdd4c9-d044-4ab4-9e6f-8f065e0119c4" providerId="ADAL" clId="{B6745356-B6CF-45AA-ADCC-AC8F740A00DA}" dt="2022-07-26T14:01:40.071" v="72694" actId="478"/>
          <ac:spMkLst>
            <pc:docMk/>
            <pc:sldMk cId="2095349722" sldId="713"/>
            <ac:spMk id="56" creationId="{1A4344D1-57A6-4EC0-A1E6-57C49D182F1E}"/>
          </ac:spMkLst>
        </pc:spChg>
        <pc:spChg chg="del">
          <ac:chgData name="Matthäus Alberding" userId="89cdd4c9-d044-4ab4-9e6f-8f065e0119c4" providerId="ADAL" clId="{B6745356-B6CF-45AA-ADCC-AC8F740A00DA}" dt="2022-07-26T13:48:13.903" v="71526" actId="478"/>
          <ac:spMkLst>
            <pc:docMk/>
            <pc:sldMk cId="2095349722" sldId="713"/>
            <ac:spMk id="57" creationId="{2A2771F3-338C-4721-9F2E-9CE16229C7D8}"/>
          </ac:spMkLst>
        </pc:spChg>
        <pc:spChg chg="del">
          <ac:chgData name="Matthäus Alberding" userId="89cdd4c9-d044-4ab4-9e6f-8f065e0119c4" providerId="ADAL" clId="{B6745356-B6CF-45AA-ADCC-AC8F740A00DA}" dt="2022-07-26T13:49:13.410" v="71542" actId="478"/>
          <ac:spMkLst>
            <pc:docMk/>
            <pc:sldMk cId="2095349722" sldId="713"/>
            <ac:spMk id="59" creationId="{1910B47F-A168-4F17-99B5-68A3F660413C}"/>
          </ac:spMkLst>
        </pc:spChg>
        <pc:spChg chg="del">
          <ac:chgData name="Matthäus Alberding" userId="89cdd4c9-d044-4ab4-9e6f-8f065e0119c4" providerId="ADAL" clId="{B6745356-B6CF-45AA-ADCC-AC8F740A00DA}" dt="2022-07-26T13:48:13.903" v="71526" actId="478"/>
          <ac:spMkLst>
            <pc:docMk/>
            <pc:sldMk cId="2095349722" sldId="713"/>
            <ac:spMk id="60" creationId="{DDEED5E3-EE74-4965-8396-D28A37B4CEAB}"/>
          </ac:spMkLst>
        </pc:spChg>
        <pc:spChg chg="del">
          <ac:chgData name="Matthäus Alberding" userId="89cdd4c9-d044-4ab4-9e6f-8f065e0119c4" providerId="ADAL" clId="{B6745356-B6CF-45AA-ADCC-AC8F740A00DA}" dt="2022-07-26T14:01:43.628" v="72697" actId="478"/>
          <ac:spMkLst>
            <pc:docMk/>
            <pc:sldMk cId="2095349722" sldId="713"/>
            <ac:spMk id="61" creationId="{311C1F43-DDB4-48CB-BE5E-96760BE9C625}"/>
          </ac:spMkLst>
        </pc:spChg>
        <pc:spChg chg="mod">
          <ac:chgData name="Matthäus Alberding" userId="89cdd4c9-d044-4ab4-9e6f-8f065e0119c4" providerId="ADAL" clId="{B6745356-B6CF-45AA-ADCC-AC8F740A00DA}" dt="2022-07-26T14:27:59.510" v="75969"/>
          <ac:spMkLst>
            <pc:docMk/>
            <pc:sldMk cId="2095349722" sldId="713"/>
            <ac:spMk id="62" creationId="{92A94C93-D814-4AE1-B635-38DEEEDEC2B5}"/>
          </ac:spMkLst>
        </pc:spChg>
        <pc:spChg chg="mod">
          <ac:chgData name="Matthäus Alberding" userId="89cdd4c9-d044-4ab4-9e6f-8f065e0119c4" providerId="ADAL" clId="{B6745356-B6CF-45AA-ADCC-AC8F740A00DA}" dt="2022-07-26T14:27:59.510" v="75969"/>
          <ac:spMkLst>
            <pc:docMk/>
            <pc:sldMk cId="2095349722" sldId="713"/>
            <ac:spMk id="63" creationId="{1315D570-D241-46AF-A9A7-5C57E2325078}"/>
          </ac:spMkLst>
        </pc:spChg>
        <pc:spChg chg="add del mod modVis">
          <ac:chgData name="Matthäus Alberding" userId="89cdd4c9-d044-4ab4-9e6f-8f065e0119c4" providerId="ADAL" clId="{B6745356-B6CF-45AA-ADCC-AC8F740A00DA}" dt="2022-07-26T14:30:13.049" v="76675"/>
          <ac:spMkLst>
            <pc:docMk/>
            <pc:sldMk cId="2095349722" sldId="713"/>
            <ac:spMk id="64" creationId="{A3783C50-7072-44A2-AC26-F6F26B2119DF}"/>
          </ac:spMkLst>
        </pc:spChg>
        <pc:spChg chg="add del mod modVis">
          <ac:chgData name="Matthäus Alberding" userId="89cdd4c9-d044-4ab4-9e6f-8f065e0119c4" providerId="ADAL" clId="{B6745356-B6CF-45AA-ADCC-AC8F740A00DA}" dt="2022-07-26T14:30:13.967" v="76718"/>
          <ac:spMkLst>
            <pc:docMk/>
            <pc:sldMk cId="2095349722" sldId="713"/>
            <ac:spMk id="65" creationId="{E23B3A7B-172C-4209-AE4C-733689C607A6}"/>
          </ac:spMkLst>
        </pc:spChg>
        <pc:spChg chg="add del mod modVis">
          <ac:chgData name="Matthäus Alberding" userId="89cdd4c9-d044-4ab4-9e6f-8f065e0119c4" providerId="ADAL" clId="{B6745356-B6CF-45AA-ADCC-AC8F740A00DA}" dt="2022-07-26T14:30:15.640" v="76773"/>
          <ac:spMkLst>
            <pc:docMk/>
            <pc:sldMk cId="2095349722" sldId="713"/>
            <ac:spMk id="66" creationId="{FB5CB4EC-F90E-422B-9AB5-307114B40307}"/>
          </ac:spMkLst>
        </pc:spChg>
        <pc:spChg chg="add del mod modVis">
          <ac:chgData name="Matthäus Alberding" userId="89cdd4c9-d044-4ab4-9e6f-8f065e0119c4" providerId="ADAL" clId="{B6745356-B6CF-45AA-ADCC-AC8F740A00DA}" dt="2022-07-26T14:30:16.820" v="76816"/>
          <ac:spMkLst>
            <pc:docMk/>
            <pc:sldMk cId="2095349722" sldId="713"/>
            <ac:spMk id="67" creationId="{646A70C8-024D-44D7-8D11-24BF82803A22}"/>
          </ac:spMkLst>
        </pc:spChg>
        <pc:spChg chg="add del mod modVis">
          <ac:chgData name="Matthäus Alberding" userId="89cdd4c9-d044-4ab4-9e6f-8f065e0119c4" providerId="ADAL" clId="{B6745356-B6CF-45AA-ADCC-AC8F740A00DA}" dt="2022-07-26T14:30:22.678" v="76874"/>
          <ac:spMkLst>
            <pc:docMk/>
            <pc:sldMk cId="2095349722" sldId="713"/>
            <ac:spMk id="68" creationId="{7EC1F731-8FCD-4982-B4EF-2574A78345BD}"/>
          </ac:spMkLst>
        </pc:spChg>
        <pc:spChg chg="add del mod modVis">
          <ac:chgData name="Matthäus Alberding" userId="89cdd4c9-d044-4ab4-9e6f-8f065e0119c4" providerId="ADAL" clId="{B6745356-B6CF-45AA-ADCC-AC8F740A00DA}" dt="2022-07-26T14:30:23.200" v="76917"/>
          <ac:spMkLst>
            <pc:docMk/>
            <pc:sldMk cId="2095349722" sldId="713"/>
            <ac:spMk id="69" creationId="{69084933-C19C-4D0A-B14A-6D0769C22864}"/>
          </ac:spMkLst>
        </pc:spChg>
        <pc:spChg chg="add del mod modVis">
          <ac:chgData name="Matthäus Alberding" userId="89cdd4c9-d044-4ab4-9e6f-8f065e0119c4" providerId="ADAL" clId="{B6745356-B6CF-45AA-ADCC-AC8F740A00DA}" dt="2022-07-26T14:30:26.329" v="76991"/>
          <ac:spMkLst>
            <pc:docMk/>
            <pc:sldMk cId="2095349722" sldId="713"/>
            <ac:spMk id="70" creationId="{0EF1878E-10CC-47CD-BBCA-BF23D7DC1788}"/>
          </ac:spMkLst>
        </pc:spChg>
        <pc:spChg chg="add del mod modVis">
          <ac:chgData name="Matthäus Alberding" userId="89cdd4c9-d044-4ab4-9e6f-8f065e0119c4" providerId="ADAL" clId="{B6745356-B6CF-45AA-ADCC-AC8F740A00DA}" dt="2022-07-26T14:30:28.453" v="77048"/>
          <ac:spMkLst>
            <pc:docMk/>
            <pc:sldMk cId="2095349722" sldId="713"/>
            <ac:spMk id="71" creationId="{B3ED1C88-8425-49D4-8D84-EADD6190AAE7}"/>
          </ac:spMkLst>
        </pc:spChg>
        <pc:spChg chg="add del mod modVis">
          <ac:chgData name="Matthäus Alberding" userId="89cdd4c9-d044-4ab4-9e6f-8f065e0119c4" providerId="ADAL" clId="{B6745356-B6CF-45AA-ADCC-AC8F740A00DA}" dt="2022-07-26T14:34:23.692" v="77327"/>
          <ac:spMkLst>
            <pc:docMk/>
            <pc:sldMk cId="2095349722" sldId="713"/>
            <ac:spMk id="72" creationId="{840A1FD9-2438-441A-89E8-D58538555887}"/>
          </ac:spMkLst>
        </pc:spChg>
        <pc:spChg chg="add del mod modVis">
          <ac:chgData name="Matthäus Alberding" userId="89cdd4c9-d044-4ab4-9e6f-8f065e0119c4" providerId="ADAL" clId="{B6745356-B6CF-45AA-ADCC-AC8F740A00DA}" dt="2022-07-26T14:34:27.126" v="77393"/>
          <ac:spMkLst>
            <pc:docMk/>
            <pc:sldMk cId="2095349722" sldId="713"/>
            <ac:spMk id="73" creationId="{D04DEE11-1253-4F03-BE35-E67E13AD4077}"/>
          </ac:spMkLst>
        </pc:spChg>
        <pc:spChg chg="add del mod modVis">
          <ac:chgData name="Matthäus Alberding" userId="89cdd4c9-d044-4ab4-9e6f-8f065e0119c4" providerId="ADAL" clId="{B6745356-B6CF-45AA-ADCC-AC8F740A00DA}" dt="2022-07-26T14:34:29.593" v="77453"/>
          <ac:spMkLst>
            <pc:docMk/>
            <pc:sldMk cId="2095349722" sldId="713"/>
            <ac:spMk id="74" creationId="{098203ED-A9A0-47C8-9FD4-45D9367CAA9B}"/>
          </ac:spMkLst>
        </pc:spChg>
        <pc:spChg chg="mod">
          <ac:chgData name="Matthäus Alberding" userId="89cdd4c9-d044-4ab4-9e6f-8f065e0119c4" providerId="ADAL" clId="{B6745356-B6CF-45AA-ADCC-AC8F740A00DA}" dt="2022-07-26T14:35:15.247" v="77496" actId="20577"/>
          <ac:spMkLst>
            <pc:docMk/>
            <pc:sldMk cId="2095349722" sldId="713"/>
            <ac:spMk id="76" creationId="{256EF23F-92F4-4A72-B39F-886D4B990EA2}"/>
          </ac:spMkLst>
        </pc:spChg>
        <pc:spChg chg="mod">
          <ac:chgData name="Matthäus Alberding" userId="89cdd4c9-d044-4ab4-9e6f-8f065e0119c4" providerId="ADAL" clId="{B6745356-B6CF-45AA-ADCC-AC8F740A00DA}" dt="2022-07-26T14:37:00.821" v="77822" actId="20577"/>
          <ac:spMkLst>
            <pc:docMk/>
            <pc:sldMk cId="2095349722" sldId="713"/>
            <ac:spMk id="77" creationId="{FE9B6AC1-FAC3-4A07-86EC-78D45F857177}"/>
          </ac:spMkLst>
        </pc:spChg>
        <pc:spChg chg="mod">
          <ac:chgData name="Matthäus Alberding" userId="89cdd4c9-d044-4ab4-9e6f-8f065e0119c4" providerId="ADAL" clId="{B6745356-B6CF-45AA-ADCC-AC8F740A00DA}" dt="2022-07-26T14:37:36.639" v="77940" actId="20577"/>
          <ac:spMkLst>
            <pc:docMk/>
            <pc:sldMk cId="2095349722" sldId="713"/>
            <ac:spMk id="82" creationId="{42E6A5CD-A796-43CB-BB7E-41A6D1033B17}"/>
          </ac:spMkLst>
        </pc:spChg>
        <pc:spChg chg="mod">
          <ac:chgData name="Matthäus Alberding" userId="89cdd4c9-d044-4ab4-9e6f-8f065e0119c4" providerId="ADAL" clId="{B6745356-B6CF-45AA-ADCC-AC8F740A00DA}" dt="2022-07-26T14:40:53.963" v="78224" actId="20577"/>
          <ac:spMkLst>
            <pc:docMk/>
            <pc:sldMk cId="2095349722" sldId="713"/>
            <ac:spMk id="83" creationId="{A89F3D11-EB4F-46EB-8753-EF7026ABF8C9}"/>
          </ac:spMkLst>
        </pc:spChg>
        <pc:grpChg chg="add mod">
          <ac:chgData name="Matthäus Alberding" userId="89cdd4c9-d044-4ab4-9e6f-8f065e0119c4" providerId="ADAL" clId="{B6745356-B6CF-45AA-ADCC-AC8F740A00DA}" dt="2022-07-26T14:27:58.548" v="75968" actId="1076"/>
          <ac:grpSpMkLst>
            <pc:docMk/>
            <pc:sldMk cId="2095349722" sldId="713"/>
            <ac:grpSpMk id="33" creationId="{AFDD9A2A-6DD3-4A4A-9612-91EE2E6DB92C}"/>
          </ac:grpSpMkLst>
        </pc:grpChg>
        <pc:grpChg chg="add del mod">
          <ac:chgData name="Matthäus Alberding" userId="89cdd4c9-d044-4ab4-9e6f-8f065e0119c4" providerId="ADAL" clId="{B6745356-B6CF-45AA-ADCC-AC8F740A00DA}" dt="2022-07-26T14:34:38.691" v="77456" actId="478"/>
          <ac:grpSpMkLst>
            <pc:docMk/>
            <pc:sldMk cId="2095349722" sldId="713"/>
            <ac:grpSpMk id="58" creationId="{2E46B715-D37B-404C-98CD-95D98E576D9E}"/>
          </ac:grpSpMkLst>
        </pc:grpChg>
        <pc:grpChg chg="add mod">
          <ac:chgData name="Matthäus Alberding" userId="89cdd4c9-d044-4ab4-9e6f-8f065e0119c4" providerId="ADAL" clId="{B6745356-B6CF-45AA-ADCC-AC8F740A00DA}" dt="2022-07-26T14:35:47.116" v="77600" actId="1076"/>
          <ac:grpSpMkLst>
            <pc:docMk/>
            <pc:sldMk cId="2095349722" sldId="713"/>
            <ac:grpSpMk id="75" creationId="{BCB8CD3E-62A7-4431-9AB8-6A09EB6B464F}"/>
          </ac:grpSpMkLst>
        </pc:grpChg>
        <pc:grpChg chg="add mod">
          <ac:chgData name="Matthäus Alberding" userId="89cdd4c9-d044-4ab4-9e6f-8f065e0119c4" providerId="ADAL" clId="{B6745356-B6CF-45AA-ADCC-AC8F740A00DA}" dt="2022-07-26T14:37:16.637" v="77827" actId="1076"/>
          <ac:grpSpMkLst>
            <pc:docMk/>
            <pc:sldMk cId="2095349722" sldId="713"/>
            <ac:grpSpMk id="81" creationId="{C7E44B73-75B6-41A5-999D-CB97D08F92E7}"/>
          </ac:grpSpMkLst>
        </pc:grpChg>
        <pc:graphicFrameChg chg="mod">
          <ac:chgData name="Matthäus Alberding" userId="89cdd4c9-d044-4ab4-9e6f-8f065e0119c4" providerId="ADAL" clId="{B6745356-B6CF-45AA-ADCC-AC8F740A00DA}" dt="2022-07-26T14:34:29.593" v="77455"/>
          <ac:graphicFrameMkLst>
            <pc:docMk/>
            <pc:sldMk cId="2095349722" sldId="713"/>
            <ac:graphicFrameMk id="41" creationId="{6FD40599-561A-4F97-B337-86C4D5391629}"/>
          </ac:graphicFrameMkLst>
        </pc:graphicFrameChg>
        <pc:picChg chg="mod modCrop">
          <ac:chgData name="Matthäus Alberding" userId="89cdd4c9-d044-4ab4-9e6f-8f065e0119c4" providerId="ADAL" clId="{B6745356-B6CF-45AA-ADCC-AC8F740A00DA}" dt="2022-07-26T13:48:11.342" v="71525" actId="732"/>
          <ac:picMkLst>
            <pc:docMk/>
            <pc:sldMk cId="2095349722" sldId="713"/>
            <ac:picMk id="9" creationId="{9437DA43-FF93-48FB-81B5-DBAA3DEC1561}"/>
          </ac:picMkLst>
        </pc:picChg>
        <pc:cxnChg chg="add mod">
          <ac:chgData name="Matthäus Alberding" userId="89cdd4c9-d044-4ab4-9e6f-8f065e0119c4" providerId="ADAL" clId="{B6745356-B6CF-45AA-ADCC-AC8F740A00DA}" dt="2022-07-26T14:27:37.234" v="75961" actId="14100"/>
          <ac:cxnSpMkLst>
            <pc:docMk/>
            <pc:sldMk cId="2095349722" sldId="713"/>
            <ac:cxnSpMk id="8" creationId="{0352BB0F-C475-4D82-AB2D-FD3427EF506E}"/>
          </ac:cxnSpMkLst>
        </pc:cxnChg>
        <pc:cxnChg chg="add del mod">
          <ac:chgData name="Matthäus Alberding" userId="89cdd4c9-d044-4ab4-9e6f-8f065e0119c4" providerId="ADAL" clId="{B6745356-B6CF-45AA-ADCC-AC8F740A00DA}" dt="2022-07-26T14:58:33.548" v="80266" actId="478"/>
          <ac:cxnSpMkLst>
            <pc:docMk/>
            <pc:sldMk cId="2095349722" sldId="713"/>
            <ac:cxnSpMk id="43" creationId="{DFFC0F42-0006-4D2D-B8DC-91B43103D0CA}"/>
          </ac:cxnSpMkLst>
        </pc:cxnChg>
        <pc:cxnChg chg="add mod">
          <ac:chgData name="Matthäus Alberding" userId="89cdd4c9-d044-4ab4-9e6f-8f065e0119c4" providerId="ADAL" clId="{B6745356-B6CF-45AA-ADCC-AC8F740A00DA}" dt="2022-07-26T14:39:23.532" v="77944" actId="14100"/>
          <ac:cxnSpMkLst>
            <pc:docMk/>
            <pc:sldMk cId="2095349722" sldId="713"/>
            <ac:cxnSpMk id="46" creationId="{9D09D575-978C-49AE-AAA0-0D608E0A120F}"/>
          </ac:cxnSpMkLst>
        </pc:cxnChg>
        <pc:cxnChg chg="add mod">
          <ac:chgData name="Matthäus Alberding" userId="89cdd4c9-d044-4ab4-9e6f-8f065e0119c4" providerId="ADAL" clId="{B6745356-B6CF-45AA-ADCC-AC8F740A00DA}" dt="2022-07-26T14:37:12.829" v="77825" actId="14100"/>
          <ac:cxnSpMkLst>
            <pc:docMk/>
            <pc:sldMk cId="2095349722" sldId="713"/>
            <ac:cxnSpMk id="78" creationId="{86BF5126-BD4F-4303-85DA-B0A5963EA12B}"/>
          </ac:cxnSpMkLst>
        </pc:cxnChg>
      </pc:sldChg>
      <pc:sldChg chg="addSp delSp modSp add mod">
        <pc:chgData name="Matthäus Alberding" userId="89cdd4c9-d044-4ab4-9e6f-8f065e0119c4" providerId="ADAL" clId="{B6745356-B6CF-45AA-ADCC-AC8F740A00DA}" dt="2022-07-26T14:34:48.801" v="77460" actId="404"/>
        <pc:sldMkLst>
          <pc:docMk/>
          <pc:sldMk cId="2205315570" sldId="714"/>
        </pc:sldMkLst>
        <pc:spChg chg="mod ord">
          <ac:chgData name="Matthäus Alberding" userId="89cdd4c9-d044-4ab4-9e6f-8f065e0119c4" providerId="ADAL" clId="{B6745356-B6CF-45AA-ADCC-AC8F740A00DA}" dt="2022-07-26T13:49:34.649" v="71589"/>
          <ac:spMkLst>
            <pc:docMk/>
            <pc:sldMk cId="2205315570" sldId="714"/>
            <ac:spMk id="2" creationId="{78E4B39B-3223-409F-BA04-FB39B05718FC}"/>
          </ac:spMkLst>
        </pc:spChg>
        <pc:spChg chg="mod ord">
          <ac:chgData name="Matthäus Alberding" userId="89cdd4c9-d044-4ab4-9e6f-8f065e0119c4" providerId="ADAL" clId="{B6745356-B6CF-45AA-ADCC-AC8F740A00DA}" dt="2022-07-26T13:49:34.649" v="71591"/>
          <ac:spMkLst>
            <pc:docMk/>
            <pc:sldMk cId="2205315570" sldId="714"/>
            <ac:spMk id="3" creationId="{0252F1E5-3553-4215-B391-CC521A8B7AB2}"/>
          </ac:spMkLst>
        </pc:spChg>
        <pc:spChg chg="mod ord">
          <ac:chgData name="Matthäus Alberding" userId="89cdd4c9-d044-4ab4-9e6f-8f065e0119c4" providerId="ADAL" clId="{B6745356-B6CF-45AA-ADCC-AC8F740A00DA}" dt="2022-07-26T14:03:34.117" v="73885" actId="948"/>
          <ac:spMkLst>
            <pc:docMk/>
            <pc:sldMk cId="2205315570" sldId="714"/>
            <ac:spMk id="4" creationId="{C576965E-3B1C-4D63-938E-36F16A3A3B67}"/>
          </ac:spMkLst>
        </pc:spChg>
        <pc:spChg chg="mod ord">
          <ac:chgData name="Matthäus Alberding" userId="89cdd4c9-d044-4ab4-9e6f-8f065e0119c4" providerId="ADAL" clId="{B6745356-B6CF-45AA-ADCC-AC8F740A00DA}" dt="2022-07-26T14:31:14.319" v="77054" actId="207"/>
          <ac:spMkLst>
            <pc:docMk/>
            <pc:sldMk cId="2205315570" sldId="714"/>
            <ac:spMk id="5" creationId="{28399786-93AD-4226-B646-30005A96E0EE}"/>
          </ac:spMkLst>
        </pc:spChg>
        <pc:spChg chg="mod ord">
          <ac:chgData name="Matthäus Alberding" userId="89cdd4c9-d044-4ab4-9e6f-8f065e0119c4" providerId="ADAL" clId="{B6745356-B6CF-45AA-ADCC-AC8F740A00DA}" dt="2022-07-26T13:49:34.649" v="71597"/>
          <ac:spMkLst>
            <pc:docMk/>
            <pc:sldMk cId="2205315570" sldId="714"/>
            <ac:spMk id="6" creationId="{84B14CFD-D7BF-4C29-895A-409EF3022B09}"/>
          </ac:spMkLst>
        </pc:spChg>
        <pc:spChg chg="add del mod modVis">
          <ac:chgData name="Matthäus Alberding" userId="89cdd4c9-d044-4ab4-9e6f-8f065e0119c4" providerId="ADAL" clId="{B6745356-B6CF-45AA-ADCC-AC8F740A00DA}" dt="2022-07-26T13:49:34.652" v="71623"/>
          <ac:spMkLst>
            <pc:docMk/>
            <pc:sldMk cId="2205315570" sldId="714"/>
            <ac:spMk id="12" creationId="{C913B7A2-E3A2-4F7D-B392-226818D63374}"/>
          </ac:spMkLst>
        </pc:spChg>
        <pc:spChg chg="mod ord">
          <ac:chgData name="Matthäus Alberding" userId="89cdd4c9-d044-4ab4-9e6f-8f065e0119c4" providerId="ADAL" clId="{B6745356-B6CF-45AA-ADCC-AC8F740A00DA}" dt="2022-07-26T14:33:51.359" v="77269" actId="207"/>
          <ac:spMkLst>
            <pc:docMk/>
            <pc:sldMk cId="2205315570" sldId="714"/>
            <ac:spMk id="19" creationId="{F5BFC6A9-7B32-4F08-ADC0-2A024C0A5DEC}"/>
          </ac:spMkLst>
        </pc:spChg>
        <pc:spChg chg="mod ord">
          <ac:chgData name="Matthäus Alberding" userId="89cdd4c9-d044-4ab4-9e6f-8f065e0119c4" providerId="ADAL" clId="{B6745356-B6CF-45AA-ADCC-AC8F740A00DA}" dt="2022-07-26T14:33:51.359" v="77269" actId="207"/>
          <ac:spMkLst>
            <pc:docMk/>
            <pc:sldMk cId="2205315570" sldId="714"/>
            <ac:spMk id="21" creationId="{E311A4D7-3C52-4A3C-8966-50070256C08F}"/>
          </ac:spMkLst>
        </pc:spChg>
        <pc:spChg chg="del">
          <ac:chgData name="Matthäus Alberding" userId="89cdd4c9-d044-4ab4-9e6f-8f065e0119c4" providerId="ADAL" clId="{B6745356-B6CF-45AA-ADCC-AC8F740A00DA}" dt="2022-07-26T13:49:26.760" v="71548" actId="478"/>
          <ac:spMkLst>
            <pc:docMk/>
            <pc:sldMk cId="2205315570" sldId="714"/>
            <ac:spMk id="22" creationId="{7E325468-45E4-4646-BFF8-DC08B036355D}"/>
          </ac:spMkLst>
        </pc:spChg>
        <pc:spChg chg="del mod ord">
          <ac:chgData name="Matthäus Alberding" userId="89cdd4c9-d044-4ab4-9e6f-8f065e0119c4" providerId="ADAL" clId="{B6745356-B6CF-45AA-ADCC-AC8F740A00DA}" dt="2022-07-26T14:01:48.861" v="72700" actId="478"/>
          <ac:spMkLst>
            <pc:docMk/>
            <pc:sldMk cId="2205315570" sldId="714"/>
            <ac:spMk id="23" creationId="{7830EC54-D42A-4636-B369-75283C15128D}"/>
          </ac:spMkLst>
        </pc:spChg>
        <pc:spChg chg="add mod ord">
          <ac:chgData name="Matthäus Alberding" userId="89cdd4c9-d044-4ab4-9e6f-8f065e0119c4" providerId="ADAL" clId="{B6745356-B6CF-45AA-ADCC-AC8F740A00DA}" dt="2022-07-26T14:31:23.708" v="77055" actId="207"/>
          <ac:spMkLst>
            <pc:docMk/>
            <pc:sldMk cId="2205315570" sldId="714"/>
            <ac:spMk id="24" creationId="{25D0CA43-7627-4285-8637-B166B05F3B8E}"/>
          </ac:spMkLst>
        </pc:spChg>
        <pc:spChg chg="mod ord">
          <ac:chgData name="Matthäus Alberding" userId="89cdd4c9-d044-4ab4-9e6f-8f065e0119c4" providerId="ADAL" clId="{B6745356-B6CF-45AA-ADCC-AC8F740A00DA}" dt="2022-07-26T14:33:51.359" v="77269" actId="207"/>
          <ac:spMkLst>
            <pc:docMk/>
            <pc:sldMk cId="2205315570" sldId="714"/>
            <ac:spMk id="25" creationId="{FF68B786-17FA-47A5-A7F4-B86D0F8EEB26}"/>
          </ac:spMkLst>
        </pc:spChg>
        <pc:spChg chg="add mod ord">
          <ac:chgData name="Matthäus Alberding" userId="89cdd4c9-d044-4ab4-9e6f-8f065e0119c4" providerId="ADAL" clId="{B6745356-B6CF-45AA-ADCC-AC8F740A00DA}" dt="2022-07-26T14:33:51.359" v="77269" actId="207"/>
          <ac:spMkLst>
            <pc:docMk/>
            <pc:sldMk cId="2205315570" sldId="714"/>
            <ac:spMk id="26" creationId="{7AD001C8-550B-4011-819C-C19356E3993C}"/>
          </ac:spMkLst>
        </pc:spChg>
        <pc:spChg chg="mod ord">
          <ac:chgData name="Matthäus Alberding" userId="89cdd4c9-d044-4ab4-9e6f-8f065e0119c4" providerId="ADAL" clId="{B6745356-B6CF-45AA-ADCC-AC8F740A00DA}" dt="2022-07-26T14:33:51.359" v="77269" actId="207"/>
          <ac:spMkLst>
            <pc:docMk/>
            <pc:sldMk cId="2205315570" sldId="714"/>
            <ac:spMk id="27" creationId="{3064FBB9-3854-409A-B2AC-8E6771C1B073}"/>
          </ac:spMkLst>
        </pc:spChg>
        <pc:spChg chg="mod">
          <ac:chgData name="Matthäus Alberding" userId="89cdd4c9-d044-4ab4-9e6f-8f065e0119c4" providerId="ADAL" clId="{B6745356-B6CF-45AA-ADCC-AC8F740A00DA}" dt="2022-07-26T14:34:46.300" v="77459" actId="404"/>
          <ac:spMkLst>
            <pc:docMk/>
            <pc:sldMk cId="2205315570" sldId="714"/>
            <ac:spMk id="29" creationId="{86F25D6E-A236-454D-B14B-EF0BFC474D32}"/>
          </ac:spMkLst>
        </pc:spChg>
        <pc:spChg chg="mod">
          <ac:chgData name="Matthäus Alberding" userId="89cdd4c9-d044-4ab4-9e6f-8f065e0119c4" providerId="ADAL" clId="{B6745356-B6CF-45AA-ADCC-AC8F740A00DA}" dt="2022-07-26T14:34:46.300" v="77459" actId="404"/>
          <ac:spMkLst>
            <pc:docMk/>
            <pc:sldMk cId="2205315570" sldId="714"/>
            <ac:spMk id="30" creationId="{43B03822-ED39-464F-BEB3-445671D64BA5}"/>
          </ac:spMkLst>
        </pc:spChg>
        <pc:spChg chg="mod">
          <ac:chgData name="Matthäus Alberding" userId="89cdd4c9-d044-4ab4-9e6f-8f065e0119c4" providerId="ADAL" clId="{B6745356-B6CF-45AA-ADCC-AC8F740A00DA}" dt="2022-07-26T14:34:48.801" v="77460" actId="404"/>
          <ac:spMkLst>
            <pc:docMk/>
            <pc:sldMk cId="2205315570" sldId="714"/>
            <ac:spMk id="35" creationId="{05A078BC-219E-4A9F-87D9-56605DE9EB58}"/>
          </ac:spMkLst>
        </pc:spChg>
        <pc:spChg chg="mod">
          <ac:chgData name="Matthäus Alberding" userId="89cdd4c9-d044-4ab4-9e6f-8f065e0119c4" providerId="ADAL" clId="{B6745356-B6CF-45AA-ADCC-AC8F740A00DA}" dt="2022-07-26T14:34:48.801" v="77460" actId="404"/>
          <ac:spMkLst>
            <pc:docMk/>
            <pc:sldMk cId="2205315570" sldId="714"/>
            <ac:spMk id="36" creationId="{679C7C1E-D17B-49B8-947F-E9DCAA432663}"/>
          </ac:spMkLst>
        </pc:spChg>
        <pc:spChg chg="add mod">
          <ac:chgData name="Matthäus Alberding" userId="89cdd4c9-d044-4ab4-9e6f-8f065e0119c4" providerId="ADAL" clId="{B6745356-B6CF-45AA-ADCC-AC8F740A00DA}" dt="2022-07-26T14:31:14.319" v="77054" actId="207"/>
          <ac:spMkLst>
            <pc:docMk/>
            <pc:sldMk cId="2205315570" sldId="714"/>
            <ac:spMk id="37" creationId="{F7673CFA-8D21-40D7-8A31-0234D4E6CBE7}"/>
          </ac:spMkLst>
        </pc:spChg>
        <pc:spChg chg="add del mod modVis">
          <ac:chgData name="Matthäus Alberding" userId="89cdd4c9-d044-4ab4-9e6f-8f065e0119c4" providerId="ADAL" clId="{B6745356-B6CF-45AA-ADCC-AC8F740A00DA}" dt="2022-07-26T14:02:39.808" v="73074"/>
          <ac:spMkLst>
            <pc:docMk/>
            <pc:sldMk cId="2205315570" sldId="714"/>
            <ac:spMk id="40" creationId="{5DC07A6A-DFE1-48AD-8052-1F01F5331E0C}"/>
          </ac:spMkLst>
        </pc:spChg>
        <pc:spChg chg="add del mod modVis">
          <ac:chgData name="Matthäus Alberding" userId="89cdd4c9-d044-4ab4-9e6f-8f065e0119c4" providerId="ADAL" clId="{B6745356-B6CF-45AA-ADCC-AC8F740A00DA}" dt="2022-07-26T14:02:40.963" v="73117"/>
          <ac:spMkLst>
            <pc:docMk/>
            <pc:sldMk cId="2205315570" sldId="714"/>
            <ac:spMk id="42" creationId="{C88BFA6C-1E79-4178-B2EC-E1EFFFDE470F}"/>
          </ac:spMkLst>
        </pc:spChg>
        <pc:spChg chg="add del mod modVis">
          <ac:chgData name="Matthäus Alberding" userId="89cdd4c9-d044-4ab4-9e6f-8f065e0119c4" providerId="ADAL" clId="{B6745356-B6CF-45AA-ADCC-AC8F740A00DA}" dt="2022-07-26T14:02:46.616" v="73206"/>
          <ac:spMkLst>
            <pc:docMk/>
            <pc:sldMk cId="2205315570" sldId="714"/>
            <ac:spMk id="43" creationId="{CF2E403E-106D-400E-BD80-B18666CE8A54}"/>
          </ac:spMkLst>
        </pc:spChg>
        <pc:spChg chg="add del mod modVis">
          <ac:chgData name="Matthäus Alberding" userId="89cdd4c9-d044-4ab4-9e6f-8f065e0119c4" providerId="ADAL" clId="{B6745356-B6CF-45AA-ADCC-AC8F740A00DA}" dt="2022-07-26T14:02:50.426" v="73256"/>
          <ac:spMkLst>
            <pc:docMk/>
            <pc:sldMk cId="2205315570" sldId="714"/>
            <ac:spMk id="44" creationId="{0F3B530F-1485-4268-9B61-FBFB9B34FCB3}"/>
          </ac:spMkLst>
        </pc:spChg>
        <pc:spChg chg="add mod">
          <ac:chgData name="Matthäus Alberding" userId="89cdd4c9-d044-4ab4-9e6f-8f065e0119c4" providerId="ADAL" clId="{B6745356-B6CF-45AA-ADCC-AC8F740A00DA}" dt="2022-07-26T14:31:09.324" v="77053" actId="207"/>
          <ac:spMkLst>
            <pc:docMk/>
            <pc:sldMk cId="2205315570" sldId="714"/>
            <ac:spMk id="45" creationId="{4EE8DA7F-A1A1-49E8-BBC7-53992330C875}"/>
          </ac:spMkLst>
        </pc:spChg>
        <pc:spChg chg="add mod">
          <ac:chgData name="Matthäus Alberding" userId="89cdd4c9-d044-4ab4-9e6f-8f065e0119c4" providerId="ADAL" clId="{B6745356-B6CF-45AA-ADCC-AC8F740A00DA}" dt="2022-07-26T14:31:09.324" v="77053" actId="207"/>
          <ac:spMkLst>
            <pc:docMk/>
            <pc:sldMk cId="2205315570" sldId="714"/>
            <ac:spMk id="46" creationId="{5C08657F-AA0C-40E7-B18F-36BAFA02FA19}"/>
          </ac:spMkLst>
        </pc:spChg>
        <pc:spChg chg="add mod">
          <ac:chgData name="Matthäus Alberding" userId="89cdd4c9-d044-4ab4-9e6f-8f065e0119c4" providerId="ADAL" clId="{B6745356-B6CF-45AA-ADCC-AC8F740A00DA}" dt="2022-07-26T14:31:09.324" v="77053" actId="207"/>
          <ac:spMkLst>
            <pc:docMk/>
            <pc:sldMk cId="2205315570" sldId="714"/>
            <ac:spMk id="47" creationId="{11B9FD24-29D7-4BED-8405-79601CC1AF2D}"/>
          </ac:spMkLst>
        </pc:spChg>
        <pc:spChg chg="add mod">
          <ac:chgData name="Matthäus Alberding" userId="89cdd4c9-d044-4ab4-9e6f-8f065e0119c4" providerId="ADAL" clId="{B6745356-B6CF-45AA-ADCC-AC8F740A00DA}" dt="2022-07-26T14:31:23.708" v="77055" actId="207"/>
          <ac:spMkLst>
            <pc:docMk/>
            <pc:sldMk cId="2205315570" sldId="714"/>
            <ac:spMk id="48" creationId="{E9FD77CB-5CF5-4FAC-992F-598591E7BFC9}"/>
          </ac:spMkLst>
        </pc:spChg>
        <pc:spChg chg="add del mod modVis">
          <ac:chgData name="Matthäus Alberding" userId="89cdd4c9-d044-4ab4-9e6f-8f065e0119c4" providerId="ADAL" clId="{B6745356-B6CF-45AA-ADCC-AC8F740A00DA}" dt="2022-07-26T14:02:53.678" v="73322"/>
          <ac:spMkLst>
            <pc:docMk/>
            <pc:sldMk cId="2205315570" sldId="714"/>
            <ac:spMk id="49" creationId="{9D829069-C2F5-4C4F-9520-897738391DC2}"/>
          </ac:spMkLst>
        </pc:spChg>
        <pc:spChg chg="add del mod modVis">
          <ac:chgData name="Matthäus Alberding" userId="89cdd4c9-d044-4ab4-9e6f-8f065e0119c4" providerId="ADAL" clId="{B6745356-B6CF-45AA-ADCC-AC8F740A00DA}" dt="2022-07-26T14:03:10.480" v="73403"/>
          <ac:spMkLst>
            <pc:docMk/>
            <pc:sldMk cId="2205315570" sldId="714"/>
            <ac:spMk id="50" creationId="{9A56A915-A031-40F1-9E0A-FD20704C7036}"/>
          </ac:spMkLst>
        </pc:spChg>
        <pc:spChg chg="add del mod modVis">
          <ac:chgData name="Matthäus Alberding" userId="89cdd4c9-d044-4ab4-9e6f-8f065e0119c4" providerId="ADAL" clId="{B6745356-B6CF-45AA-ADCC-AC8F740A00DA}" dt="2022-07-26T14:03:13.223" v="73462"/>
          <ac:spMkLst>
            <pc:docMk/>
            <pc:sldMk cId="2205315570" sldId="714"/>
            <ac:spMk id="51" creationId="{5851DC43-777A-44B4-907B-34CFEA41FE85}"/>
          </ac:spMkLst>
        </pc:spChg>
        <pc:spChg chg="add del mod modVis">
          <ac:chgData name="Matthäus Alberding" userId="89cdd4c9-d044-4ab4-9e6f-8f065e0119c4" providerId="ADAL" clId="{B6745356-B6CF-45AA-ADCC-AC8F740A00DA}" dt="2022-07-26T14:03:14.233" v="73506"/>
          <ac:spMkLst>
            <pc:docMk/>
            <pc:sldMk cId="2205315570" sldId="714"/>
            <ac:spMk id="52" creationId="{46DAD939-970F-47E3-89DB-722477733012}"/>
          </ac:spMkLst>
        </pc:spChg>
        <pc:spChg chg="add del mod modVis">
          <ac:chgData name="Matthäus Alberding" userId="89cdd4c9-d044-4ab4-9e6f-8f065e0119c4" providerId="ADAL" clId="{B6745356-B6CF-45AA-ADCC-AC8F740A00DA}" dt="2022-07-26T14:03:15.137" v="73550"/>
          <ac:spMkLst>
            <pc:docMk/>
            <pc:sldMk cId="2205315570" sldId="714"/>
            <ac:spMk id="53" creationId="{CDC265B9-FD7D-4437-8E4F-570F56B89CA8}"/>
          </ac:spMkLst>
        </pc:spChg>
        <pc:spChg chg="add del mod modVis">
          <ac:chgData name="Matthäus Alberding" userId="89cdd4c9-d044-4ab4-9e6f-8f065e0119c4" providerId="ADAL" clId="{B6745356-B6CF-45AA-ADCC-AC8F740A00DA}" dt="2022-07-26T14:03:17.631" v="73604"/>
          <ac:spMkLst>
            <pc:docMk/>
            <pc:sldMk cId="2205315570" sldId="714"/>
            <ac:spMk id="54" creationId="{31C86629-53A5-4E38-807B-578EE5A0263E}"/>
          </ac:spMkLst>
        </pc:spChg>
        <pc:spChg chg="del mod ord">
          <ac:chgData name="Matthäus Alberding" userId="89cdd4c9-d044-4ab4-9e6f-8f065e0119c4" providerId="ADAL" clId="{B6745356-B6CF-45AA-ADCC-AC8F740A00DA}" dt="2022-07-26T14:01:49.491" v="72701" actId="478"/>
          <ac:spMkLst>
            <pc:docMk/>
            <pc:sldMk cId="2205315570" sldId="714"/>
            <ac:spMk id="55" creationId="{03A89C3D-FE47-4EBE-BF95-A370FE36A8D9}"/>
          </ac:spMkLst>
        </pc:spChg>
        <pc:spChg chg="del mod ord">
          <ac:chgData name="Matthäus Alberding" userId="89cdd4c9-d044-4ab4-9e6f-8f065e0119c4" providerId="ADAL" clId="{B6745356-B6CF-45AA-ADCC-AC8F740A00DA}" dt="2022-07-26T14:01:48.165" v="72699" actId="478"/>
          <ac:spMkLst>
            <pc:docMk/>
            <pc:sldMk cId="2205315570" sldId="714"/>
            <ac:spMk id="56" creationId="{1A4344D1-57A6-4EC0-A1E6-57C49D182F1E}"/>
          </ac:spMkLst>
        </pc:spChg>
        <pc:spChg chg="add del mod modVis">
          <ac:chgData name="Matthäus Alberding" userId="89cdd4c9-d044-4ab4-9e6f-8f065e0119c4" providerId="ADAL" clId="{B6745356-B6CF-45AA-ADCC-AC8F740A00DA}" dt="2022-07-26T14:03:18.520" v="73649"/>
          <ac:spMkLst>
            <pc:docMk/>
            <pc:sldMk cId="2205315570" sldId="714"/>
            <ac:spMk id="57" creationId="{9386567D-8A42-4D34-B0D3-463F642E0200}"/>
          </ac:spMkLst>
        </pc:spChg>
        <pc:spChg chg="add del mod modVis">
          <ac:chgData name="Matthäus Alberding" userId="89cdd4c9-d044-4ab4-9e6f-8f065e0119c4" providerId="ADAL" clId="{B6745356-B6CF-45AA-ADCC-AC8F740A00DA}" dt="2022-07-26T14:03:21.679" v="73692"/>
          <ac:spMkLst>
            <pc:docMk/>
            <pc:sldMk cId="2205315570" sldId="714"/>
            <ac:spMk id="58" creationId="{76252EF2-5B6E-4371-B41D-E6F6CB837F02}"/>
          </ac:spMkLst>
        </pc:spChg>
        <pc:spChg chg="del">
          <ac:chgData name="Matthäus Alberding" userId="89cdd4c9-d044-4ab4-9e6f-8f065e0119c4" providerId="ADAL" clId="{B6745356-B6CF-45AA-ADCC-AC8F740A00DA}" dt="2022-07-26T13:49:18.240" v="71544" actId="478"/>
          <ac:spMkLst>
            <pc:docMk/>
            <pc:sldMk cId="2205315570" sldId="714"/>
            <ac:spMk id="59" creationId="{1910B47F-A168-4F17-99B5-68A3F660413C}"/>
          </ac:spMkLst>
        </pc:spChg>
        <pc:spChg chg="add del mod modVis">
          <ac:chgData name="Matthäus Alberding" userId="89cdd4c9-d044-4ab4-9e6f-8f065e0119c4" providerId="ADAL" clId="{B6745356-B6CF-45AA-ADCC-AC8F740A00DA}" dt="2022-07-26T14:03:23.769" v="73735"/>
          <ac:spMkLst>
            <pc:docMk/>
            <pc:sldMk cId="2205315570" sldId="714"/>
            <ac:spMk id="60" creationId="{756562AB-0C33-45A2-BBEC-2A151E573EED}"/>
          </ac:spMkLst>
        </pc:spChg>
        <pc:spChg chg="del mod ord">
          <ac:chgData name="Matthäus Alberding" userId="89cdd4c9-d044-4ab4-9e6f-8f065e0119c4" providerId="ADAL" clId="{B6745356-B6CF-45AA-ADCC-AC8F740A00DA}" dt="2022-07-26T14:01:49.865" v="72702" actId="478"/>
          <ac:spMkLst>
            <pc:docMk/>
            <pc:sldMk cId="2205315570" sldId="714"/>
            <ac:spMk id="61" creationId="{311C1F43-DDB4-48CB-BE5E-96760BE9C625}"/>
          </ac:spMkLst>
        </pc:spChg>
        <pc:spChg chg="add del mod modVis">
          <ac:chgData name="Matthäus Alberding" userId="89cdd4c9-d044-4ab4-9e6f-8f065e0119c4" providerId="ADAL" clId="{B6745356-B6CF-45AA-ADCC-AC8F740A00DA}" dt="2022-07-26T14:03:28.442" v="73778"/>
          <ac:spMkLst>
            <pc:docMk/>
            <pc:sldMk cId="2205315570" sldId="714"/>
            <ac:spMk id="62" creationId="{25CF4CDF-FD52-4DE3-A834-90D525736E05}"/>
          </ac:spMkLst>
        </pc:spChg>
        <pc:spChg chg="add del mod modVis">
          <ac:chgData name="Matthäus Alberding" userId="89cdd4c9-d044-4ab4-9e6f-8f065e0119c4" providerId="ADAL" clId="{B6745356-B6CF-45AA-ADCC-AC8F740A00DA}" dt="2022-07-26T14:03:31.810" v="73831"/>
          <ac:spMkLst>
            <pc:docMk/>
            <pc:sldMk cId="2205315570" sldId="714"/>
            <ac:spMk id="63" creationId="{D655D203-E30D-4271-9532-91A4B4398EFA}"/>
          </ac:spMkLst>
        </pc:spChg>
        <pc:spChg chg="add del mod modVis">
          <ac:chgData name="Matthäus Alberding" userId="89cdd4c9-d044-4ab4-9e6f-8f065e0119c4" providerId="ADAL" clId="{B6745356-B6CF-45AA-ADCC-AC8F740A00DA}" dt="2022-07-26T14:03:33.270" v="73880"/>
          <ac:spMkLst>
            <pc:docMk/>
            <pc:sldMk cId="2205315570" sldId="714"/>
            <ac:spMk id="64" creationId="{8534F891-6359-4112-86CB-912CACC94CE3}"/>
          </ac:spMkLst>
        </pc:spChg>
        <pc:spChg chg="add del mod modVis">
          <ac:chgData name="Matthäus Alberding" userId="89cdd4c9-d044-4ab4-9e6f-8f065e0119c4" providerId="ADAL" clId="{B6745356-B6CF-45AA-ADCC-AC8F740A00DA}" dt="2022-07-26T14:03:34.135" v="73924"/>
          <ac:spMkLst>
            <pc:docMk/>
            <pc:sldMk cId="2205315570" sldId="714"/>
            <ac:spMk id="65" creationId="{6227766A-609B-43C5-B16F-7485A449CB88}"/>
          </ac:spMkLst>
        </pc:spChg>
        <pc:grpChg chg="add mod">
          <ac:chgData name="Matthäus Alberding" userId="89cdd4c9-d044-4ab4-9e6f-8f065e0119c4" providerId="ADAL" clId="{B6745356-B6CF-45AA-ADCC-AC8F740A00DA}" dt="2022-07-26T13:58:55.728" v="72600" actId="1076"/>
          <ac:grpSpMkLst>
            <pc:docMk/>
            <pc:sldMk cId="2205315570" sldId="714"/>
            <ac:grpSpMk id="28" creationId="{5E862A10-B3E4-4B5B-85F3-77628ED1B7E1}"/>
          </ac:grpSpMkLst>
        </pc:grpChg>
        <pc:grpChg chg="add mod">
          <ac:chgData name="Matthäus Alberding" userId="89cdd4c9-d044-4ab4-9e6f-8f065e0119c4" providerId="ADAL" clId="{B6745356-B6CF-45AA-ADCC-AC8F740A00DA}" dt="2022-07-26T13:58:35.259" v="72589" actId="1076"/>
          <ac:grpSpMkLst>
            <pc:docMk/>
            <pc:sldMk cId="2205315570" sldId="714"/>
            <ac:grpSpMk id="34" creationId="{111631CE-0C9D-4E59-9A4C-0CA8ADE99A6A}"/>
          </ac:grpSpMkLst>
        </pc:grpChg>
        <pc:graphicFrameChg chg="mod">
          <ac:chgData name="Matthäus Alberding" userId="89cdd4c9-d044-4ab4-9e6f-8f065e0119c4" providerId="ADAL" clId="{B6745356-B6CF-45AA-ADCC-AC8F740A00DA}" dt="2022-07-26T14:03:34.136" v="73926"/>
          <ac:graphicFrameMkLst>
            <pc:docMk/>
            <pc:sldMk cId="2205315570" sldId="714"/>
            <ac:graphicFrameMk id="41" creationId="{6FD40599-561A-4F97-B337-86C4D5391629}"/>
          </ac:graphicFrameMkLst>
        </pc:graphicFrameChg>
        <pc:picChg chg="mod ord">
          <ac:chgData name="Matthäus Alberding" userId="89cdd4c9-d044-4ab4-9e6f-8f065e0119c4" providerId="ADAL" clId="{B6745356-B6CF-45AA-ADCC-AC8F740A00DA}" dt="2022-07-26T13:49:34.649" v="71595"/>
          <ac:picMkLst>
            <pc:docMk/>
            <pc:sldMk cId="2205315570" sldId="714"/>
            <ac:picMk id="9" creationId="{9437DA43-FF93-48FB-81B5-DBAA3DEC1561}"/>
          </ac:picMkLst>
        </pc:picChg>
        <pc:cxnChg chg="mod ord">
          <ac:chgData name="Matthäus Alberding" userId="89cdd4c9-d044-4ab4-9e6f-8f065e0119c4" providerId="ADAL" clId="{B6745356-B6CF-45AA-ADCC-AC8F740A00DA}" dt="2022-07-26T13:55:46.793" v="72118" actId="14100"/>
          <ac:cxnSpMkLst>
            <pc:docMk/>
            <pc:sldMk cId="2205315570" sldId="714"/>
            <ac:cxnSpMk id="8" creationId="{0352BB0F-C475-4D82-AB2D-FD3427EF506E}"/>
          </ac:cxnSpMkLst>
        </pc:cxnChg>
        <pc:cxnChg chg="add mod">
          <ac:chgData name="Matthäus Alberding" userId="89cdd4c9-d044-4ab4-9e6f-8f065e0119c4" providerId="ADAL" clId="{B6745356-B6CF-45AA-ADCC-AC8F740A00DA}" dt="2022-07-26T13:55:30.638" v="72115" actId="1076"/>
          <ac:cxnSpMkLst>
            <pc:docMk/>
            <pc:sldMk cId="2205315570" sldId="714"/>
            <ac:cxnSpMk id="38" creationId="{031D2A88-5270-4BA3-8B07-99400115FE16}"/>
          </ac:cxnSpMkLst>
        </pc:cxnChg>
      </pc:sldChg>
      <pc:sldChg chg="addSp delSp modSp add mod">
        <pc:chgData name="Matthäus Alberding" userId="89cdd4c9-d044-4ab4-9e6f-8f065e0119c4" providerId="ADAL" clId="{B6745356-B6CF-45AA-ADCC-AC8F740A00DA}" dt="2022-07-26T14:34:54.250" v="77462" actId="404"/>
        <pc:sldMkLst>
          <pc:docMk/>
          <pc:sldMk cId="535129753" sldId="715"/>
        </pc:sldMkLst>
        <pc:spChg chg="mod">
          <ac:chgData name="Matthäus Alberding" userId="89cdd4c9-d044-4ab4-9e6f-8f065e0119c4" providerId="ADAL" clId="{B6745356-B6CF-45AA-ADCC-AC8F740A00DA}" dt="2022-07-26T14:32:25.739" v="77220" actId="948"/>
          <ac:spMkLst>
            <pc:docMk/>
            <pc:sldMk cId="535129753" sldId="715"/>
            <ac:spMk id="4" creationId="{C576965E-3B1C-4D63-938E-36F16A3A3B67}"/>
          </ac:spMkLst>
        </pc:spChg>
        <pc:spChg chg="mod">
          <ac:chgData name="Matthäus Alberding" userId="89cdd4c9-d044-4ab4-9e6f-8f065e0119c4" providerId="ADAL" clId="{B6745356-B6CF-45AA-ADCC-AC8F740A00DA}" dt="2022-07-26T14:31:44.153" v="77059" actId="14100"/>
          <ac:spMkLst>
            <pc:docMk/>
            <pc:sldMk cId="535129753" sldId="715"/>
            <ac:spMk id="5" creationId="{28399786-93AD-4226-B646-30005A96E0EE}"/>
          </ac:spMkLst>
        </pc:spChg>
        <pc:spChg chg="add del mod modVis">
          <ac:chgData name="Matthäus Alberding" userId="89cdd4c9-d044-4ab4-9e6f-8f065e0119c4" providerId="ADAL" clId="{B6745356-B6CF-45AA-ADCC-AC8F740A00DA}" dt="2022-07-26T14:02:04.652" v="72763"/>
          <ac:spMkLst>
            <pc:docMk/>
            <pc:sldMk cId="535129753" sldId="715"/>
            <ac:spMk id="17" creationId="{0CA5CA6F-03F8-423C-A571-4AEE8B70FC86}"/>
          </ac:spMkLst>
        </pc:spChg>
        <pc:spChg chg="add del mod modVis">
          <ac:chgData name="Matthäus Alberding" userId="89cdd4c9-d044-4ab4-9e6f-8f065e0119c4" providerId="ADAL" clId="{B6745356-B6CF-45AA-ADCC-AC8F740A00DA}" dt="2022-07-26T14:02:11.580" v="72843"/>
          <ac:spMkLst>
            <pc:docMk/>
            <pc:sldMk cId="535129753" sldId="715"/>
            <ac:spMk id="18" creationId="{30512792-37A0-4719-BDEB-8ECA866E2B2B}"/>
          </ac:spMkLst>
        </pc:spChg>
        <pc:spChg chg="mod">
          <ac:chgData name="Matthäus Alberding" userId="89cdd4c9-d044-4ab4-9e6f-8f065e0119c4" providerId="ADAL" clId="{B6745356-B6CF-45AA-ADCC-AC8F740A00DA}" dt="2022-07-26T14:33:58.838" v="77270" actId="207"/>
          <ac:spMkLst>
            <pc:docMk/>
            <pc:sldMk cId="535129753" sldId="715"/>
            <ac:spMk id="19" creationId="{F5BFC6A9-7B32-4F08-ADC0-2A024C0A5DEC}"/>
          </ac:spMkLst>
        </pc:spChg>
        <pc:spChg chg="add del mod modVis">
          <ac:chgData name="Matthäus Alberding" userId="89cdd4c9-d044-4ab4-9e6f-8f065e0119c4" providerId="ADAL" clId="{B6745356-B6CF-45AA-ADCC-AC8F740A00DA}" dt="2022-07-26T14:02:21.103" v="72897"/>
          <ac:spMkLst>
            <pc:docMk/>
            <pc:sldMk cId="535129753" sldId="715"/>
            <ac:spMk id="20" creationId="{3D8ECE62-42FD-47DF-883E-7F6865B81A3A}"/>
          </ac:spMkLst>
        </pc:spChg>
        <pc:spChg chg="mod">
          <ac:chgData name="Matthäus Alberding" userId="89cdd4c9-d044-4ab4-9e6f-8f065e0119c4" providerId="ADAL" clId="{B6745356-B6CF-45AA-ADCC-AC8F740A00DA}" dt="2022-07-26T14:33:58.838" v="77270" actId="207"/>
          <ac:spMkLst>
            <pc:docMk/>
            <pc:sldMk cId="535129753" sldId="715"/>
            <ac:spMk id="21" creationId="{E311A4D7-3C52-4A3C-8966-50070256C08F}"/>
          </ac:spMkLst>
        </pc:spChg>
        <pc:spChg chg="add del mod modVis">
          <ac:chgData name="Matthäus Alberding" userId="89cdd4c9-d044-4ab4-9e6f-8f065e0119c4" providerId="ADAL" clId="{B6745356-B6CF-45AA-ADCC-AC8F740A00DA}" dt="2022-07-26T14:02:25.610" v="72959"/>
          <ac:spMkLst>
            <pc:docMk/>
            <pc:sldMk cId="535129753" sldId="715"/>
            <ac:spMk id="22" creationId="{8EAB2504-6776-420B-99FE-057CDD2A685F}"/>
          </ac:spMkLst>
        </pc:spChg>
        <pc:spChg chg="del">
          <ac:chgData name="Matthäus Alberding" userId="89cdd4c9-d044-4ab4-9e6f-8f065e0119c4" providerId="ADAL" clId="{B6745356-B6CF-45AA-ADCC-AC8F740A00DA}" dt="2022-07-26T14:01:53.482" v="72705" actId="478"/>
          <ac:spMkLst>
            <pc:docMk/>
            <pc:sldMk cId="535129753" sldId="715"/>
            <ac:spMk id="23" creationId="{7830EC54-D42A-4636-B369-75283C15128D}"/>
          </ac:spMkLst>
        </pc:spChg>
        <pc:spChg chg="mod">
          <ac:chgData name="Matthäus Alberding" userId="89cdd4c9-d044-4ab4-9e6f-8f065e0119c4" providerId="ADAL" clId="{B6745356-B6CF-45AA-ADCC-AC8F740A00DA}" dt="2022-07-26T14:31:40.696" v="77058" actId="207"/>
          <ac:spMkLst>
            <pc:docMk/>
            <pc:sldMk cId="535129753" sldId="715"/>
            <ac:spMk id="24" creationId="{25D0CA43-7627-4285-8637-B166B05F3B8E}"/>
          </ac:spMkLst>
        </pc:spChg>
        <pc:spChg chg="mod">
          <ac:chgData name="Matthäus Alberding" userId="89cdd4c9-d044-4ab4-9e6f-8f065e0119c4" providerId="ADAL" clId="{B6745356-B6CF-45AA-ADCC-AC8F740A00DA}" dt="2022-07-26T14:33:58.838" v="77270" actId="207"/>
          <ac:spMkLst>
            <pc:docMk/>
            <pc:sldMk cId="535129753" sldId="715"/>
            <ac:spMk id="25" creationId="{FF68B786-17FA-47A5-A7F4-B86D0F8EEB26}"/>
          </ac:spMkLst>
        </pc:spChg>
        <pc:spChg chg="mod">
          <ac:chgData name="Matthäus Alberding" userId="89cdd4c9-d044-4ab4-9e6f-8f065e0119c4" providerId="ADAL" clId="{B6745356-B6CF-45AA-ADCC-AC8F740A00DA}" dt="2022-07-26T14:33:58.838" v="77270" actId="207"/>
          <ac:spMkLst>
            <pc:docMk/>
            <pc:sldMk cId="535129753" sldId="715"/>
            <ac:spMk id="26" creationId="{7AD001C8-550B-4011-819C-C19356E3993C}"/>
          </ac:spMkLst>
        </pc:spChg>
        <pc:spChg chg="mod">
          <ac:chgData name="Matthäus Alberding" userId="89cdd4c9-d044-4ab4-9e6f-8f065e0119c4" providerId="ADAL" clId="{B6745356-B6CF-45AA-ADCC-AC8F740A00DA}" dt="2022-07-26T14:33:58.838" v="77270" actId="207"/>
          <ac:spMkLst>
            <pc:docMk/>
            <pc:sldMk cId="535129753" sldId="715"/>
            <ac:spMk id="27" creationId="{3064FBB9-3854-409A-B2AC-8E6771C1B073}"/>
          </ac:spMkLst>
        </pc:spChg>
        <pc:spChg chg="add mod">
          <ac:chgData name="Matthäus Alberding" userId="89cdd4c9-d044-4ab4-9e6f-8f065e0119c4" providerId="ADAL" clId="{B6745356-B6CF-45AA-ADCC-AC8F740A00DA}" dt="2022-07-26T14:31:35.691" v="77057" actId="207"/>
          <ac:spMkLst>
            <pc:docMk/>
            <pc:sldMk cId="535129753" sldId="715"/>
            <ac:spMk id="28" creationId="{B1C02C8A-215C-4DBA-BBD9-73B1279BEBDA}"/>
          </ac:spMkLst>
        </pc:spChg>
        <pc:spChg chg="add mod">
          <ac:chgData name="Matthäus Alberding" userId="89cdd4c9-d044-4ab4-9e6f-8f065e0119c4" providerId="ADAL" clId="{B6745356-B6CF-45AA-ADCC-AC8F740A00DA}" dt="2022-07-26T14:31:28.981" v="77056" actId="207"/>
          <ac:spMkLst>
            <pc:docMk/>
            <pc:sldMk cId="535129753" sldId="715"/>
            <ac:spMk id="30" creationId="{8861363B-1CD8-46BE-9104-E20FFEF5E743}"/>
          </ac:spMkLst>
        </pc:spChg>
        <pc:spChg chg="add mod">
          <ac:chgData name="Matthäus Alberding" userId="89cdd4c9-d044-4ab4-9e6f-8f065e0119c4" providerId="ADAL" clId="{B6745356-B6CF-45AA-ADCC-AC8F740A00DA}" dt="2022-07-26T14:31:28.981" v="77056" actId="207"/>
          <ac:spMkLst>
            <pc:docMk/>
            <pc:sldMk cId="535129753" sldId="715"/>
            <ac:spMk id="31" creationId="{72F626B8-57BF-43BF-8E57-4E772FABECAF}"/>
          </ac:spMkLst>
        </pc:spChg>
        <pc:spChg chg="add mod">
          <ac:chgData name="Matthäus Alberding" userId="89cdd4c9-d044-4ab4-9e6f-8f065e0119c4" providerId="ADAL" clId="{B6745356-B6CF-45AA-ADCC-AC8F740A00DA}" dt="2022-07-26T14:31:28.981" v="77056" actId="207"/>
          <ac:spMkLst>
            <pc:docMk/>
            <pc:sldMk cId="535129753" sldId="715"/>
            <ac:spMk id="32" creationId="{A17B0CF6-5F14-422F-BFD0-BDC95F52B975}"/>
          </ac:spMkLst>
        </pc:spChg>
        <pc:spChg chg="add mod">
          <ac:chgData name="Matthäus Alberding" userId="89cdd4c9-d044-4ab4-9e6f-8f065e0119c4" providerId="ADAL" clId="{B6745356-B6CF-45AA-ADCC-AC8F740A00DA}" dt="2022-07-26T14:31:40.696" v="77058" actId="207"/>
          <ac:spMkLst>
            <pc:docMk/>
            <pc:sldMk cId="535129753" sldId="715"/>
            <ac:spMk id="33" creationId="{341C3915-520D-42AB-9DE3-F1C7D6A76DEB}"/>
          </ac:spMkLst>
        </pc:spChg>
        <pc:spChg chg="add del mod modVis">
          <ac:chgData name="Matthäus Alberding" userId="89cdd4c9-d044-4ab4-9e6f-8f065e0119c4" providerId="ADAL" clId="{B6745356-B6CF-45AA-ADCC-AC8F740A00DA}" dt="2022-07-26T14:02:27.819" v="73010"/>
          <ac:spMkLst>
            <pc:docMk/>
            <pc:sldMk cId="535129753" sldId="715"/>
            <ac:spMk id="34" creationId="{F0633EB9-5F13-4938-8266-85886C263B0A}"/>
          </ac:spMkLst>
        </pc:spChg>
        <pc:spChg chg="add del mod modVis">
          <ac:chgData name="Matthäus Alberding" userId="89cdd4c9-d044-4ab4-9e6f-8f065e0119c4" providerId="ADAL" clId="{B6745356-B6CF-45AA-ADCC-AC8F740A00DA}" dt="2022-07-26T14:32:21.457" v="77183"/>
          <ac:spMkLst>
            <pc:docMk/>
            <pc:sldMk cId="535129753" sldId="715"/>
            <ac:spMk id="36" creationId="{40179EB7-8944-4A16-88AD-77C0942D381C}"/>
          </ac:spMkLst>
        </pc:spChg>
        <pc:spChg chg="add del mod modVis">
          <ac:chgData name="Matthäus Alberding" userId="89cdd4c9-d044-4ab4-9e6f-8f065e0119c4" providerId="ADAL" clId="{B6745356-B6CF-45AA-ADCC-AC8F740A00DA}" dt="2022-07-26T14:32:25.758" v="77259"/>
          <ac:spMkLst>
            <pc:docMk/>
            <pc:sldMk cId="535129753" sldId="715"/>
            <ac:spMk id="37" creationId="{9DB809DB-CE4F-493C-AF6F-7D73D474081F}"/>
          </ac:spMkLst>
        </pc:spChg>
        <pc:spChg chg="mod">
          <ac:chgData name="Matthäus Alberding" userId="89cdd4c9-d044-4ab4-9e6f-8f065e0119c4" providerId="ADAL" clId="{B6745356-B6CF-45AA-ADCC-AC8F740A00DA}" dt="2022-07-26T14:34:52.138" v="77461" actId="404"/>
          <ac:spMkLst>
            <pc:docMk/>
            <pc:sldMk cId="535129753" sldId="715"/>
            <ac:spMk id="40" creationId="{CDDD2D66-F72F-4FB0-8436-CE8A40B8FE11}"/>
          </ac:spMkLst>
        </pc:spChg>
        <pc:spChg chg="mod">
          <ac:chgData name="Matthäus Alberding" userId="89cdd4c9-d044-4ab4-9e6f-8f065e0119c4" providerId="ADAL" clId="{B6745356-B6CF-45AA-ADCC-AC8F740A00DA}" dt="2022-07-26T14:34:52.138" v="77461" actId="404"/>
          <ac:spMkLst>
            <pc:docMk/>
            <pc:sldMk cId="535129753" sldId="715"/>
            <ac:spMk id="42" creationId="{BE42ABDE-A6DD-434E-90E1-421E0627287C}"/>
          </ac:spMkLst>
        </pc:spChg>
        <pc:spChg chg="mod">
          <ac:chgData name="Matthäus Alberding" userId="89cdd4c9-d044-4ab4-9e6f-8f065e0119c4" providerId="ADAL" clId="{B6745356-B6CF-45AA-ADCC-AC8F740A00DA}" dt="2022-07-26T14:34:54.250" v="77462" actId="404"/>
          <ac:spMkLst>
            <pc:docMk/>
            <pc:sldMk cId="535129753" sldId="715"/>
            <ac:spMk id="44" creationId="{642795E4-4AEE-462F-B3C1-23E45E78C60F}"/>
          </ac:spMkLst>
        </pc:spChg>
        <pc:spChg chg="mod">
          <ac:chgData name="Matthäus Alberding" userId="89cdd4c9-d044-4ab4-9e6f-8f065e0119c4" providerId="ADAL" clId="{B6745356-B6CF-45AA-ADCC-AC8F740A00DA}" dt="2022-07-26T14:34:54.250" v="77462" actId="404"/>
          <ac:spMkLst>
            <pc:docMk/>
            <pc:sldMk cId="535129753" sldId="715"/>
            <ac:spMk id="45" creationId="{AC468C79-EA56-457F-8DEA-AA14035A8B4B}"/>
          </ac:spMkLst>
        </pc:spChg>
        <pc:spChg chg="del">
          <ac:chgData name="Matthäus Alberding" userId="89cdd4c9-d044-4ab4-9e6f-8f065e0119c4" providerId="ADAL" clId="{B6745356-B6CF-45AA-ADCC-AC8F740A00DA}" dt="2022-07-26T14:01:54.261" v="72706" actId="478"/>
          <ac:spMkLst>
            <pc:docMk/>
            <pc:sldMk cId="535129753" sldId="715"/>
            <ac:spMk id="55" creationId="{03A89C3D-FE47-4EBE-BF95-A370FE36A8D9}"/>
          </ac:spMkLst>
        </pc:spChg>
        <pc:spChg chg="del">
          <ac:chgData name="Matthäus Alberding" userId="89cdd4c9-d044-4ab4-9e6f-8f065e0119c4" providerId="ADAL" clId="{B6745356-B6CF-45AA-ADCC-AC8F740A00DA}" dt="2022-07-26T14:01:52.776" v="72704" actId="478"/>
          <ac:spMkLst>
            <pc:docMk/>
            <pc:sldMk cId="535129753" sldId="715"/>
            <ac:spMk id="56" creationId="{1A4344D1-57A6-4EC0-A1E6-57C49D182F1E}"/>
          </ac:spMkLst>
        </pc:spChg>
        <pc:spChg chg="del">
          <ac:chgData name="Matthäus Alberding" userId="89cdd4c9-d044-4ab4-9e6f-8f065e0119c4" providerId="ADAL" clId="{B6745356-B6CF-45AA-ADCC-AC8F740A00DA}" dt="2022-07-26T14:01:54.877" v="72707" actId="478"/>
          <ac:spMkLst>
            <pc:docMk/>
            <pc:sldMk cId="535129753" sldId="715"/>
            <ac:spMk id="61" creationId="{311C1F43-DDB4-48CB-BE5E-96760BE9C625}"/>
          </ac:spMkLst>
        </pc:spChg>
        <pc:grpChg chg="add mod">
          <ac:chgData name="Matthäus Alberding" userId="89cdd4c9-d044-4ab4-9e6f-8f065e0119c4" providerId="ADAL" clId="{B6745356-B6CF-45AA-ADCC-AC8F740A00DA}" dt="2022-07-26T14:17:18.058" v="75161" actId="1076"/>
          <ac:grpSpMkLst>
            <pc:docMk/>
            <pc:sldMk cId="535129753" sldId="715"/>
            <ac:grpSpMk id="39" creationId="{E533C47B-389B-4684-B204-E8C4C426BEEF}"/>
          </ac:grpSpMkLst>
        </pc:grpChg>
        <pc:grpChg chg="add mod">
          <ac:chgData name="Matthäus Alberding" userId="89cdd4c9-d044-4ab4-9e6f-8f065e0119c4" providerId="ADAL" clId="{B6745356-B6CF-45AA-ADCC-AC8F740A00DA}" dt="2022-07-26T14:04:53.756" v="74174" actId="1076"/>
          <ac:grpSpMkLst>
            <pc:docMk/>
            <pc:sldMk cId="535129753" sldId="715"/>
            <ac:grpSpMk id="43" creationId="{BD9509D5-0F2F-407A-978A-AC8F68EB9C1D}"/>
          </ac:grpSpMkLst>
        </pc:grpChg>
        <pc:graphicFrameChg chg="mod">
          <ac:chgData name="Matthäus Alberding" userId="89cdd4c9-d044-4ab4-9e6f-8f065e0119c4" providerId="ADAL" clId="{B6745356-B6CF-45AA-ADCC-AC8F740A00DA}" dt="2022-07-26T14:32:25.759" v="77261"/>
          <ac:graphicFrameMkLst>
            <pc:docMk/>
            <pc:sldMk cId="535129753" sldId="715"/>
            <ac:graphicFrameMk id="41" creationId="{6FD40599-561A-4F97-B337-86C4D5391629}"/>
          </ac:graphicFrameMkLst>
        </pc:graphicFrameChg>
        <pc:picChg chg="mod">
          <ac:chgData name="Matthäus Alberding" userId="89cdd4c9-d044-4ab4-9e6f-8f065e0119c4" providerId="ADAL" clId="{B6745356-B6CF-45AA-ADCC-AC8F740A00DA}" dt="2022-07-26T13:50:01.250" v="71634" actId="1076"/>
          <ac:picMkLst>
            <pc:docMk/>
            <pc:sldMk cId="535129753" sldId="715"/>
            <ac:picMk id="9" creationId="{9437DA43-FF93-48FB-81B5-DBAA3DEC1561}"/>
          </ac:picMkLst>
        </pc:picChg>
        <pc:cxnChg chg="mod">
          <ac:chgData name="Matthäus Alberding" userId="89cdd4c9-d044-4ab4-9e6f-8f065e0119c4" providerId="ADAL" clId="{B6745356-B6CF-45AA-ADCC-AC8F740A00DA}" dt="2022-07-26T14:31:44.153" v="77059" actId="14100"/>
          <ac:cxnSpMkLst>
            <pc:docMk/>
            <pc:sldMk cId="535129753" sldId="715"/>
            <ac:cxnSpMk id="8" creationId="{0352BB0F-C475-4D82-AB2D-FD3427EF506E}"/>
          </ac:cxnSpMkLst>
        </pc:cxnChg>
        <pc:cxnChg chg="add mod">
          <ac:chgData name="Matthäus Alberding" userId="89cdd4c9-d044-4ab4-9e6f-8f065e0119c4" providerId="ADAL" clId="{B6745356-B6CF-45AA-ADCC-AC8F740A00DA}" dt="2022-07-26T13:50:22.166" v="71653" actId="14100"/>
          <ac:cxnSpMkLst>
            <pc:docMk/>
            <pc:sldMk cId="535129753" sldId="715"/>
            <ac:cxnSpMk id="29" creationId="{158067FC-2DF9-4BFC-A760-EF533974B0EB}"/>
          </ac:cxnSpMkLst>
        </pc:cxnChg>
      </pc:sldChg>
      <pc:sldChg chg="addSp delSp modSp new add mod">
        <pc:chgData name="Matthäus Alberding" userId="89cdd4c9-d044-4ab4-9e6f-8f065e0119c4" providerId="ADAL" clId="{B6745356-B6CF-45AA-ADCC-AC8F740A00DA}" dt="2022-07-26T14:12:23.825" v="74960" actId="113"/>
        <pc:sldMkLst>
          <pc:docMk/>
          <pc:sldMk cId="775524084" sldId="716"/>
        </pc:sldMkLst>
        <pc:spChg chg="mod">
          <ac:chgData name="Matthäus Alberding" userId="89cdd4c9-d044-4ab4-9e6f-8f065e0119c4" providerId="ADAL" clId="{B6745356-B6CF-45AA-ADCC-AC8F740A00DA}" dt="2022-07-26T14:10:40.165" v="74835" actId="948"/>
          <ac:spMkLst>
            <pc:docMk/>
            <pc:sldMk cId="775524084" sldId="716"/>
            <ac:spMk id="4" creationId="{193035EE-F1C3-4380-A5BA-8607F81C2CD6}"/>
          </ac:spMkLst>
        </pc:spChg>
        <pc:spChg chg="mod">
          <ac:chgData name="Matthäus Alberding" userId="89cdd4c9-d044-4ab4-9e6f-8f065e0119c4" providerId="ADAL" clId="{B6745356-B6CF-45AA-ADCC-AC8F740A00DA}" dt="2022-07-26T14:10:12.328" v="74661" actId="20577"/>
          <ac:spMkLst>
            <pc:docMk/>
            <pc:sldMk cId="775524084" sldId="716"/>
            <ac:spMk id="5" creationId="{C3983F79-883A-439D-A3DE-149AF0B54786}"/>
          </ac:spMkLst>
        </pc:spChg>
        <pc:spChg chg="add del mod modVis">
          <ac:chgData name="Matthäus Alberding" userId="89cdd4c9-d044-4ab4-9e6f-8f065e0119c4" providerId="ADAL" clId="{B6745356-B6CF-45AA-ADCC-AC8F740A00DA}" dt="2022-07-26T14:09:44.889" v="74400"/>
          <ac:spMkLst>
            <pc:docMk/>
            <pc:sldMk cId="775524084" sldId="716"/>
            <ac:spMk id="7" creationId="{8B5C2242-6CC4-40FE-850F-96243846A74E}"/>
          </ac:spMkLst>
        </pc:spChg>
        <pc:spChg chg="add del mod modVis">
          <ac:chgData name="Matthäus Alberding" userId="89cdd4c9-d044-4ab4-9e6f-8f065e0119c4" providerId="ADAL" clId="{B6745356-B6CF-45AA-ADCC-AC8F740A00DA}" dt="2022-07-26T14:09:49.378" v="74456"/>
          <ac:spMkLst>
            <pc:docMk/>
            <pc:sldMk cId="775524084" sldId="716"/>
            <ac:spMk id="9" creationId="{CBC0FD62-8002-4F42-AC37-D1E7629976A4}"/>
          </ac:spMkLst>
        </pc:spChg>
        <pc:spChg chg="add del mod modVis">
          <ac:chgData name="Matthäus Alberding" userId="89cdd4c9-d044-4ab4-9e6f-8f065e0119c4" providerId="ADAL" clId="{B6745356-B6CF-45AA-ADCC-AC8F740A00DA}" dt="2022-07-26T14:09:51.486" v="74508"/>
          <ac:spMkLst>
            <pc:docMk/>
            <pc:sldMk cId="775524084" sldId="716"/>
            <ac:spMk id="10" creationId="{8EEAE654-AAF3-426E-B99B-52B4EC4033A4}"/>
          </ac:spMkLst>
        </pc:spChg>
        <pc:spChg chg="add del mod modVis">
          <ac:chgData name="Matthäus Alberding" userId="89cdd4c9-d044-4ab4-9e6f-8f065e0119c4" providerId="ADAL" clId="{B6745356-B6CF-45AA-ADCC-AC8F740A00DA}" dt="2022-07-26T14:09:52.589" v="74554"/>
          <ac:spMkLst>
            <pc:docMk/>
            <pc:sldMk cId="775524084" sldId="716"/>
            <ac:spMk id="11" creationId="{457049B7-62C6-4E00-B999-1B0A84ABB902}"/>
          </ac:spMkLst>
        </pc:spChg>
        <pc:spChg chg="add del mod modVis">
          <ac:chgData name="Matthäus Alberding" userId="89cdd4c9-d044-4ab4-9e6f-8f065e0119c4" providerId="ADAL" clId="{B6745356-B6CF-45AA-ADCC-AC8F740A00DA}" dt="2022-07-26T14:09:55.788" v="74614"/>
          <ac:spMkLst>
            <pc:docMk/>
            <pc:sldMk cId="775524084" sldId="716"/>
            <ac:spMk id="12" creationId="{621160F5-BB36-489E-89D9-EF6C4038D749}"/>
          </ac:spMkLst>
        </pc:spChg>
        <pc:spChg chg="add del mod modVis">
          <ac:chgData name="Matthäus Alberding" userId="89cdd4c9-d044-4ab4-9e6f-8f065e0119c4" providerId="ADAL" clId="{B6745356-B6CF-45AA-ADCC-AC8F740A00DA}" dt="2022-07-26T14:10:00.947" v="74657"/>
          <ac:spMkLst>
            <pc:docMk/>
            <pc:sldMk cId="775524084" sldId="716"/>
            <ac:spMk id="13" creationId="{88E2DD53-B734-443B-B1A1-EBD3FCE0EC9E}"/>
          </ac:spMkLst>
        </pc:spChg>
        <pc:spChg chg="add del mod modVis">
          <ac:chgData name="Matthäus Alberding" userId="89cdd4c9-d044-4ab4-9e6f-8f065e0119c4" providerId="ADAL" clId="{B6745356-B6CF-45AA-ADCC-AC8F740A00DA}" dt="2022-07-26T14:10:22.304" v="74707"/>
          <ac:spMkLst>
            <pc:docMk/>
            <pc:sldMk cId="775524084" sldId="716"/>
            <ac:spMk id="14" creationId="{04D18B46-3AE6-4EDA-9960-FA16BFCC1C59}"/>
          </ac:spMkLst>
        </pc:spChg>
        <pc:spChg chg="add del mod modVis">
          <ac:chgData name="Matthäus Alberding" userId="89cdd4c9-d044-4ab4-9e6f-8f065e0119c4" providerId="ADAL" clId="{B6745356-B6CF-45AA-ADCC-AC8F740A00DA}" dt="2022-07-26T14:10:25.771" v="74766"/>
          <ac:spMkLst>
            <pc:docMk/>
            <pc:sldMk cId="775524084" sldId="716"/>
            <ac:spMk id="15" creationId="{F7DAA941-F532-4F5E-ACA1-90343D5679FD}"/>
          </ac:spMkLst>
        </pc:spChg>
        <pc:spChg chg="add del mod modVis">
          <ac:chgData name="Matthäus Alberding" userId="89cdd4c9-d044-4ab4-9e6f-8f065e0119c4" providerId="ADAL" clId="{B6745356-B6CF-45AA-ADCC-AC8F740A00DA}" dt="2022-07-26T14:10:32.633" v="74818"/>
          <ac:spMkLst>
            <pc:docMk/>
            <pc:sldMk cId="775524084" sldId="716"/>
            <ac:spMk id="16" creationId="{50F53665-B907-4650-BC5A-BB5B3D7E50AF}"/>
          </ac:spMkLst>
        </pc:spChg>
        <pc:spChg chg="add del mod modVis">
          <ac:chgData name="Matthäus Alberding" userId="89cdd4c9-d044-4ab4-9e6f-8f065e0119c4" providerId="ADAL" clId="{B6745356-B6CF-45AA-ADCC-AC8F740A00DA}" dt="2022-07-26T14:10:40.181" v="74874"/>
          <ac:spMkLst>
            <pc:docMk/>
            <pc:sldMk cId="775524084" sldId="716"/>
            <ac:spMk id="17" creationId="{C357F01E-B130-403B-9A7A-F73129252381}"/>
          </ac:spMkLst>
        </pc:spChg>
        <pc:spChg chg="add mod">
          <ac:chgData name="Matthäus Alberding" userId="89cdd4c9-d044-4ab4-9e6f-8f065e0119c4" providerId="ADAL" clId="{B6745356-B6CF-45AA-ADCC-AC8F740A00DA}" dt="2022-07-26T14:11:23.856" v="74947"/>
          <ac:spMkLst>
            <pc:docMk/>
            <pc:sldMk cId="775524084" sldId="716"/>
            <ac:spMk id="18" creationId="{ED6B45D8-7822-4CBD-9C76-C58C86AC32C1}"/>
          </ac:spMkLst>
        </pc:spChg>
        <pc:spChg chg="add mod">
          <ac:chgData name="Matthäus Alberding" userId="89cdd4c9-d044-4ab4-9e6f-8f065e0119c4" providerId="ADAL" clId="{B6745356-B6CF-45AA-ADCC-AC8F740A00DA}" dt="2022-07-26T14:11:33.788" v="74948"/>
          <ac:spMkLst>
            <pc:docMk/>
            <pc:sldMk cId="775524084" sldId="716"/>
            <ac:spMk id="19" creationId="{6B88EC40-C173-4C24-AFFE-9501A591DF60}"/>
          </ac:spMkLst>
        </pc:spChg>
        <pc:spChg chg="add mod">
          <ac:chgData name="Matthäus Alberding" userId="89cdd4c9-d044-4ab4-9e6f-8f065e0119c4" providerId="ADAL" clId="{B6745356-B6CF-45AA-ADCC-AC8F740A00DA}" dt="2022-07-26T14:12:23.825" v="74960" actId="113"/>
          <ac:spMkLst>
            <pc:docMk/>
            <pc:sldMk cId="775524084" sldId="716"/>
            <ac:spMk id="20" creationId="{52C80FB2-24F7-4E0B-913E-1AF15B93891B}"/>
          </ac:spMkLst>
        </pc:spChg>
        <pc:graphicFrameChg chg="add mod">
          <ac:chgData name="Matthäus Alberding" userId="89cdd4c9-d044-4ab4-9e6f-8f065e0119c4" providerId="ADAL" clId="{B6745356-B6CF-45AA-ADCC-AC8F740A00DA}" dt="2022-07-26T14:09:38.243" v="74334"/>
          <ac:graphicFrameMkLst>
            <pc:docMk/>
            <pc:sldMk cId="775524084" sldId="716"/>
            <ac:graphicFrameMk id="6" creationId="{3F22B522-E425-4B1A-A12C-A5115A91001F}"/>
          </ac:graphicFrameMkLst>
        </pc:graphicFrameChg>
        <pc:graphicFrameChg chg="add mod ord modVis">
          <ac:chgData name="Matthäus Alberding" userId="89cdd4c9-d044-4ab4-9e6f-8f065e0119c4" providerId="ADAL" clId="{B6745356-B6CF-45AA-ADCC-AC8F740A00DA}" dt="2022-07-26T14:10:40.183" v="74876"/>
          <ac:graphicFrameMkLst>
            <pc:docMk/>
            <pc:sldMk cId="775524084" sldId="716"/>
            <ac:graphicFrameMk id="8" creationId="{E46D2767-FDBF-4386-AC47-B650B6CD13AB}"/>
          </ac:graphicFrameMkLst>
        </pc:graphicFrameChg>
      </pc:sldChg>
      <pc:sldChg chg="addSp delSp modSp new add del mod modTransition modClrScheme modShow chgLayout">
        <pc:chgData name="Matthäus Alberding" userId="89cdd4c9-d044-4ab4-9e6f-8f065e0119c4" providerId="ADAL" clId="{B6745356-B6CF-45AA-ADCC-AC8F740A00DA}" dt="2022-07-26T14:59:27.773" v="80457" actId="47"/>
        <pc:sldMkLst>
          <pc:docMk/>
          <pc:sldMk cId="3318654818" sldId="717"/>
        </pc:sldMkLst>
        <pc:spChg chg="del mod ord">
          <ac:chgData name="Matthäus Alberding" userId="89cdd4c9-d044-4ab4-9e6f-8f065e0119c4" providerId="ADAL" clId="{B6745356-B6CF-45AA-ADCC-AC8F740A00DA}" dt="2022-07-26T14:42:26.396" v="78230"/>
          <ac:spMkLst>
            <pc:docMk/>
            <pc:sldMk cId="3318654818" sldId="717"/>
            <ac:spMk id="2" creationId="{21DE2758-8753-4024-AC32-8E2587C30DED}"/>
          </ac:spMkLst>
        </pc:spChg>
        <pc:spChg chg="del mod ord">
          <ac:chgData name="Matthäus Alberding" userId="89cdd4c9-d044-4ab4-9e6f-8f065e0119c4" providerId="ADAL" clId="{B6745356-B6CF-45AA-ADCC-AC8F740A00DA}" dt="2022-07-26T14:42:26.396" v="78230"/>
          <ac:spMkLst>
            <pc:docMk/>
            <pc:sldMk cId="3318654818" sldId="717"/>
            <ac:spMk id="3" creationId="{D70DDFFE-D303-4387-B941-EFD258F940B1}"/>
          </ac:spMkLst>
        </pc:spChg>
        <pc:spChg chg="mod ord">
          <ac:chgData name="Matthäus Alberding" userId="89cdd4c9-d044-4ab4-9e6f-8f065e0119c4" providerId="ADAL" clId="{B6745356-B6CF-45AA-ADCC-AC8F740A00DA}" dt="2022-07-26T14:42:26.396" v="78230"/>
          <ac:spMkLst>
            <pc:docMk/>
            <pc:sldMk cId="3318654818" sldId="717"/>
            <ac:spMk id="4" creationId="{E50D66BA-DD81-4F93-ADE7-7EC46F9CA3CA}"/>
          </ac:spMkLst>
        </pc:spChg>
        <pc:spChg chg="mod ord">
          <ac:chgData name="Matthäus Alberding" userId="89cdd4c9-d044-4ab4-9e6f-8f065e0119c4" providerId="ADAL" clId="{B6745356-B6CF-45AA-ADCC-AC8F740A00DA}" dt="2022-07-26T14:42:26.396" v="78230"/>
          <ac:spMkLst>
            <pc:docMk/>
            <pc:sldMk cId="3318654818" sldId="717"/>
            <ac:spMk id="5" creationId="{7A186E65-3393-419C-B9F9-FCCAC7FF0AEF}"/>
          </ac:spMkLst>
        </pc:spChg>
        <pc:spChg chg="del mod ord">
          <ac:chgData name="Matthäus Alberding" userId="89cdd4c9-d044-4ab4-9e6f-8f065e0119c4" providerId="ADAL" clId="{B6745356-B6CF-45AA-ADCC-AC8F740A00DA}" dt="2022-07-26T14:42:26.396" v="78230"/>
          <ac:spMkLst>
            <pc:docMk/>
            <pc:sldMk cId="3318654818" sldId="717"/>
            <ac:spMk id="6" creationId="{75F1CA05-86E8-4DC9-BA49-556586BD36C3}"/>
          </ac:spMkLst>
        </pc:spChg>
        <pc:spChg chg="add mod ord">
          <ac:chgData name="Matthäus Alberding" userId="89cdd4c9-d044-4ab4-9e6f-8f065e0119c4" providerId="ADAL" clId="{B6745356-B6CF-45AA-ADCC-AC8F740A00DA}" dt="2022-07-26T14:44:47.350" v="78634" actId="948"/>
          <ac:spMkLst>
            <pc:docMk/>
            <pc:sldMk cId="3318654818" sldId="717"/>
            <ac:spMk id="7" creationId="{D059B313-8C88-4A96-92C6-7F57F6818EAB}"/>
          </ac:spMkLst>
        </pc:spChg>
        <pc:spChg chg="add del mod ord">
          <ac:chgData name="Matthäus Alberding" userId="89cdd4c9-d044-4ab4-9e6f-8f065e0119c4" providerId="ADAL" clId="{B6745356-B6CF-45AA-ADCC-AC8F740A00DA}" dt="2022-07-26T14:43:35.472" v="78267" actId="478"/>
          <ac:spMkLst>
            <pc:docMk/>
            <pc:sldMk cId="3318654818" sldId="717"/>
            <ac:spMk id="8" creationId="{25798FE2-E24E-42AD-8420-F1AB82AD9A7C}"/>
          </ac:spMkLst>
        </pc:spChg>
        <pc:spChg chg="add mod ord">
          <ac:chgData name="Matthäus Alberding" userId="89cdd4c9-d044-4ab4-9e6f-8f065e0119c4" providerId="ADAL" clId="{B6745356-B6CF-45AA-ADCC-AC8F740A00DA}" dt="2022-07-26T14:42:30.490" v="78266" actId="20577"/>
          <ac:spMkLst>
            <pc:docMk/>
            <pc:sldMk cId="3318654818" sldId="717"/>
            <ac:spMk id="9" creationId="{5ACBD0F6-E5EE-49CF-9DEB-8B1BCE07EAA8}"/>
          </ac:spMkLst>
        </pc:spChg>
        <pc:spChg chg="add mod">
          <ac:chgData name="Matthäus Alberding" userId="89cdd4c9-d044-4ab4-9e6f-8f065e0119c4" providerId="ADAL" clId="{B6745356-B6CF-45AA-ADCC-AC8F740A00DA}" dt="2022-07-26T14:43:35.600" v="78268"/>
          <ac:spMkLst>
            <pc:docMk/>
            <pc:sldMk cId="3318654818" sldId="717"/>
            <ac:spMk id="12" creationId="{C0805B55-1FA9-4842-BD1A-52627CB79DD1}"/>
          </ac:spMkLst>
        </pc:spChg>
        <pc:spChg chg="add mod">
          <ac:chgData name="Matthäus Alberding" userId="89cdd4c9-d044-4ab4-9e6f-8f065e0119c4" providerId="ADAL" clId="{B6745356-B6CF-45AA-ADCC-AC8F740A00DA}" dt="2022-07-26T14:43:35.600" v="78268"/>
          <ac:spMkLst>
            <pc:docMk/>
            <pc:sldMk cId="3318654818" sldId="717"/>
            <ac:spMk id="14" creationId="{77CB2075-C016-4DF3-A044-276F08FA5445}"/>
          </ac:spMkLst>
        </pc:spChg>
        <pc:spChg chg="add mod">
          <ac:chgData name="Matthäus Alberding" userId="89cdd4c9-d044-4ab4-9e6f-8f065e0119c4" providerId="ADAL" clId="{B6745356-B6CF-45AA-ADCC-AC8F740A00DA}" dt="2022-07-26T14:43:35.600" v="78268"/>
          <ac:spMkLst>
            <pc:docMk/>
            <pc:sldMk cId="3318654818" sldId="717"/>
            <ac:spMk id="17" creationId="{C196467C-2B9C-4B05-9E29-128A745649FD}"/>
          </ac:spMkLst>
        </pc:spChg>
        <pc:spChg chg="add mod">
          <ac:chgData name="Matthäus Alberding" userId="89cdd4c9-d044-4ab4-9e6f-8f065e0119c4" providerId="ADAL" clId="{B6745356-B6CF-45AA-ADCC-AC8F740A00DA}" dt="2022-07-26T14:43:35.600" v="78268"/>
          <ac:spMkLst>
            <pc:docMk/>
            <pc:sldMk cId="3318654818" sldId="717"/>
            <ac:spMk id="20" creationId="{0B726080-4356-404A-8321-0C3D13FCCB21}"/>
          </ac:spMkLst>
        </pc:spChg>
        <pc:spChg chg="add mod">
          <ac:chgData name="Matthäus Alberding" userId="89cdd4c9-d044-4ab4-9e6f-8f065e0119c4" providerId="ADAL" clId="{B6745356-B6CF-45AA-ADCC-AC8F740A00DA}" dt="2022-07-26T14:43:35.600" v="78268"/>
          <ac:spMkLst>
            <pc:docMk/>
            <pc:sldMk cId="3318654818" sldId="717"/>
            <ac:spMk id="22" creationId="{628EF3C0-3985-454D-AA8E-486DABD1F030}"/>
          </ac:spMkLst>
        </pc:spChg>
        <pc:spChg chg="add mod">
          <ac:chgData name="Matthäus Alberding" userId="89cdd4c9-d044-4ab4-9e6f-8f065e0119c4" providerId="ADAL" clId="{B6745356-B6CF-45AA-ADCC-AC8F740A00DA}" dt="2022-07-26T14:43:35.600" v="78268"/>
          <ac:spMkLst>
            <pc:docMk/>
            <pc:sldMk cId="3318654818" sldId="717"/>
            <ac:spMk id="23" creationId="{55D2942C-2F50-458B-B810-E30D923C1760}"/>
          </ac:spMkLst>
        </pc:spChg>
        <pc:spChg chg="add del mod modVis">
          <ac:chgData name="Matthäus Alberding" userId="89cdd4c9-d044-4ab4-9e6f-8f065e0119c4" providerId="ADAL" clId="{B6745356-B6CF-45AA-ADCC-AC8F740A00DA}" dt="2022-07-26T14:44:21.490" v="78311"/>
          <ac:spMkLst>
            <pc:docMk/>
            <pc:sldMk cId="3318654818" sldId="717"/>
            <ac:spMk id="24" creationId="{72441735-C0BF-4C38-8CA6-E9C68D80ACCF}"/>
          </ac:spMkLst>
        </pc:spChg>
        <pc:spChg chg="add del mod modVis">
          <ac:chgData name="Matthäus Alberding" userId="89cdd4c9-d044-4ab4-9e6f-8f065e0119c4" providerId="ADAL" clId="{B6745356-B6CF-45AA-ADCC-AC8F740A00DA}" dt="2022-07-26T14:44:27.480" v="78383"/>
          <ac:spMkLst>
            <pc:docMk/>
            <pc:sldMk cId="3318654818" sldId="717"/>
            <ac:spMk id="25" creationId="{D77F14FF-D2CA-4936-BE81-8C5DD5F4BC45}"/>
          </ac:spMkLst>
        </pc:spChg>
        <pc:spChg chg="add del mod modVis">
          <ac:chgData name="Matthäus Alberding" userId="89cdd4c9-d044-4ab4-9e6f-8f065e0119c4" providerId="ADAL" clId="{B6745356-B6CF-45AA-ADCC-AC8F740A00DA}" dt="2022-07-26T14:44:34.087" v="78467"/>
          <ac:spMkLst>
            <pc:docMk/>
            <pc:sldMk cId="3318654818" sldId="717"/>
            <ac:spMk id="26" creationId="{2E6A432F-7927-4091-B6CB-BA858240C8ED}"/>
          </ac:spMkLst>
        </pc:spChg>
        <pc:spChg chg="add del mod modVis">
          <ac:chgData name="Matthäus Alberding" userId="89cdd4c9-d044-4ab4-9e6f-8f065e0119c4" providerId="ADAL" clId="{B6745356-B6CF-45AA-ADCC-AC8F740A00DA}" dt="2022-07-26T14:44:35.820" v="78518"/>
          <ac:spMkLst>
            <pc:docMk/>
            <pc:sldMk cId="3318654818" sldId="717"/>
            <ac:spMk id="27" creationId="{6C39000B-86F8-446F-AFB7-942EA1122879}"/>
          </ac:spMkLst>
        </pc:spChg>
        <pc:spChg chg="add del mod modVis">
          <ac:chgData name="Matthäus Alberding" userId="89cdd4c9-d044-4ab4-9e6f-8f065e0119c4" providerId="ADAL" clId="{B6745356-B6CF-45AA-ADCC-AC8F740A00DA}" dt="2022-07-26T14:44:40.080" v="78587"/>
          <ac:spMkLst>
            <pc:docMk/>
            <pc:sldMk cId="3318654818" sldId="717"/>
            <ac:spMk id="28" creationId="{50E20238-4C32-46DB-A8FC-BE39EC3CB3C0}"/>
          </ac:spMkLst>
        </pc:spChg>
        <pc:spChg chg="add del mod modVis">
          <ac:chgData name="Matthäus Alberding" userId="89cdd4c9-d044-4ab4-9e6f-8f065e0119c4" providerId="ADAL" clId="{B6745356-B6CF-45AA-ADCC-AC8F740A00DA}" dt="2022-07-26T14:44:46.545" v="78630"/>
          <ac:spMkLst>
            <pc:docMk/>
            <pc:sldMk cId="3318654818" sldId="717"/>
            <ac:spMk id="29" creationId="{A2F39286-882A-48BF-AEC5-39E50A64AC73}"/>
          </ac:spMkLst>
        </pc:spChg>
        <pc:spChg chg="add del mod modVis">
          <ac:chgData name="Matthäus Alberding" userId="89cdd4c9-d044-4ab4-9e6f-8f065e0119c4" providerId="ADAL" clId="{B6745356-B6CF-45AA-ADCC-AC8F740A00DA}" dt="2022-07-26T14:44:47.369" v="78673"/>
          <ac:spMkLst>
            <pc:docMk/>
            <pc:sldMk cId="3318654818" sldId="717"/>
            <ac:spMk id="30" creationId="{C45D574C-ED88-4275-A6ED-14B12890E208}"/>
          </ac:spMkLst>
        </pc:spChg>
        <pc:graphicFrameChg chg="add mod ord modVis">
          <ac:chgData name="Matthäus Alberding" userId="89cdd4c9-d044-4ab4-9e6f-8f065e0119c4" providerId="ADAL" clId="{B6745356-B6CF-45AA-ADCC-AC8F740A00DA}" dt="2022-07-26T14:44:47.370" v="78675"/>
          <ac:graphicFrameMkLst>
            <pc:docMk/>
            <pc:sldMk cId="3318654818" sldId="717"/>
            <ac:graphicFrameMk id="10" creationId="{7CEE3F8B-2B82-4DED-B4E7-6C7AF1C85E93}"/>
          </ac:graphicFrameMkLst>
        </pc:graphicFrameChg>
        <pc:picChg chg="add mod">
          <ac:chgData name="Matthäus Alberding" userId="89cdd4c9-d044-4ab4-9e6f-8f065e0119c4" providerId="ADAL" clId="{B6745356-B6CF-45AA-ADCC-AC8F740A00DA}" dt="2022-07-26T14:43:35.600" v="78268"/>
          <ac:picMkLst>
            <pc:docMk/>
            <pc:sldMk cId="3318654818" sldId="717"/>
            <ac:picMk id="11" creationId="{51D37E89-6FA3-4D32-858F-55630D7158B5}"/>
          </ac:picMkLst>
        </pc:picChg>
        <pc:cxnChg chg="add mod">
          <ac:chgData name="Matthäus Alberding" userId="89cdd4c9-d044-4ab4-9e6f-8f065e0119c4" providerId="ADAL" clId="{B6745356-B6CF-45AA-ADCC-AC8F740A00DA}" dt="2022-07-26T14:43:35.600" v="78268"/>
          <ac:cxnSpMkLst>
            <pc:docMk/>
            <pc:sldMk cId="3318654818" sldId="717"/>
            <ac:cxnSpMk id="13" creationId="{482FED00-D232-44FB-98BC-D66355E069E5}"/>
          </ac:cxnSpMkLst>
        </pc:cxnChg>
        <pc:cxnChg chg="add mod">
          <ac:chgData name="Matthäus Alberding" userId="89cdd4c9-d044-4ab4-9e6f-8f065e0119c4" providerId="ADAL" clId="{B6745356-B6CF-45AA-ADCC-AC8F740A00DA}" dt="2022-07-26T14:43:35.600" v="78268"/>
          <ac:cxnSpMkLst>
            <pc:docMk/>
            <pc:sldMk cId="3318654818" sldId="717"/>
            <ac:cxnSpMk id="15" creationId="{C52DA0A6-75C0-4D9C-BD13-0D5494C50A16}"/>
          </ac:cxnSpMkLst>
        </pc:cxnChg>
        <pc:cxnChg chg="add mod">
          <ac:chgData name="Matthäus Alberding" userId="89cdd4c9-d044-4ab4-9e6f-8f065e0119c4" providerId="ADAL" clId="{B6745356-B6CF-45AA-ADCC-AC8F740A00DA}" dt="2022-07-26T14:43:35.600" v="78268"/>
          <ac:cxnSpMkLst>
            <pc:docMk/>
            <pc:sldMk cId="3318654818" sldId="717"/>
            <ac:cxnSpMk id="16" creationId="{078AD174-EB6E-4039-A996-764092248FA6}"/>
          </ac:cxnSpMkLst>
        </pc:cxnChg>
        <pc:cxnChg chg="add mod">
          <ac:chgData name="Matthäus Alberding" userId="89cdd4c9-d044-4ab4-9e6f-8f065e0119c4" providerId="ADAL" clId="{B6745356-B6CF-45AA-ADCC-AC8F740A00DA}" dt="2022-07-26T14:43:35.600" v="78268"/>
          <ac:cxnSpMkLst>
            <pc:docMk/>
            <pc:sldMk cId="3318654818" sldId="717"/>
            <ac:cxnSpMk id="18" creationId="{7003C907-E664-4C2F-9E2A-D0CC82190B3D}"/>
          </ac:cxnSpMkLst>
        </pc:cxnChg>
        <pc:cxnChg chg="add mod">
          <ac:chgData name="Matthäus Alberding" userId="89cdd4c9-d044-4ab4-9e6f-8f065e0119c4" providerId="ADAL" clId="{B6745356-B6CF-45AA-ADCC-AC8F740A00DA}" dt="2022-07-26T14:43:35.600" v="78268"/>
          <ac:cxnSpMkLst>
            <pc:docMk/>
            <pc:sldMk cId="3318654818" sldId="717"/>
            <ac:cxnSpMk id="19" creationId="{D1F0750F-BDF4-4669-A06B-47A80CC2AC3A}"/>
          </ac:cxnSpMkLst>
        </pc:cxnChg>
        <pc:cxnChg chg="add mod">
          <ac:chgData name="Matthäus Alberding" userId="89cdd4c9-d044-4ab4-9e6f-8f065e0119c4" providerId="ADAL" clId="{B6745356-B6CF-45AA-ADCC-AC8F740A00DA}" dt="2022-07-26T14:43:35.600" v="78268"/>
          <ac:cxnSpMkLst>
            <pc:docMk/>
            <pc:sldMk cId="3318654818" sldId="717"/>
            <ac:cxnSpMk id="21" creationId="{D93768C3-AFB2-4F26-88CB-182D08F9C0E4}"/>
          </ac:cxnSpMkLst>
        </pc:cxnChg>
      </pc:sldChg>
      <pc:sldChg chg="addSp delSp modSp new add del mod modTransition modClrScheme modShow chgLayout">
        <pc:chgData name="Matthäus Alberding" userId="89cdd4c9-d044-4ab4-9e6f-8f065e0119c4" providerId="ADAL" clId="{B6745356-B6CF-45AA-ADCC-AC8F740A00DA}" dt="2022-07-26T14:59:24.163" v="80456" actId="47"/>
        <pc:sldMkLst>
          <pc:docMk/>
          <pc:sldMk cId="1952549509" sldId="718"/>
        </pc:sldMkLst>
        <pc:spChg chg="del mod ord">
          <ac:chgData name="Matthäus Alberding" userId="89cdd4c9-d044-4ab4-9e6f-8f065e0119c4" providerId="ADAL" clId="{B6745356-B6CF-45AA-ADCC-AC8F740A00DA}" dt="2022-07-26T14:44:57.174" v="78679"/>
          <ac:spMkLst>
            <pc:docMk/>
            <pc:sldMk cId="1952549509" sldId="718"/>
            <ac:spMk id="2" creationId="{8321A125-D22E-4574-A74D-86C679135710}"/>
          </ac:spMkLst>
        </pc:spChg>
        <pc:spChg chg="del mod ord">
          <ac:chgData name="Matthäus Alberding" userId="89cdd4c9-d044-4ab4-9e6f-8f065e0119c4" providerId="ADAL" clId="{B6745356-B6CF-45AA-ADCC-AC8F740A00DA}" dt="2022-07-26T14:44:57.174" v="78679"/>
          <ac:spMkLst>
            <pc:docMk/>
            <pc:sldMk cId="1952549509" sldId="718"/>
            <ac:spMk id="3" creationId="{AB045290-09CE-462D-82B6-A7FDE7A569E6}"/>
          </ac:spMkLst>
        </pc:spChg>
        <pc:spChg chg="mod ord">
          <ac:chgData name="Matthäus Alberding" userId="89cdd4c9-d044-4ab4-9e6f-8f065e0119c4" providerId="ADAL" clId="{B6745356-B6CF-45AA-ADCC-AC8F740A00DA}" dt="2022-07-26T14:44:57.174" v="78679"/>
          <ac:spMkLst>
            <pc:docMk/>
            <pc:sldMk cId="1952549509" sldId="718"/>
            <ac:spMk id="4" creationId="{D75E89D0-8460-4D2B-B050-71095D98A5B5}"/>
          </ac:spMkLst>
        </pc:spChg>
        <pc:spChg chg="mod ord">
          <ac:chgData name="Matthäus Alberding" userId="89cdd4c9-d044-4ab4-9e6f-8f065e0119c4" providerId="ADAL" clId="{B6745356-B6CF-45AA-ADCC-AC8F740A00DA}" dt="2022-07-26T14:44:57.174" v="78679"/>
          <ac:spMkLst>
            <pc:docMk/>
            <pc:sldMk cId="1952549509" sldId="718"/>
            <ac:spMk id="5" creationId="{B517E879-3898-4984-A798-5FBEE68D351C}"/>
          </ac:spMkLst>
        </pc:spChg>
        <pc:spChg chg="del mod ord">
          <ac:chgData name="Matthäus Alberding" userId="89cdd4c9-d044-4ab4-9e6f-8f065e0119c4" providerId="ADAL" clId="{B6745356-B6CF-45AA-ADCC-AC8F740A00DA}" dt="2022-07-26T14:44:57.174" v="78679"/>
          <ac:spMkLst>
            <pc:docMk/>
            <pc:sldMk cId="1952549509" sldId="718"/>
            <ac:spMk id="6" creationId="{76C96F4B-3A05-4FE3-97CE-28DACB553ED9}"/>
          </ac:spMkLst>
        </pc:spChg>
        <pc:spChg chg="add mod ord">
          <ac:chgData name="Matthäus Alberding" userId="89cdd4c9-d044-4ab4-9e6f-8f065e0119c4" providerId="ADAL" clId="{B6745356-B6CF-45AA-ADCC-AC8F740A00DA}" dt="2022-07-26T14:45:39.021" v="78874" actId="948"/>
          <ac:spMkLst>
            <pc:docMk/>
            <pc:sldMk cId="1952549509" sldId="718"/>
            <ac:spMk id="7" creationId="{56481B31-658A-4117-86C4-8CB7C5DFA8E4}"/>
          </ac:spMkLst>
        </pc:spChg>
        <pc:spChg chg="add del mod ord">
          <ac:chgData name="Matthäus Alberding" userId="89cdd4c9-d044-4ab4-9e6f-8f065e0119c4" providerId="ADAL" clId="{B6745356-B6CF-45AA-ADCC-AC8F740A00DA}" dt="2022-07-26T14:45:09.089" v="78697" actId="478"/>
          <ac:spMkLst>
            <pc:docMk/>
            <pc:sldMk cId="1952549509" sldId="718"/>
            <ac:spMk id="8" creationId="{2E5825BD-42F1-4BC1-8469-E57EF66DF304}"/>
          </ac:spMkLst>
        </pc:spChg>
        <pc:spChg chg="add mod ord">
          <ac:chgData name="Matthäus Alberding" userId="89cdd4c9-d044-4ab4-9e6f-8f065e0119c4" providerId="ADAL" clId="{B6745356-B6CF-45AA-ADCC-AC8F740A00DA}" dt="2022-07-26T14:45:27.509" v="78872" actId="20577"/>
          <ac:spMkLst>
            <pc:docMk/>
            <pc:sldMk cId="1952549509" sldId="718"/>
            <ac:spMk id="9" creationId="{48552F32-5B19-4CF2-A4DD-E240A2CEE159}"/>
          </ac:spMkLst>
        </pc:spChg>
        <pc:spChg chg="add mod">
          <ac:chgData name="Matthäus Alberding" userId="89cdd4c9-d044-4ab4-9e6f-8f065e0119c4" providerId="ADAL" clId="{B6745356-B6CF-45AA-ADCC-AC8F740A00DA}" dt="2022-07-26T14:45:07.342" v="78696"/>
          <ac:spMkLst>
            <pc:docMk/>
            <pc:sldMk cId="1952549509" sldId="718"/>
            <ac:spMk id="14" creationId="{14E02AD5-4B19-4059-8FA0-F624ECE210E6}"/>
          </ac:spMkLst>
        </pc:spChg>
        <pc:spChg chg="add mod">
          <ac:chgData name="Matthäus Alberding" userId="89cdd4c9-d044-4ab4-9e6f-8f065e0119c4" providerId="ADAL" clId="{B6745356-B6CF-45AA-ADCC-AC8F740A00DA}" dt="2022-07-26T14:45:07.342" v="78696"/>
          <ac:spMkLst>
            <pc:docMk/>
            <pc:sldMk cId="1952549509" sldId="718"/>
            <ac:spMk id="15" creationId="{38FA45E0-72A0-46D5-A8CD-F0D13008793C}"/>
          </ac:spMkLst>
        </pc:spChg>
        <pc:spChg chg="add mod">
          <ac:chgData name="Matthäus Alberding" userId="89cdd4c9-d044-4ab4-9e6f-8f065e0119c4" providerId="ADAL" clId="{B6745356-B6CF-45AA-ADCC-AC8F740A00DA}" dt="2022-07-26T14:45:07.342" v="78696"/>
          <ac:spMkLst>
            <pc:docMk/>
            <pc:sldMk cId="1952549509" sldId="718"/>
            <ac:spMk id="16" creationId="{81752E7E-10CD-41F5-9463-D6960DC13657}"/>
          </ac:spMkLst>
        </pc:spChg>
        <pc:spChg chg="add mod">
          <ac:chgData name="Matthäus Alberding" userId="89cdd4c9-d044-4ab4-9e6f-8f065e0119c4" providerId="ADAL" clId="{B6745356-B6CF-45AA-ADCC-AC8F740A00DA}" dt="2022-07-26T14:45:07.342" v="78696"/>
          <ac:spMkLst>
            <pc:docMk/>
            <pc:sldMk cId="1952549509" sldId="718"/>
            <ac:spMk id="20" creationId="{B8C2BD15-30B9-48E9-87F1-F92A5F39576D}"/>
          </ac:spMkLst>
        </pc:spChg>
        <pc:spChg chg="add mod">
          <ac:chgData name="Matthäus Alberding" userId="89cdd4c9-d044-4ab4-9e6f-8f065e0119c4" providerId="ADAL" clId="{B6745356-B6CF-45AA-ADCC-AC8F740A00DA}" dt="2022-07-26T14:45:07.342" v="78696"/>
          <ac:spMkLst>
            <pc:docMk/>
            <pc:sldMk cId="1952549509" sldId="718"/>
            <ac:spMk id="22" creationId="{DBC2FFCD-40CA-400A-B035-F7B7CEED38E6}"/>
          </ac:spMkLst>
        </pc:spChg>
        <pc:spChg chg="add mod">
          <ac:chgData name="Matthäus Alberding" userId="89cdd4c9-d044-4ab4-9e6f-8f065e0119c4" providerId="ADAL" clId="{B6745356-B6CF-45AA-ADCC-AC8F740A00DA}" dt="2022-07-26T14:45:07.342" v="78696"/>
          <ac:spMkLst>
            <pc:docMk/>
            <pc:sldMk cId="1952549509" sldId="718"/>
            <ac:spMk id="25" creationId="{B875CD62-2152-4C81-9076-7F8F2300FBC0}"/>
          </ac:spMkLst>
        </pc:spChg>
        <pc:spChg chg="add del mod modVis">
          <ac:chgData name="Matthäus Alberding" userId="89cdd4c9-d044-4ab4-9e6f-8f065e0119c4" providerId="ADAL" clId="{B6745356-B6CF-45AA-ADCC-AC8F740A00DA}" dt="2022-07-26T14:45:13.242" v="78754"/>
          <ac:spMkLst>
            <pc:docMk/>
            <pc:sldMk cId="1952549509" sldId="718"/>
            <ac:spMk id="26" creationId="{B56F0097-DBC0-4537-87D2-4687B561BD0F}"/>
          </ac:spMkLst>
        </pc:spChg>
        <pc:spChg chg="add del mod modVis">
          <ac:chgData name="Matthäus Alberding" userId="89cdd4c9-d044-4ab4-9e6f-8f065e0119c4" providerId="ADAL" clId="{B6745356-B6CF-45AA-ADCC-AC8F740A00DA}" dt="2022-07-26T14:45:19.833" v="78821"/>
          <ac:spMkLst>
            <pc:docMk/>
            <pc:sldMk cId="1952549509" sldId="718"/>
            <ac:spMk id="27" creationId="{A66589DA-A1AE-41E0-83F4-45A955FDFFF6}"/>
          </ac:spMkLst>
        </pc:spChg>
        <pc:spChg chg="add del mod modVis">
          <ac:chgData name="Matthäus Alberding" userId="89cdd4c9-d044-4ab4-9e6f-8f065e0119c4" providerId="ADAL" clId="{B6745356-B6CF-45AA-ADCC-AC8F740A00DA}" dt="2022-07-26T14:45:21.107" v="78868"/>
          <ac:spMkLst>
            <pc:docMk/>
            <pc:sldMk cId="1952549509" sldId="718"/>
            <ac:spMk id="28" creationId="{5923107A-AB43-4AE5-AE74-BBEEF16255AA}"/>
          </ac:spMkLst>
        </pc:spChg>
        <pc:spChg chg="add del mod modVis">
          <ac:chgData name="Matthäus Alberding" userId="89cdd4c9-d044-4ab4-9e6f-8f065e0119c4" providerId="ADAL" clId="{B6745356-B6CF-45AA-ADCC-AC8F740A00DA}" dt="2022-07-26T14:45:39.038" v="78913"/>
          <ac:spMkLst>
            <pc:docMk/>
            <pc:sldMk cId="1952549509" sldId="718"/>
            <ac:spMk id="29" creationId="{46C879AD-FDB9-435E-A902-FEE626D8AFDD}"/>
          </ac:spMkLst>
        </pc:spChg>
        <pc:graphicFrameChg chg="add mod ord modVis">
          <ac:chgData name="Matthäus Alberding" userId="89cdd4c9-d044-4ab4-9e6f-8f065e0119c4" providerId="ADAL" clId="{B6745356-B6CF-45AA-ADCC-AC8F740A00DA}" dt="2022-07-26T14:45:39.039" v="78915"/>
          <ac:graphicFrameMkLst>
            <pc:docMk/>
            <pc:sldMk cId="1952549509" sldId="718"/>
            <ac:graphicFrameMk id="10" creationId="{FE195490-A78F-45C1-BD7A-AAA93E110D0E}"/>
          </ac:graphicFrameMkLst>
        </pc:graphicFrameChg>
        <pc:picChg chg="add mod">
          <ac:chgData name="Matthäus Alberding" userId="89cdd4c9-d044-4ab4-9e6f-8f065e0119c4" providerId="ADAL" clId="{B6745356-B6CF-45AA-ADCC-AC8F740A00DA}" dt="2022-07-26T14:45:07.342" v="78696"/>
          <ac:picMkLst>
            <pc:docMk/>
            <pc:sldMk cId="1952549509" sldId="718"/>
            <ac:picMk id="11" creationId="{7292D409-F105-4D5B-9FC5-854E15FE47CA}"/>
          </ac:picMkLst>
        </pc:picChg>
        <pc:picChg chg="add mod">
          <ac:chgData name="Matthäus Alberding" userId="89cdd4c9-d044-4ab4-9e6f-8f065e0119c4" providerId="ADAL" clId="{B6745356-B6CF-45AA-ADCC-AC8F740A00DA}" dt="2022-07-26T14:45:07.342" v="78696"/>
          <ac:picMkLst>
            <pc:docMk/>
            <pc:sldMk cId="1952549509" sldId="718"/>
            <ac:picMk id="12" creationId="{0F0EAE64-0CC3-4CB6-B01B-32FCF4B89527}"/>
          </ac:picMkLst>
        </pc:picChg>
        <pc:picChg chg="add mod">
          <ac:chgData name="Matthäus Alberding" userId="89cdd4c9-d044-4ab4-9e6f-8f065e0119c4" providerId="ADAL" clId="{B6745356-B6CF-45AA-ADCC-AC8F740A00DA}" dt="2022-07-26T14:45:07.342" v="78696"/>
          <ac:picMkLst>
            <pc:docMk/>
            <pc:sldMk cId="1952549509" sldId="718"/>
            <ac:picMk id="13" creationId="{BD8D38CE-F7D0-454B-888E-2D675C07C165}"/>
          </ac:picMkLst>
        </pc:picChg>
        <pc:cxnChg chg="add mod">
          <ac:chgData name="Matthäus Alberding" userId="89cdd4c9-d044-4ab4-9e6f-8f065e0119c4" providerId="ADAL" clId="{B6745356-B6CF-45AA-ADCC-AC8F740A00DA}" dt="2022-07-26T14:45:07.342" v="78696"/>
          <ac:cxnSpMkLst>
            <pc:docMk/>
            <pc:sldMk cId="1952549509" sldId="718"/>
            <ac:cxnSpMk id="17" creationId="{DD792551-C039-4AB3-A4BC-2AE56D039796}"/>
          </ac:cxnSpMkLst>
        </pc:cxnChg>
        <pc:cxnChg chg="add mod">
          <ac:chgData name="Matthäus Alberding" userId="89cdd4c9-d044-4ab4-9e6f-8f065e0119c4" providerId="ADAL" clId="{B6745356-B6CF-45AA-ADCC-AC8F740A00DA}" dt="2022-07-26T14:45:07.342" v="78696"/>
          <ac:cxnSpMkLst>
            <pc:docMk/>
            <pc:sldMk cId="1952549509" sldId="718"/>
            <ac:cxnSpMk id="18" creationId="{A85F4673-173F-4B64-9A58-FC1A32A9D6B0}"/>
          </ac:cxnSpMkLst>
        </pc:cxnChg>
        <pc:cxnChg chg="add mod">
          <ac:chgData name="Matthäus Alberding" userId="89cdd4c9-d044-4ab4-9e6f-8f065e0119c4" providerId="ADAL" clId="{B6745356-B6CF-45AA-ADCC-AC8F740A00DA}" dt="2022-07-26T14:45:07.342" v="78696"/>
          <ac:cxnSpMkLst>
            <pc:docMk/>
            <pc:sldMk cId="1952549509" sldId="718"/>
            <ac:cxnSpMk id="19" creationId="{10BBD30A-2C1E-427A-8BCD-38152F6659A1}"/>
          </ac:cxnSpMkLst>
        </pc:cxnChg>
        <pc:cxnChg chg="add mod">
          <ac:chgData name="Matthäus Alberding" userId="89cdd4c9-d044-4ab4-9e6f-8f065e0119c4" providerId="ADAL" clId="{B6745356-B6CF-45AA-ADCC-AC8F740A00DA}" dt="2022-07-26T14:45:07.342" v="78696"/>
          <ac:cxnSpMkLst>
            <pc:docMk/>
            <pc:sldMk cId="1952549509" sldId="718"/>
            <ac:cxnSpMk id="21" creationId="{8055072B-1F02-4DDB-88D6-4DBCBA480FBF}"/>
          </ac:cxnSpMkLst>
        </pc:cxnChg>
        <pc:cxnChg chg="add mod">
          <ac:chgData name="Matthäus Alberding" userId="89cdd4c9-d044-4ab4-9e6f-8f065e0119c4" providerId="ADAL" clId="{B6745356-B6CF-45AA-ADCC-AC8F740A00DA}" dt="2022-07-26T14:45:07.342" v="78696"/>
          <ac:cxnSpMkLst>
            <pc:docMk/>
            <pc:sldMk cId="1952549509" sldId="718"/>
            <ac:cxnSpMk id="23" creationId="{D4B4910E-EA87-441A-983A-B88C0FE1906A}"/>
          </ac:cxnSpMkLst>
        </pc:cxnChg>
        <pc:cxnChg chg="add mod">
          <ac:chgData name="Matthäus Alberding" userId="89cdd4c9-d044-4ab4-9e6f-8f065e0119c4" providerId="ADAL" clId="{B6745356-B6CF-45AA-ADCC-AC8F740A00DA}" dt="2022-07-26T14:45:07.342" v="78696"/>
          <ac:cxnSpMkLst>
            <pc:docMk/>
            <pc:sldMk cId="1952549509" sldId="718"/>
            <ac:cxnSpMk id="24" creationId="{E5A45ECA-99A3-47BA-A755-5CFE5E9FEA15}"/>
          </ac:cxnSpMkLst>
        </pc:cxnChg>
      </pc:sldChg>
      <pc:sldChg chg="addSp delSp modSp new add del mod modClrScheme chgLayout">
        <pc:chgData name="Matthäus Alberding" userId="89cdd4c9-d044-4ab4-9e6f-8f065e0119c4" providerId="ADAL" clId="{B6745356-B6CF-45AA-ADCC-AC8F740A00DA}" dt="2022-07-26T15:03:04.860" v="81152" actId="47"/>
        <pc:sldMkLst>
          <pc:docMk/>
          <pc:sldMk cId="2683433385" sldId="719"/>
        </pc:sldMkLst>
        <pc:spChg chg="del mod ord">
          <ac:chgData name="Matthäus Alberding" userId="89cdd4c9-d044-4ab4-9e6f-8f065e0119c4" providerId="ADAL" clId="{B6745356-B6CF-45AA-ADCC-AC8F740A00DA}" dt="2022-07-26T14:47:29.343" v="78919"/>
          <ac:spMkLst>
            <pc:docMk/>
            <pc:sldMk cId="2683433385" sldId="719"/>
            <ac:spMk id="2" creationId="{A2DC966D-09E1-4178-AB4A-B75F79C68F49}"/>
          </ac:spMkLst>
        </pc:spChg>
        <pc:spChg chg="del mod ord">
          <ac:chgData name="Matthäus Alberding" userId="89cdd4c9-d044-4ab4-9e6f-8f065e0119c4" providerId="ADAL" clId="{B6745356-B6CF-45AA-ADCC-AC8F740A00DA}" dt="2022-07-26T14:47:29.343" v="78919"/>
          <ac:spMkLst>
            <pc:docMk/>
            <pc:sldMk cId="2683433385" sldId="719"/>
            <ac:spMk id="3" creationId="{DC71C94C-D0AA-4C50-AEA5-CDB53AF2A91F}"/>
          </ac:spMkLst>
        </pc:spChg>
        <pc:spChg chg="mod ord">
          <ac:chgData name="Matthäus Alberding" userId="89cdd4c9-d044-4ab4-9e6f-8f065e0119c4" providerId="ADAL" clId="{B6745356-B6CF-45AA-ADCC-AC8F740A00DA}" dt="2022-07-26T14:48:56.389" v="79136"/>
          <ac:spMkLst>
            <pc:docMk/>
            <pc:sldMk cId="2683433385" sldId="719"/>
            <ac:spMk id="4" creationId="{C48EDD29-16C2-444D-9DB6-7A3668EDB35E}"/>
          </ac:spMkLst>
        </pc:spChg>
        <pc:spChg chg="mod ord">
          <ac:chgData name="Matthäus Alberding" userId="89cdd4c9-d044-4ab4-9e6f-8f065e0119c4" providerId="ADAL" clId="{B6745356-B6CF-45AA-ADCC-AC8F740A00DA}" dt="2022-07-26T14:48:56.389" v="79136"/>
          <ac:spMkLst>
            <pc:docMk/>
            <pc:sldMk cId="2683433385" sldId="719"/>
            <ac:spMk id="5" creationId="{D20A6263-5D29-4D8E-AEB5-7064D4F2BF45}"/>
          </ac:spMkLst>
        </pc:spChg>
        <pc:spChg chg="del mod ord">
          <ac:chgData name="Matthäus Alberding" userId="89cdd4c9-d044-4ab4-9e6f-8f065e0119c4" providerId="ADAL" clId="{B6745356-B6CF-45AA-ADCC-AC8F740A00DA}" dt="2022-07-26T14:47:29.343" v="78919"/>
          <ac:spMkLst>
            <pc:docMk/>
            <pc:sldMk cId="2683433385" sldId="719"/>
            <ac:spMk id="6" creationId="{694EA5A5-2028-42DF-ABA1-A4740F916551}"/>
          </ac:spMkLst>
        </pc:spChg>
        <pc:spChg chg="add del mod ord">
          <ac:chgData name="Matthäus Alberding" userId="89cdd4c9-d044-4ab4-9e6f-8f065e0119c4" providerId="ADAL" clId="{B6745356-B6CF-45AA-ADCC-AC8F740A00DA}" dt="2022-07-26T14:47:41.018" v="78943"/>
          <ac:spMkLst>
            <pc:docMk/>
            <pc:sldMk cId="2683433385" sldId="719"/>
            <ac:spMk id="7" creationId="{55D761C1-7CD7-4A98-873F-0F5E13E23271}"/>
          </ac:spMkLst>
        </pc:spChg>
        <pc:spChg chg="add del mod ord">
          <ac:chgData name="Matthäus Alberding" userId="89cdd4c9-d044-4ab4-9e6f-8f065e0119c4" providerId="ADAL" clId="{B6745356-B6CF-45AA-ADCC-AC8F740A00DA}" dt="2022-07-26T14:47:41.018" v="78943"/>
          <ac:spMkLst>
            <pc:docMk/>
            <pc:sldMk cId="2683433385" sldId="719"/>
            <ac:spMk id="8" creationId="{96544283-C75E-4AD7-BC84-C98A6FB2D090}"/>
          </ac:spMkLst>
        </pc:spChg>
        <pc:spChg chg="add del mod ord">
          <ac:chgData name="Matthäus Alberding" userId="89cdd4c9-d044-4ab4-9e6f-8f065e0119c4" providerId="ADAL" clId="{B6745356-B6CF-45AA-ADCC-AC8F740A00DA}" dt="2022-07-26T14:47:41.018" v="78943"/>
          <ac:spMkLst>
            <pc:docMk/>
            <pc:sldMk cId="2683433385" sldId="719"/>
            <ac:spMk id="9" creationId="{0FEEEB7C-0C4B-4D08-A58A-0BB3CB467B77}"/>
          </ac:spMkLst>
        </pc:spChg>
        <pc:spChg chg="add del mod ord">
          <ac:chgData name="Matthäus Alberding" userId="89cdd4c9-d044-4ab4-9e6f-8f065e0119c4" providerId="ADAL" clId="{B6745356-B6CF-45AA-ADCC-AC8F740A00DA}" dt="2022-07-26T14:47:43.055" v="78948"/>
          <ac:spMkLst>
            <pc:docMk/>
            <pc:sldMk cId="2683433385" sldId="719"/>
            <ac:spMk id="12" creationId="{0614E498-5C0A-4B52-A40F-7EB573B810EB}"/>
          </ac:spMkLst>
        </pc:spChg>
        <pc:spChg chg="add del mod ord">
          <ac:chgData name="Matthäus Alberding" userId="89cdd4c9-d044-4ab4-9e6f-8f065e0119c4" providerId="ADAL" clId="{B6745356-B6CF-45AA-ADCC-AC8F740A00DA}" dt="2022-07-26T14:47:43.055" v="78948"/>
          <ac:spMkLst>
            <pc:docMk/>
            <pc:sldMk cId="2683433385" sldId="719"/>
            <ac:spMk id="13" creationId="{8AC7B854-4499-4E5E-81E9-4C2FFA3C2A15}"/>
          </ac:spMkLst>
        </pc:spChg>
        <pc:spChg chg="add del mod ord">
          <ac:chgData name="Matthäus Alberding" userId="89cdd4c9-d044-4ab4-9e6f-8f065e0119c4" providerId="ADAL" clId="{B6745356-B6CF-45AA-ADCC-AC8F740A00DA}" dt="2022-07-26T14:47:43.055" v="78948"/>
          <ac:spMkLst>
            <pc:docMk/>
            <pc:sldMk cId="2683433385" sldId="719"/>
            <ac:spMk id="14" creationId="{1DBDE821-63F0-4A43-9196-B584D0C237F1}"/>
          </ac:spMkLst>
        </pc:spChg>
        <pc:spChg chg="add del mod ord">
          <ac:chgData name="Matthäus Alberding" userId="89cdd4c9-d044-4ab4-9e6f-8f065e0119c4" providerId="ADAL" clId="{B6745356-B6CF-45AA-ADCC-AC8F740A00DA}" dt="2022-07-26T14:47:43.055" v="78948"/>
          <ac:spMkLst>
            <pc:docMk/>
            <pc:sldMk cId="2683433385" sldId="719"/>
            <ac:spMk id="15" creationId="{64E4872B-65D3-4B2B-99AB-664AA5B4C3FD}"/>
          </ac:spMkLst>
        </pc:spChg>
        <pc:spChg chg="add del mod ord">
          <ac:chgData name="Matthäus Alberding" userId="89cdd4c9-d044-4ab4-9e6f-8f065e0119c4" providerId="ADAL" clId="{B6745356-B6CF-45AA-ADCC-AC8F740A00DA}" dt="2022-07-26T14:48:56.389" v="79136"/>
          <ac:spMkLst>
            <pc:docMk/>
            <pc:sldMk cId="2683433385" sldId="719"/>
            <ac:spMk id="16" creationId="{60C25DB0-14C2-47C2-8160-723F2006A6FC}"/>
          </ac:spMkLst>
        </pc:spChg>
        <pc:spChg chg="add mod ord">
          <ac:chgData name="Matthäus Alberding" userId="89cdd4c9-d044-4ab4-9e6f-8f065e0119c4" providerId="ADAL" clId="{B6745356-B6CF-45AA-ADCC-AC8F740A00DA}" dt="2022-07-26T14:48:56.389" v="79136"/>
          <ac:spMkLst>
            <pc:docMk/>
            <pc:sldMk cId="2683433385" sldId="719"/>
            <ac:spMk id="17" creationId="{177E1B17-6FA6-4CA8-914E-581BDE9312F2}"/>
          </ac:spMkLst>
        </pc:spChg>
        <pc:spChg chg="add mod ord">
          <ac:chgData name="Matthäus Alberding" userId="89cdd4c9-d044-4ab4-9e6f-8f065e0119c4" providerId="ADAL" clId="{B6745356-B6CF-45AA-ADCC-AC8F740A00DA}" dt="2022-07-26T14:48:56.389" v="79136"/>
          <ac:spMkLst>
            <pc:docMk/>
            <pc:sldMk cId="2683433385" sldId="719"/>
            <ac:spMk id="18" creationId="{85753FD4-6E93-4578-B529-A9ABA4256084}"/>
          </ac:spMkLst>
        </pc:spChg>
        <pc:spChg chg="add del mod ord">
          <ac:chgData name="Matthäus Alberding" userId="89cdd4c9-d044-4ab4-9e6f-8f065e0119c4" providerId="ADAL" clId="{B6745356-B6CF-45AA-ADCC-AC8F740A00DA}" dt="2022-07-26T14:48:56.389" v="79136"/>
          <ac:spMkLst>
            <pc:docMk/>
            <pc:sldMk cId="2683433385" sldId="719"/>
            <ac:spMk id="19" creationId="{A2C13A38-FFA0-42A3-A85D-8EB6F0E780AE}"/>
          </ac:spMkLst>
        </pc:spChg>
        <pc:spChg chg="add del mod ord">
          <ac:chgData name="Matthäus Alberding" userId="89cdd4c9-d044-4ab4-9e6f-8f065e0119c4" providerId="ADAL" clId="{B6745356-B6CF-45AA-ADCC-AC8F740A00DA}" dt="2022-07-26T14:48:22.684" v="79079" actId="478"/>
          <ac:spMkLst>
            <pc:docMk/>
            <pc:sldMk cId="2683433385" sldId="719"/>
            <ac:spMk id="20" creationId="{5C7875D8-883E-492C-8E08-DB649D76FE60}"/>
          </ac:spMkLst>
        </pc:spChg>
        <pc:spChg chg="add del mod ord">
          <ac:chgData name="Matthäus Alberding" userId="89cdd4c9-d044-4ab4-9e6f-8f065e0119c4" providerId="ADAL" clId="{B6745356-B6CF-45AA-ADCC-AC8F740A00DA}" dt="2022-07-26T14:48:56.389" v="79136"/>
          <ac:spMkLst>
            <pc:docMk/>
            <pc:sldMk cId="2683433385" sldId="719"/>
            <ac:spMk id="21" creationId="{C101701F-51FA-466C-A8CE-A7AA1F7273BB}"/>
          </ac:spMkLst>
        </pc:spChg>
        <pc:spChg chg="add mod ord">
          <ac:chgData name="Matthäus Alberding" userId="89cdd4c9-d044-4ab4-9e6f-8f065e0119c4" providerId="ADAL" clId="{B6745356-B6CF-45AA-ADCC-AC8F740A00DA}" dt="2022-07-26T14:58:58.316" v="80412" actId="948"/>
          <ac:spMkLst>
            <pc:docMk/>
            <pc:sldMk cId="2683433385" sldId="719"/>
            <ac:spMk id="22" creationId="{D05AB1C8-ED90-4110-A9BD-BBB60A1B6A15}"/>
          </ac:spMkLst>
        </pc:spChg>
        <pc:spChg chg="add mod ord">
          <ac:chgData name="Matthäus Alberding" userId="89cdd4c9-d044-4ab4-9e6f-8f065e0119c4" providerId="ADAL" clId="{B6745356-B6CF-45AA-ADCC-AC8F740A00DA}" dt="2022-07-26T14:59:04.181" v="80455" actId="20577"/>
          <ac:spMkLst>
            <pc:docMk/>
            <pc:sldMk cId="2683433385" sldId="719"/>
            <ac:spMk id="23" creationId="{475DB172-976B-4890-8109-038331477A51}"/>
          </ac:spMkLst>
        </pc:spChg>
        <pc:spChg chg="add mod ord">
          <ac:chgData name="Matthäus Alberding" userId="89cdd4c9-d044-4ab4-9e6f-8f065e0119c4" providerId="ADAL" clId="{B6745356-B6CF-45AA-ADCC-AC8F740A00DA}" dt="2022-07-26T14:52:50.785" v="80022" actId="20577"/>
          <ac:spMkLst>
            <pc:docMk/>
            <pc:sldMk cId="2683433385" sldId="719"/>
            <ac:spMk id="24" creationId="{F4DA3FF3-F09B-497E-8002-6D4E6A5C6923}"/>
          </ac:spMkLst>
        </pc:spChg>
        <pc:spChg chg="add mod ord">
          <ac:chgData name="Matthäus Alberding" userId="89cdd4c9-d044-4ab4-9e6f-8f065e0119c4" providerId="ADAL" clId="{B6745356-B6CF-45AA-ADCC-AC8F740A00DA}" dt="2022-07-26T14:53:26.057" v="80115" actId="14100"/>
          <ac:spMkLst>
            <pc:docMk/>
            <pc:sldMk cId="2683433385" sldId="719"/>
            <ac:spMk id="25" creationId="{CA24B351-4107-4177-9AD7-6F28FBF11324}"/>
          </ac:spMkLst>
        </pc:spChg>
        <pc:spChg chg="add del mod modVis">
          <ac:chgData name="Matthäus Alberding" userId="89cdd4c9-d044-4ab4-9e6f-8f065e0119c4" providerId="ADAL" clId="{B6745356-B6CF-45AA-ADCC-AC8F740A00DA}" dt="2022-07-26T14:58:46.798" v="80331"/>
          <ac:spMkLst>
            <pc:docMk/>
            <pc:sldMk cId="2683433385" sldId="719"/>
            <ac:spMk id="29" creationId="{B7118A07-47D2-45A2-95A2-3FF17FA14A75}"/>
          </ac:spMkLst>
        </pc:spChg>
        <pc:spChg chg="add del mod modVis">
          <ac:chgData name="Matthäus Alberding" userId="89cdd4c9-d044-4ab4-9e6f-8f065e0119c4" providerId="ADAL" clId="{B6745356-B6CF-45AA-ADCC-AC8F740A00DA}" dt="2022-07-26T14:58:58.334" v="80451"/>
          <ac:spMkLst>
            <pc:docMk/>
            <pc:sldMk cId="2683433385" sldId="719"/>
            <ac:spMk id="30" creationId="{C7A7DDCA-40A7-4CF0-9732-862D702A2D22}"/>
          </ac:spMkLst>
        </pc:spChg>
        <pc:graphicFrameChg chg="add mod ord modVis">
          <ac:chgData name="Matthäus Alberding" userId="89cdd4c9-d044-4ab4-9e6f-8f065e0119c4" providerId="ADAL" clId="{B6745356-B6CF-45AA-ADCC-AC8F740A00DA}" dt="2022-07-26T14:58:58.336" v="80453"/>
          <ac:graphicFrameMkLst>
            <pc:docMk/>
            <pc:sldMk cId="2683433385" sldId="719"/>
            <ac:graphicFrameMk id="10" creationId="{AB98F4FD-F2C1-4ED4-B97C-C8E9A4730E60}"/>
          </ac:graphicFrameMkLst>
        </pc:graphicFrameChg>
        <pc:picChg chg="add del mod">
          <ac:chgData name="Matthäus Alberding" userId="89cdd4c9-d044-4ab4-9e6f-8f065e0119c4" providerId="ADAL" clId="{B6745356-B6CF-45AA-ADCC-AC8F740A00DA}" dt="2022-07-26T14:48:52.834" v="79134" actId="478"/>
          <ac:picMkLst>
            <pc:docMk/>
            <pc:sldMk cId="2683433385" sldId="719"/>
            <ac:picMk id="11" creationId="{E9BE8E6E-C12B-488C-8EB0-6EE8215E4FF6}"/>
          </ac:picMkLst>
        </pc:picChg>
        <pc:picChg chg="add mod">
          <ac:chgData name="Matthäus Alberding" userId="89cdd4c9-d044-4ab4-9e6f-8f065e0119c4" providerId="ADAL" clId="{B6745356-B6CF-45AA-ADCC-AC8F740A00DA}" dt="2022-07-26T14:57:30.792" v="80257" actId="1076"/>
          <ac:picMkLst>
            <pc:docMk/>
            <pc:sldMk cId="2683433385" sldId="719"/>
            <ac:picMk id="26" creationId="{DB60107D-EC6A-4A3B-AFEC-FE9D5902ABA2}"/>
          </ac:picMkLst>
        </pc:picChg>
        <pc:picChg chg="add mod">
          <ac:chgData name="Matthäus Alberding" userId="89cdd4c9-d044-4ab4-9e6f-8f065e0119c4" providerId="ADAL" clId="{B6745356-B6CF-45AA-ADCC-AC8F740A00DA}" dt="2022-07-26T14:57:32.532" v="80258" actId="1076"/>
          <ac:picMkLst>
            <pc:docMk/>
            <pc:sldMk cId="2683433385" sldId="719"/>
            <ac:picMk id="27" creationId="{C334C7AB-8AD4-4373-80D5-FDFE621C193A}"/>
          </ac:picMkLst>
        </pc:picChg>
        <pc:picChg chg="add mod">
          <ac:chgData name="Matthäus Alberding" userId="89cdd4c9-d044-4ab4-9e6f-8f065e0119c4" providerId="ADAL" clId="{B6745356-B6CF-45AA-ADCC-AC8F740A00DA}" dt="2022-07-26T14:57:47.726" v="80263" actId="1076"/>
          <ac:picMkLst>
            <pc:docMk/>
            <pc:sldMk cId="2683433385" sldId="719"/>
            <ac:picMk id="28" creationId="{3F871AF3-DFAD-4EB7-855E-9DBAD9BC9ECC}"/>
          </ac:picMkLst>
        </pc:picChg>
      </pc:sldChg>
      <pc:sldChg chg="modSp add del ord">
        <pc:chgData name="Matthäus Alberding" userId="89cdd4c9-d044-4ab4-9e6f-8f065e0119c4" providerId="ADAL" clId="{B6745356-B6CF-45AA-ADCC-AC8F740A00DA}" dt="2022-07-26T14:58:01.182" v="80264" actId="47"/>
        <pc:sldMkLst>
          <pc:docMk/>
          <pc:sldMk cId="1190297827" sldId="720"/>
        </pc:sldMkLst>
        <pc:spChg chg="mod">
          <ac:chgData name="Matthäus Alberding" userId="89cdd4c9-d044-4ab4-9e6f-8f065e0119c4" providerId="ADAL" clId="{B6745356-B6CF-45AA-ADCC-AC8F740A00DA}" dt="2022-07-26T14:55:05.845" v="80117"/>
          <ac:spMkLst>
            <pc:docMk/>
            <pc:sldMk cId="1190297827" sldId="720"/>
            <ac:spMk id="2" creationId="{0353EC5E-BECB-4382-842C-43F1F825A302}"/>
          </ac:spMkLst>
        </pc:spChg>
        <pc:spChg chg="mod">
          <ac:chgData name="Matthäus Alberding" userId="89cdd4c9-d044-4ab4-9e6f-8f065e0119c4" providerId="ADAL" clId="{B6745356-B6CF-45AA-ADCC-AC8F740A00DA}" dt="2022-07-26T14:55:05.845" v="80117"/>
          <ac:spMkLst>
            <pc:docMk/>
            <pc:sldMk cId="1190297827" sldId="720"/>
            <ac:spMk id="4" creationId="{A4C1C017-3B97-40A0-9305-94B7ED54B39D}"/>
          </ac:spMkLst>
        </pc:spChg>
        <pc:spChg chg="mod">
          <ac:chgData name="Matthäus Alberding" userId="89cdd4c9-d044-4ab4-9e6f-8f065e0119c4" providerId="ADAL" clId="{B6745356-B6CF-45AA-ADCC-AC8F740A00DA}" dt="2022-07-26T14:55:05.845" v="80117"/>
          <ac:spMkLst>
            <pc:docMk/>
            <pc:sldMk cId="1190297827" sldId="720"/>
            <ac:spMk id="6" creationId="{E8B2F11D-EB05-4210-99E1-7EA0F579DC5A}"/>
          </ac:spMkLst>
        </pc:spChg>
        <pc:spChg chg="mod">
          <ac:chgData name="Matthäus Alberding" userId="89cdd4c9-d044-4ab4-9e6f-8f065e0119c4" providerId="ADAL" clId="{B6745356-B6CF-45AA-ADCC-AC8F740A00DA}" dt="2022-07-26T14:55:05.845" v="80117"/>
          <ac:spMkLst>
            <pc:docMk/>
            <pc:sldMk cId="1190297827" sldId="720"/>
            <ac:spMk id="7" creationId="{2BDAB651-1CF0-40D3-858E-471132B2856E}"/>
          </ac:spMkLst>
        </pc:spChg>
        <pc:spChg chg="mod">
          <ac:chgData name="Matthäus Alberding" userId="89cdd4c9-d044-4ab4-9e6f-8f065e0119c4" providerId="ADAL" clId="{B6745356-B6CF-45AA-ADCC-AC8F740A00DA}" dt="2022-07-26T14:55:05.845" v="80117"/>
          <ac:spMkLst>
            <pc:docMk/>
            <pc:sldMk cId="1190297827" sldId="720"/>
            <ac:spMk id="11" creationId="{E882602E-B653-4593-8EEB-F5E2BA60D13C}"/>
          </ac:spMkLst>
        </pc:spChg>
        <pc:spChg chg="mod">
          <ac:chgData name="Matthäus Alberding" userId="89cdd4c9-d044-4ab4-9e6f-8f065e0119c4" providerId="ADAL" clId="{B6745356-B6CF-45AA-ADCC-AC8F740A00DA}" dt="2022-07-26T14:55:05.845" v="80117"/>
          <ac:spMkLst>
            <pc:docMk/>
            <pc:sldMk cId="1190297827" sldId="720"/>
            <ac:spMk id="12" creationId="{C9F37A18-6E15-4CE5-9673-07D1F3DD6DDF}"/>
          </ac:spMkLst>
        </pc:spChg>
        <pc:spChg chg="mod">
          <ac:chgData name="Matthäus Alberding" userId="89cdd4c9-d044-4ab4-9e6f-8f065e0119c4" providerId="ADAL" clId="{B6745356-B6CF-45AA-ADCC-AC8F740A00DA}" dt="2022-07-26T14:55:05.845" v="80117"/>
          <ac:spMkLst>
            <pc:docMk/>
            <pc:sldMk cId="1190297827" sldId="720"/>
            <ac:spMk id="13" creationId="{4188BB14-0099-4632-8F70-CE2D06F699D3}"/>
          </ac:spMkLst>
        </pc:spChg>
        <pc:spChg chg="mod">
          <ac:chgData name="Matthäus Alberding" userId="89cdd4c9-d044-4ab4-9e6f-8f065e0119c4" providerId="ADAL" clId="{B6745356-B6CF-45AA-ADCC-AC8F740A00DA}" dt="2022-07-26T14:55:05.845" v="80117"/>
          <ac:spMkLst>
            <pc:docMk/>
            <pc:sldMk cId="1190297827" sldId="720"/>
            <ac:spMk id="17" creationId="{EC601DAC-C0B5-4AEC-BCCF-08024620FFDC}"/>
          </ac:spMkLst>
        </pc:spChg>
        <pc:spChg chg="mod">
          <ac:chgData name="Matthäus Alberding" userId="89cdd4c9-d044-4ab4-9e6f-8f065e0119c4" providerId="ADAL" clId="{B6745356-B6CF-45AA-ADCC-AC8F740A00DA}" dt="2022-07-26T14:55:05.845" v="80117"/>
          <ac:spMkLst>
            <pc:docMk/>
            <pc:sldMk cId="1190297827" sldId="720"/>
            <ac:spMk id="19" creationId="{13598208-12EF-4237-8CA2-DCAFE39F0889}"/>
          </ac:spMkLst>
        </pc:spChg>
        <pc:spChg chg="mod">
          <ac:chgData name="Matthäus Alberding" userId="89cdd4c9-d044-4ab4-9e6f-8f065e0119c4" providerId="ADAL" clId="{B6745356-B6CF-45AA-ADCC-AC8F740A00DA}" dt="2022-07-26T14:55:05.845" v="80117"/>
          <ac:spMkLst>
            <pc:docMk/>
            <pc:sldMk cId="1190297827" sldId="720"/>
            <ac:spMk id="25" creationId="{378C6FA1-F921-4014-AB9D-BD2AFA432C3B}"/>
          </ac:spMkLst>
        </pc:spChg>
        <pc:grpChg chg="mod">
          <ac:chgData name="Matthäus Alberding" userId="89cdd4c9-d044-4ab4-9e6f-8f065e0119c4" providerId="ADAL" clId="{B6745356-B6CF-45AA-ADCC-AC8F740A00DA}" dt="2022-07-26T14:55:05.845" v="80117"/>
          <ac:grpSpMkLst>
            <pc:docMk/>
            <pc:sldMk cId="1190297827" sldId="720"/>
            <ac:grpSpMk id="1" creationId="{00000000-0000-0000-0000-000000000000}"/>
          </ac:grpSpMkLst>
        </pc:grpChg>
        <pc:graphicFrameChg chg="mod">
          <ac:chgData name="Matthäus Alberding" userId="89cdd4c9-d044-4ab4-9e6f-8f065e0119c4" providerId="ADAL" clId="{B6745356-B6CF-45AA-ADCC-AC8F740A00DA}" dt="2022-07-26T14:55:05.845" v="80117"/>
          <ac:graphicFrameMkLst>
            <pc:docMk/>
            <pc:sldMk cId="1190297827" sldId="720"/>
            <ac:graphicFrameMk id="5" creationId="{1F9D1815-42F6-4AC2-835B-D96489C2FB54}"/>
          </ac:graphicFrameMkLst>
        </pc:graphicFrameChg>
        <pc:picChg chg="mod">
          <ac:chgData name="Matthäus Alberding" userId="89cdd4c9-d044-4ab4-9e6f-8f065e0119c4" providerId="ADAL" clId="{B6745356-B6CF-45AA-ADCC-AC8F740A00DA}" dt="2022-07-26T14:55:05.845" v="80117"/>
          <ac:picMkLst>
            <pc:docMk/>
            <pc:sldMk cId="1190297827" sldId="720"/>
            <ac:picMk id="8" creationId="{0281F9B8-0AE0-4DFB-8E12-83FE44E5CA24}"/>
          </ac:picMkLst>
        </pc:picChg>
        <pc:picChg chg="mod">
          <ac:chgData name="Matthäus Alberding" userId="89cdd4c9-d044-4ab4-9e6f-8f065e0119c4" providerId="ADAL" clId="{B6745356-B6CF-45AA-ADCC-AC8F740A00DA}" dt="2022-07-26T14:55:05.845" v="80117"/>
          <ac:picMkLst>
            <pc:docMk/>
            <pc:sldMk cId="1190297827" sldId="720"/>
            <ac:picMk id="9" creationId="{1CC99803-8785-4DCC-A898-B563FECF9658}"/>
          </ac:picMkLst>
        </pc:picChg>
        <pc:picChg chg="mod">
          <ac:chgData name="Matthäus Alberding" userId="89cdd4c9-d044-4ab4-9e6f-8f065e0119c4" providerId="ADAL" clId="{B6745356-B6CF-45AA-ADCC-AC8F740A00DA}" dt="2022-07-26T14:55:05.845" v="80117"/>
          <ac:picMkLst>
            <pc:docMk/>
            <pc:sldMk cId="1190297827" sldId="720"/>
            <ac:picMk id="10" creationId="{93B880F6-3F42-44F4-A0B1-A9E5D2A9C4A1}"/>
          </ac:picMkLst>
        </pc:picChg>
        <pc:cxnChg chg="mod">
          <ac:chgData name="Matthäus Alberding" userId="89cdd4c9-d044-4ab4-9e6f-8f065e0119c4" providerId="ADAL" clId="{B6745356-B6CF-45AA-ADCC-AC8F740A00DA}" dt="2022-07-26T14:55:05.845" v="80117"/>
          <ac:cxnSpMkLst>
            <pc:docMk/>
            <pc:sldMk cId="1190297827" sldId="720"/>
            <ac:cxnSpMk id="14" creationId="{AA50167E-7ED7-4F23-8036-079F010B0DA2}"/>
          </ac:cxnSpMkLst>
        </pc:cxnChg>
        <pc:cxnChg chg="mod">
          <ac:chgData name="Matthäus Alberding" userId="89cdd4c9-d044-4ab4-9e6f-8f065e0119c4" providerId="ADAL" clId="{B6745356-B6CF-45AA-ADCC-AC8F740A00DA}" dt="2022-07-26T14:55:05.845" v="80117"/>
          <ac:cxnSpMkLst>
            <pc:docMk/>
            <pc:sldMk cId="1190297827" sldId="720"/>
            <ac:cxnSpMk id="15" creationId="{BCCAC9D5-2B55-4826-80E0-4C599A7C3322}"/>
          </ac:cxnSpMkLst>
        </pc:cxnChg>
        <pc:cxnChg chg="mod">
          <ac:chgData name="Matthäus Alberding" userId="89cdd4c9-d044-4ab4-9e6f-8f065e0119c4" providerId="ADAL" clId="{B6745356-B6CF-45AA-ADCC-AC8F740A00DA}" dt="2022-07-26T14:55:05.845" v="80117"/>
          <ac:cxnSpMkLst>
            <pc:docMk/>
            <pc:sldMk cId="1190297827" sldId="720"/>
            <ac:cxnSpMk id="16" creationId="{3698DD88-5053-4EFB-8B12-5B0AA9CFCC74}"/>
          </ac:cxnSpMkLst>
        </pc:cxnChg>
        <pc:cxnChg chg="mod">
          <ac:chgData name="Matthäus Alberding" userId="89cdd4c9-d044-4ab4-9e6f-8f065e0119c4" providerId="ADAL" clId="{B6745356-B6CF-45AA-ADCC-AC8F740A00DA}" dt="2022-07-26T14:55:05.845" v="80117"/>
          <ac:cxnSpMkLst>
            <pc:docMk/>
            <pc:sldMk cId="1190297827" sldId="720"/>
            <ac:cxnSpMk id="18" creationId="{47E34E18-0876-4EFE-8940-7FF144B3489B}"/>
          </ac:cxnSpMkLst>
        </pc:cxnChg>
        <pc:cxnChg chg="mod">
          <ac:chgData name="Matthäus Alberding" userId="89cdd4c9-d044-4ab4-9e6f-8f065e0119c4" providerId="ADAL" clId="{B6745356-B6CF-45AA-ADCC-AC8F740A00DA}" dt="2022-07-26T14:55:05.845" v="80117"/>
          <ac:cxnSpMkLst>
            <pc:docMk/>
            <pc:sldMk cId="1190297827" sldId="720"/>
            <ac:cxnSpMk id="20" creationId="{46959C55-BDDF-4CBA-A4DB-25168AF5FA9C}"/>
          </ac:cxnSpMkLst>
        </pc:cxnChg>
        <pc:cxnChg chg="mod">
          <ac:chgData name="Matthäus Alberding" userId="89cdd4c9-d044-4ab4-9e6f-8f065e0119c4" providerId="ADAL" clId="{B6745356-B6CF-45AA-ADCC-AC8F740A00DA}" dt="2022-07-26T14:55:05.845" v="80117"/>
          <ac:cxnSpMkLst>
            <pc:docMk/>
            <pc:sldMk cId="1190297827" sldId="720"/>
            <ac:cxnSpMk id="23" creationId="{02DB9E5A-4CCF-418F-987B-34E3725501E6}"/>
          </ac:cxnSpMkLst>
        </pc:cxnChg>
      </pc:sldChg>
      <pc:sldChg chg="addSp delSp modSp add mod ord">
        <pc:chgData name="Matthäus Alberding" userId="89cdd4c9-d044-4ab4-9e6f-8f065e0119c4" providerId="ADAL" clId="{B6745356-B6CF-45AA-ADCC-AC8F740A00DA}" dt="2022-07-27T06:48:11.593" v="97467" actId="20577"/>
        <pc:sldMkLst>
          <pc:docMk/>
          <pc:sldMk cId="1542397653" sldId="720"/>
        </pc:sldMkLst>
        <pc:spChg chg="add del mod modVis">
          <ac:chgData name="Matthäus Alberding" userId="89cdd4c9-d044-4ab4-9e6f-8f065e0119c4" providerId="ADAL" clId="{B6745356-B6CF-45AA-ADCC-AC8F740A00DA}" dt="2022-07-26T15:00:53.245" v="80545"/>
          <ac:spMkLst>
            <pc:docMk/>
            <pc:sldMk cId="1542397653" sldId="720"/>
            <ac:spMk id="2" creationId="{57708538-7382-44DB-A73A-4F94CB0FA0E4}"/>
          </ac:spMkLst>
        </pc:spChg>
        <pc:spChg chg="add del mod modVis">
          <ac:chgData name="Matthäus Alberding" userId="89cdd4c9-d044-4ab4-9e6f-8f065e0119c4" providerId="ADAL" clId="{B6745356-B6CF-45AA-ADCC-AC8F740A00DA}" dt="2022-07-26T15:01:24.102" v="80605"/>
          <ac:spMkLst>
            <pc:docMk/>
            <pc:sldMk cId="1542397653" sldId="720"/>
            <ac:spMk id="3" creationId="{E06502A3-A76A-47F5-AEA8-6221DB327546}"/>
          </ac:spMkLst>
        </pc:spChg>
        <pc:spChg chg="add del mod modVis">
          <ac:chgData name="Matthäus Alberding" userId="89cdd4c9-d044-4ab4-9e6f-8f065e0119c4" providerId="ADAL" clId="{B6745356-B6CF-45AA-ADCC-AC8F740A00DA}" dt="2022-07-26T15:01:40.803" v="80654"/>
          <ac:spMkLst>
            <pc:docMk/>
            <pc:sldMk cId="1542397653" sldId="720"/>
            <ac:spMk id="6" creationId="{5C0123F2-5821-4437-B4BC-74585EDE4FF3}"/>
          </ac:spMkLst>
        </pc:spChg>
        <pc:spChg chg="add del mod modVis">
          <ac:chgData name="Matthäus Alberding" userId="89cdd4c9-d044-4ab4-9e6f-8f065e0119c4" providerId="ADAL" clId="{B6745356-B6CF-45AA-ADCC-AC8F740A00DA}" dt="2022-07-27T06:43:17.271" v="96612"/>
          <ac:spMkLst>
            <pc:docMk/>
            <pc:sldMk cId="1542397653" sldId="720"/>
            <ac:spMk id="6" creationId="{B76876B6-8873-4B6D-93E0-402B7071061A}"/>
          </ac:spMkLst>
        </pc:spChg>
        <pc:spChg chg="add del mod modVis">
          <ac:chgData name="Matthäus Alberding" userId="89cdd4c9-d044-4ab4-9e6f-8f065e0119c4" providerId="ADAL" clId="{B6745356-B6CF-45AA-ADCC-AC8F740A00DA}" dt="2022-07-26T15:01:42.620" v="80710"/>
          <ac:spMkLst>
            <pc:docMk/>
            <pc:sldMk cId="1542397653" sldId="720"/>
            <ac:spMk id="7" creationId="{1ADE856F-E9DC-4CC2-903A-F6CF6B05D346}"/>
          </ac:spMkLst>
        </pc:spChg>
        <pc:spChg chg="add del mod modVis">
          <ac:chgData name="Matthäus Alberding" userId="89cdd4c9-d044-4ab4-9e6f-8f065e0119c4" providerId="ADAL" clId="{B6745356-B6CF-45AA-ADCC-AC8F740A00DA}" dt="2022-07-27T06:43:21.581" v="96684"/>
          <ac:spMkLst>
            <pc:docMk/>
            <pc:sldMk cId="1542397653" sldId="720"/>
            <ac:spMk id="7" creationId="{77C4CD38-C4D8-44AC-A1FF-F3AFC72C3B75}"/>
          </ac:spMkLst>
        </pc:spChg>
        <pc:spChg chg="add del mod modVis">
          <ac:chgData name="Matthäus Alberding" userId="89cdd4c9-d044-4ab4-9e6f-8f065e0119c4" providerId="ADAL" clId="{B6745356-B6CF-45AA-ADCC-AC8F740A00DA}" dt="2022-07-27T06:43:29.703" v="96748"/>
          <ac:spMkLst>
            <pc:docMk/>
            <pc:sldMk cId="1542397653" sldId="720"/>
            <ac:spMk id="8" creationId="{8B175FD9-D68A-4695-A416-A6BA9B1C47DA}"/>
          </ac:spMkLst>
        </pc:spChg>
        <pc:spChg chg="add del mod modVis">
          <ac:chgData name="Matthäus Alberding" userId="89cdd4c9-d044-4ab4-9e6f-8f065e0119c4" providerId="ADAL" clId="{B6745356-B6CF-45AA-ADCC-AC8F740A00DA}" dt="2022-07-26T15:01:53.666" v="80772"/>
          <ac:spMkLst>
            <pc:docMk/>
            <pc:sldMk cId="1542397653" sldId="720"/>
            <ac:spMk id="8" creationId="{C31266FD-0294-4977-8356-DF9D5114A19E}"/>
          </ac:spMkLst>
        </pc:spChg>
        <pc:spChg chg="add del mod modVis">
          <ac:chgData name="Matthäus Alberding" userId="89cdd4c9-d044-4ab4-9e6f-8f065e0119c4" providerId="ADAL" clId="{B6745356-B6CF-45AA-ADCC-AC8F740A00DA}" dt="2022-07-26T15:02:00.221" v="80818"/>
          <ac:spMkLst>
            <pc:docMk/>
            <pc:sldMk cId="1542397653" sldId="720"/>
            <ac:spMk id="9" creationId="{390F6498-B23B-4F87-96BB-767451212DFC}"/>
          </ac:spMkLst>
        </pc:spChg>
        <pc:spChg chg="add del mod modVis">
          <ac:chgData name="Matthäus Alberding" userId="89cdd4c9-d044-4ab4-9e6f-8f065e0119c4" providerId="ADAL" clId="{B6745356-B6CF-45AA-ADCC-AC8F740A00DA}" dt="2022-07-27T06:43:31.359" v="96791"/>
          <ac:spMkLst>
            <pc:docMk/>
            <pc:sldMk cId="1542397653" sldId="720"/>
            <ac:spMk id="9" creationId="{E3657E0C-BE58-4D17-81F4-3D22A0E6C912}"/>
          </ac:spMkLst>
        </pc:spChg>
        <pc:spChg chg="add del mod modVis">
          <ac:chgData name="Matthäus Alberding" userId="89cdd4c9-d044-4ab4-9e6f-8f065e0119c4" providerId="ADAL" clId="{B6745356-B6CF-45AA-ADCC-AC8F740A00DA}" dt="2022-07-26T15:02:16.552" v="80865"/>
          <ac:spMkLst>
            <pc:docMk/>
            <pc:sldMk cId="1542397653" sldId="720"/>
            <ac:spMk id="11" creationId="{21592BA4-70C9-4240-9A82-79848F3A85BB}"/>
          </ac:spMkLst>
        </pc:spChg>
        <pc:spChg chg="add del mod modVis">
          <ac:chgData name="Matthäus Alberding" userId="89cdd4c9-d044-4ab4-9e6f-8f065e0119c4" providerId="ADAL" clId="{B6745356-B6CF-45AA-ADCC-AC8F740A00DA}" dt="2022-07-27T06:43:33.766" v="96842"/>
          <ac:spMkLst>
            <pc:docMk/>
            <pc:sldMk cId="1542397653" sldId="720"/>
            <ac:spMk id="11" creationId="{36A8152E-A415-41BB-AD73-C752E138C803}"/>
          </ac:spMkLst>
        </pc:spChg>
        <pc:spChg chg="add del mod modVis">
          <ac:chgData name="Matthäus Alberding" userId="89cdd4c9-d044-4ab4-9e6f-8f065e0119c4" providerId="ADAL" clId="{B6745356-B6CF-45AA-ADCC-AC8F740A00DA}" dt="2022-07-27T06:43:40.725" v="96943"/>
          <ac:spMkLst>
            <pc:docMk/>
            <pc:sldMk cId="1542397653" sldId="720"/>
            <ac:spMk id="12" creationId="{2B66DD82-806A-4B47-AAE3-129A753CF030}"/>
          </ac:spMkLst>
        </pc:spChg>
        <pc:spChg chg="add del mod modVis">
          <ac:chgData name="Matthäus Alberding" userId="89cdd4c9-d044-4ab4-9e6f-8f065e0119c4" providerId="ADAL" clId="{B6745356-B6CF-45AA-ADCC-AC8F740A00DA}" dt="2022-07-26T15:02:20.154" v="80923"/>
          <ac:spMkLst>
            <pc:docMk/>
            <pc:sldMk cId="1542397653" sldId="720"/>
            <ac:spMk id="12" creationId="{4141A8E6-F84C-48CB-B728-9155ED23133A}"/>
          </ac:spMkLst>
        </pc:spChg>
        <pc:spChg chg="add del mod modVis">
          <ac:chgData name="Matthäus Alberding" userId="89cdd4c9-d044-4ab4-9e6f-8f065e0119c4" providerId="ADAL" clId="{B6745356-B6CF-45AA-ADCC-AC8F740A00DA}" dt="2022-07-26T15:02:49.274" v="80993"/>
          <ac:spMkLst>
            <pc:docMk/>
            <pc:sldMk cId="1542397653" sldId="720"/>
            <ac:spMk id="13" creationId="{C54213CD-1FBA-452A-BA79-98BB3866C576}"/>
          </ac:spMkLst>
        </pc:spChg>
        <pc:spChg chg="add del mod modVis">
          <ac:chgData name="Matthäus Alberding" userId="89cdd4c9-d044-4ab4-9e6f-8f065e0119c4" providerId="ADAL" clId="{B6745356-B6CF-45AA-ADCC-AC8F740A00DA}" dt="2022-07-27T06:43:45.787" v="97026"/>
          <ac:spMkLst>
            <pc:docMk/>
            <pc:sldMk cId="1542397653" sldId="720"/>
            <ac:spMk id="13" creationId="{E10781D6-A9CD-425E-8000-DE3430F3AE24}"/>
          </ac:spMkLst>
        </pc:spChg>
        <pc:spChg chg="add del mod modVis">
          <ac:chgData name="Matthäus Alberding" userId="89cdd4c9-d044-4ab4-9e6f-8f065e0119c4" providerId="ADAL" clId="{B6745356-B6CF-45AA-ADCC-AC8F740A00DA}" dt="2022-07-26T15:02:52.891" v="81063"/>
          <ac:spMkLst>
            <pc:docMk/>
            <pc:sldMk cId="1542397653" sldId="720"/>
            <ac:spMk id="14" creationId="{C5075CF7-5DF6-4AC4-995C-E08CC8A83A24}"/>
          </ac:spMkLst>
        </pc:spChg>
        <pc:spChg chg="add del mod modVis">
          <ac:chgData name="Matthäus Alberding" userId="89cdd4c9-d044-4ab4-9e6f-8f065e0119c4" providerId="ADAL" clId="{B6745356-B6CF-45AA-ADCC-AC8F740A00DA}" dt="2022-07-26T15:02:53.558" v="81106"/>
          <ac:spMkLst>
            <pc:docMk/>
            <pc:sldMk cId="1542397653" sldId="720"/>
            <ac:spMk id="15" creationId="{1DE3D94E-A7A2-4607-90F4-894B93706268}"/>
          </ac:spMkLst>
        </pc:spChg>
        <pc:spChg chg="add mod">
          <ac:chgData name="Matthäus Alberding" userId="89cdd4c9-d044-4ab4-9e6f-8f065e0119c4" providerId="ADAL" clId="{B6745356-B6CF-45AA-ADCC-AC8F740A00DA}" dt="2022-07-27T06:39:27.509" v="96409" actId="404"/>
          <ac:spMkLst>
            <pc:docMk/>
            <pc:sldMk cId="1542397653" sldId="720"/>
            <ac:spMk id="15" creationId="{51D28F19-421F-423A-BD84-42A67C244C54}"/>
          </ac:spMkLst>
        </pc:spChg>
        <pc:spChg chg="add del mod modVis">
          <ac:chgData name="Matthäus Alberding" userId="89cdd4c9-d044-4ab4-9e6f-8f065e0119c4" providerId="ADAL" clId="{B6745356-B6CF-45AA-ADCC-AC8F740A00DA}" dt="2022-07-26T15:02:56.922" v="81149"/>
          <ac:spMkLst>
            <pc:docMk/>
            <pc:sldMk cId="1542397653" sldId="720"/>
            <ac:spMk id="16" creationId="{D638F2B3-2057-452E-94D4-218BE1ECDD9C}"/>
          </ac:spMkLst>
        </pc:spChg>
        <pc:spChg chg="mod">
          <ac:chgData name="Matthäus Alberding" userId="89cdd4c9-d044-4ab4-9e6f-8f065e0119c4" providerId="ADAL" clId="{B6745356-B6CF-45AA-ADCC-AC8F740A00DA}" dt="2022-07-27T06:48:11.593" v="97467" actId="20577"/>
          <ac:spMkLst>
            <pc:docMk/>
            <pc:sldMk cId="1542397653" sldId="720"/>
            <ac:spMk id="17" creationId="{177E1B17-6FA6-4CA8-914E-581BDE9312F2}"/>
          </ac:spMkLst>
        </pc:spChg>
        <pc:spChg chg="mod">
          <ac:chgData name="Matthäus Alberding" userId="89cdd4c9-d044-4ab4-9e6f-8f065e0119c4" providerId="ADAL" clId="{B6745356-B6CF-45AA-ADCC-AC8F740A00DA}" dt="2022-07-27T06:41:42.435" v="96525" actId="20577"/>
          <ac:spMkLst>
            <pc:docMk/>
            <pc:sldMk cId="1542397653" sldId="720"/>
            <ac:spMk id="18" creationId="{85753FD4-6E93-4578-B529-A9ABA4256084}"/>
          </ac:spMkLst>
        </pc:spChg>
        <pc:spChg chg="add mod">
          <ac:chgData name="Matthäus Alberding" userId="89cdd4c9-d044-4ab4-9e6f-8f065e0119c4" providerId="ADAL" clId="{B6745356-B6CF-45AA-ADCC-AC8F740A00DA}" dt="2022-07-27T06:39:27.509" v="96409" actId="404"/>
          <ac:spMkLst>
            <pc:docMk/>
            <pc:sldMk cId="1542397653" sldId="720"/>
            <ac:spMk id="19" creationId="{51663E08-EA42-4963-BE91-E0355795D21A}"/>
          </ac:spMkLst>
        </pc:spChg>
        <pc:spChg chg="add del mod modVis">
          <ac:chgData name="Matthäus Alberding" userId="89cdd4c9-d044-4ab4-9e6f-8f065e0119c4" providerId="ADAL" clId="{B6745356-B6CF-45AA-ADCC-AC8F740A00DA}" dt="2022-07-26T15:03:09.838" v="81193"/>
          <ac:spMkLst>
            <pc:docMk/>
            <pc:sldMk cId="1542397653" sldId="720"/>
            <ac:spMk id="19" creationId="{FEC86234-BECA-434B-9E3F-C2AE76A86E8E}"/>
          </ac:spMkLst>
        </pc:spChg>
        <pc:spChg chg="mod">
          <ac:chgData name="Matthäus Alberding" userId="89cdd4c9-d044-4ab4-9e6f-8f065e0119c4" providerId="ADAL" clId="{B6745356-B6CF-45AA-ADCC-AC8F740A00DA}" dt="2022-07-27T06:43:45.767" v="96987" actId="948"/>
          <ac:spMkLst>
            <pc:docMk/>
            <pc:sldMk cId="1542397653" sldId="720"/>
            <ac:spMk id="22" creationId="{D05AB1C8-ED90-4110-A9BD-BBB60A1B6A15}"/>
          </ac:spMkLst>
        </pc:spChg>
        <pc:spChg chg="mod">
          <ac:chgData name="Matthäus Alberding" userId="89cdd4c9-d044-4ab4-9e6f-8f065e0119c4" providerId="ADAL" clId="{B6745356-B6CF-45AA-ADCC-AC8F740A00DA}" dt="2022-07-27T06:47:42.303" v="97465" actId="1076"/>
          <ac:spMkLst>
            <pc:docMk/>
            <pc:sldMk cId="1542397653" sldId="720"/>
            <ac:spMk id="24" creationId="{F4DA3FF3-F09B-497E-8002-6D4E6A5C6923}"/>
          </ac:spMkLst>
        </pc:spChg>
        <pc:spChg chg="mod">
          <ac:chgData name="Matthäus Alberding" userId="89cdd4c9-d044-4ab4-9e6f-8f065e0119c4" providerId="ADAL" clId="{B6745356-B6CF-45AA-ADCC-AC8F740A00DA}" dt="2022-07-27T06:46:40.647" v="97398" actId="27636"/>
          <ac:spMkLst>
            <pc:docMk/>
            <pc:sldMk cId="1542397653" sldId="720"/>
            <ac:spMk id="25" creationId="{CA24B351-4107-4177-9AD7-6F28FBF11324}"/>
          </ac:spMkLst>
        </pc:spChg>
        <pc:spChg chg="add mod">
          <ac:chgData name="Matthäus Alberding" userId="89cdd4c9-d044-4ab4-9e6f-8f065e0119c4" providerId="ADAL" clId="{B6745356-B6CF-45AA-ADCC-AC8F740A00DA}" dt="2022-07-27T06:39:41.050" v="96412" actId="1076"/>
          <ac:spMkLst>
            <pc:docMk/>
            <pc:sldMk cId="1542397653" sldId="720"/>
            <ac:spMk id="29" creationId="{6FA36F69-1F97-4BBF-8403-67C8A73EBA3E}"/>
          </ac:spMkLst>
        </pc:spChg>
        <pc:spChg chg="add mod">
          <ac:chgData name="Matthäus Alberding" userId="89cdd4c9-d044-4ab4-9e6f-8f065e0119c4" providerId="ADAL" clId="{B6745356-B6CF-45AA-ADCC-AC8F740A00DA}" dt="2022-07-27T06:39:27.509" v="96409" actId="404"/>
          <ac:spMkLst>
            <pc:docMk/>
            <pc:sldMk cId="1542397653" sldId="720"/>
            <ac:spMk id="32" creationId="{62CE0AAA-9C5F-460B-9A4E-0DB7CE56B7F4}"/>
          </ac:spMkLst>
        </pc:spChg>
        <pc:spChg chg="add mod">
          <ac:chgData name="Matthäus Alberding" userId="89cdd4c9-d044-4ab4-9e6f-8f065e0119c4" providerId="ADAL" clId="{B6745356-B6CF-45AA-ADCC-AC8F740A00DA}" dt="2022-07-27T06:39:27.509" v="96409" actId="404"/>
          <ac:spMkLst>
            <pc:docMk/>
            <pc:sldMk cId="1542397653" sldId="720"/>
            <ac:spMk id="34" creationId="{64E87A93-0CF5-458B-8E6F-8116F319E8A1}"/>
          </ac:spMkLst>
        </pc:spChg>
        <pc:spChg chg="add mod">
          <ac:chgData name="Matthäus Alberding" userId="89cdd4c9-d044-4ab4-9e6f-8f065e0119c4" providerId="ADAL" clId="{B6745356-B6CF-45AA-ADCC-AC8F740A00DA}" dt="2022-07-27T06:39:27.509" v="96409" actId="404"/>
          <ac:spMkLst>
            <pc:docMk/>
            <pc:sldMk cId="1542397653" sldId="720"/>
            <ac:spMk id="35" creationId="{CC3849A5-F429-43D0-8E0B-269A9B915B4E}"/>
          </ac:spMkLst>
        </pc:spChg>
        <pc:spChg chg="add mod">
          <ac:chgData name="Matthäus Alberding" userId="89cdd4c9-d044-4ab4-9e6f-8f065e0119c4" providerId="ADAL" clId="{B6745356-B6CF-45AA-ADCC-AC8F740A00DA}" dt="2022-07-27T06:40:39.775" v="96426" actId="404"/>
          <ac:spMkLst>
            <pc:docMk/>
            <pc:sldMk cId="1542397653" sldId="720"/>
            <ac:spMk id="39" creationId="{A3174E38-289F-4629-A7EE-B73B1A5C0A8A}"/>
          </ac:spMkLst>
        </pc:spChg>
        <pc:spChg chg="add mod">
          <ac:chgData name="Matthäus Alberding" userId="89cdd4c9-d044-4ab4-9e6f-8f065e0119c4" providerId="ADAL" clId="{B6745356-B6CF-45AA-ADCC-AC8F740A00DA}" dt="2022-07-27T06:40:39.775" v="96426" actId="404"/>
          <ac:spMkLst>
            <pc:docMk/>
            <pc:sldMk cId="1542397653" sldId="720"/>
            <ac:spMk id="40" creationId="{DCDECCBE-ACB5-445A-AC42-977D36A7D891}"/>
          </ac:spMkLst>
        </pc:spChg>
        <pc:spChg chg="add mod">
          <ac:chgData name="Matthäus Alberding" userId="89cdd4c9-d044-4ab4-9e6f-8f065e0119c4" providerId="ADAL" clId="{B6745356-B6CF-45AA-ADCC-AC8F740A00DA}" dt="2022-07-27T06:40:39.775" v="96426" actId="404"/>
          <ac:spMkLst>
            <pc:docMk/>
            <pc:sldMk cId="1542397653" sldId="720"/>
            <ac:spMk id="41" creationId="{8CD24D94-DF8C-49DD-AEED-FF80A5BF4302}"/>
          </ac:spMkLst>
        </pc:spChg>
        <pc:spChg chg="add mod">
          <ac:chgData name="Matthäus Alberding" userId="89cdd4c9-d044-4ab4-9e6f-8f065e0119c4" providerId="ADAL" clId="{B6745356-B6CF-45AA-ADCC-AC8F740A00DA}" dt="2022-07-27T06:40:39.775" v="96426" actId="404"/>
          <ac:spMkLst>
            <pc:docMk/>
            <pc:sldMk cId="1542397653" sldId="720"/>
            <ac:spMk id="45" creationId="{55E8F391-6DE3-4A2A-91C7-A629CBEAA2E2}"/>
          </ac:spMkLst>
        </pc:spChg>
        <pc:spChg chg="add mod">
          <ac:chgData name="Matthäus Alberding" userId="89cdd4c9-d044-4ab4-9e6f-8f065e0119c4" providerId="ADAL" clId="{B6745356-B6CF-45AA-ADCC-AC8F740A00DA}" dt="2022-07-27T06:40:39.775" v="96426" actId="404"/>
          <ac:spMkLst>
            <pc:docMk/>
            <pc:sldMk cId="1542397653" sldId="720"/>
            <ac:spMk id="47" creationId="{2914DC03-6C2B-40EF-8D62-52E5B8770D9D}"/>
          </ac:spMkLst>
        </pc:spChg>
        <pc:spChg chg="add mod">
          <ac:chgData name="Matthäus Alberding" userId="89cdd4c9-d044-4ab4-9e6f-8f065e0119c4" providerId="ADAL" clId="{B6745356-B6CF-45AA-ADCC-AC8F740A00DA}" dt="2022-07-27T06:40:39.775" v="96426" actId="404"/>
          <ac:spMkLst>
            <pc:docMk/>
            <pc:sldMk cId="1542397653" sldId="720"/>
            <ac:spMk id="50" creationId="{B9031D9C-CCA8-41EA-B614-80A1D6A14486}"/>
          </ac:spMkLst>
        </pc:spChg>
        <pc:grpChg chg="add mod">
          <ac:chgData name="Matthäus Alberding" userId="89cdd4c9-d044-4ab4-9e6f-8f065e0119c4" providerId="ADAL" clId="{B6745356-B6CF-45AA-ADCC-AC8F740A00DA}" dt="2022-07-27T06:39:46.308" v="96415" actId="1076"/>
          <ac:grpSpMkLst>
            <pc:docMk/>
            <pc:sldMk cId="1542397653" sldId="720"/>
            <ac:grpSpMk id="2" creationId="{CEDF1CB8-D464-4438-82D2-C7472F83B11C}"/>
          </ac:grpSpMkLst>
        </pc:grpChg>
        <pc:grpChg chg="add mod">
          <ac:chgData name="Matthäus Alberding" userId="89cdd4c9-d044-4ab4-9e6f-8f065e0119c4" providerId="ADAL" clId="{B6745356-B6CF-45AA-ADCC-AC8F740A00DA}" dt="2022-07-27T06:47:40.841" v="97464" actId="1076"/>
          <ac:grpSpMkLst>
            <pc:docMk/>
            <pc:sldMk cId="1542397653" sldId="720"/>
            <ac:grpSpMk id="3" creationId="{E8458D35-A249-43DC-9A4F-5DDC74C969C4}"/>
          </ac:grpSpMkLst>
        </pc:grpChg>
        <pc:graphicFrameChg chg="mod">
          <ac:chgData name="Matthäus Alberding" userId="89cdd4c9-d044-4ab4-9e6f-8f065e0119c4" providerId="ADAL" clId="{B6745356-B6CF-45AA-ADCC-AC8F740A00DA}" dt="2022-07-27T06:43:45.788" v="97028"/>
          <ac:graphicFrameMkLst>
            <pc:docMk/>
            <pc:sldMk cId="1542397653" sldId="720"/>
            <ac:graphicFrameMk id="10" creationId="{AB98F4FD-F2C1-4ED4-B97C-C8E9A4730E60}"/>
          </ac:graphicFrameMkLst>
        </pc:graphicFrameChg>
        <pc:picChg chg="add mod">
          <ac:chgData name="Matthäus Alberding" userId="89cdd4c9-d044-4ab4-9e6f-8f065e0119c4" providerId="ADAL" clId="{B6745356-B6CF-45AA-ADCC-AC8F740A00DA}" dt="2022-07-27T06:39:42.952" v="96414" actId="1076"/>
          <ac:picMkLst>
            <pc:docMk/>
            <pc:sldMk cId="1542397653" sldId="720"/>
            <ac:picMk id="14" creationId="{3B28E394-7C11-4EB6-BB67-5D585ADDBBAF}"/>
          </ac:picMkLst>
        </pc:picChg>
        <pc:picChg chg="del">
          <ac:chgData name="Matthäus Alberding" userId="89cdd4c9-d044-4ab4-9e6f-8f065e0119c4" providerId="ADAL" clId="{B6745356-B6CF-45AA-ADCC-AC8F740A00DA}" dt="2022-07-27T06:41:01.305" v="96431" actId="478"/>
          <ac:picMkLst>
            <pc:docMk/>
            <pc:sldMk cId="1542397653" sldId="720"/>
            <ac:picMk id="26" creationId="{DB60107D-EC6A-4A3B-AFEC-FE9D5902ABA2}"/>
          </ac:picMkLst>
        </pc:picChg>
        <pc:picChg chg="del mod">
          <ac:chgData name="Matthäus Alberding" userId="89cdd4c9-d044-4ab4-9e6f-8f065e0119c4" providerId="ADAL" clId="{B6745356-B6CF-45AA-ADCC-AC8F740A00DA}" dt="2022-07-27T06:40:59.086" v="96430" actId="478"/>
          <ac:picMkLst>
            <pc:docMk/>
            <pc:sldMk cId="1542397653" sldId="720"/>
            <ac:picMk id="27" creationId="{C334C7AB-8AD4-4373-80D5-FDFE621C193A}"/>
          </ac:picMkLst>
        </pc:picChg>
        <pc:picChg chg="del mod">
          <ac:chgData name="Matthäus Alberding" userId="89cdd4c9-d044-4ab4-9e6f-8f065e0119c4" providerId="ADAL" clId="{B6745356-B6CF-45AA-ADCC-AC8F740A00DA}" dt="2022-07-27T06:39:16.321" v="96399" actId="478"/>
          <ac:picMkLst>
            <pc:docMk/>
            <pc:sldMk cId="1542397653" sldId="720"/>
            <ac:picMk id="28" creationId="{3F871AF3-DFAD-4EB7-855E-9DBAD9BC9ECC}"/>
          </ac:picMkLst>
        </pc:picChg>
        <pc:picChg chg="add mod">
          <ac:chgData name="Matthäus Alberding" userId="89cdd4c9-d044-4ab4-9e6f-8f065e0119c4" providerId="ADAL" clId="{B6745356-B6CF-45AA-ADCC-AC8F740A00DA}" dt="2022-07-27T06:40:30.359" v="96418" actId="164"/>
          <ac:picMkLst>
            <pc:docMk/>
            <pc:sldMk cId="1542397653" sldId="720"/>
            <ac:picMk id="36" creationId="{3F167B0E-71F1-480A-BD51-2D9B91699D1D}"/>
          </ac:picMkLst>
        </pc:picChg>
        <pc:picChg chg="add mod">
          <ac:chgData name="Matthäus Alberding" userId="89cdd4c9-d044-4ab4-9e6f-8f065e0119c4" providerId="ADAL" clId="{B6745356-B6CF-45AA-ADCC-AC8F740A00DA}" dt="2022-07-27T06:40:30.359" v="96418" actId="164"/>
          <ac:picMkLst>
            <pc:docMk/>
            <pc:sldMk cId="1542397653" sldId="720"/>
            <ac:picMk id="37" creationId="{AA0CC99E-0C2F-48CC-94EF-58EFC8363ABB}"/>
          </ac:picMkLst>
        </pc:picChg>
        <pc:picChg chg="add mod">
          <ac:chgData name="Matthäus Alberding" userId="89cdd4c9-d044-4ab4-9e6f-8f065e0119c4" providerId="ADAL" clId="{B6745356-B6CF-45AA-ADCC-AC8F740A00DA}" dt="2022-07-27T06:40:30.359" v="96418" actId="164"/>
          <ac:picMkLst>
            <pc:docMk/>
            <pc:sldMk cId="1542397653" sldId="720"/>
            <ac:picMk id="38" creationId="{0DB317B7-4361-481C-9AEE-74550BE89F30}"/>
          </ac:picMkLst>
        </pc:picChg>
        <pc:cxnChg chg="add mod">
          <ac:chgData name="Matthäus Alberding" userId="89cdd4c9-d044-4ab4-9e6f-8f065e0119c4" providerId="ADAL" clId="{B6745356-B6CF-45AA-ADCC-AC8F740A00DA}" dt="2022-07-27T06:39:19.924" v="96401" actId="164"/>
          <ac:cxnSpMkLst>
            <pc:docMk/>
            <pc:sldMk cId="1542397653" sldId="720"/>
            <ac:cxnSpMk id="16" creationId="{3DFE94DA-37AE-459C-8D38-4D3F9EDCA31B}"/>
          </ac:cxnSpMkLst>
        </pc:cxnChg>
        <pc:cxnChg chg="add mod">
          <ac:chgData name="Matthäus Alberding" userId="89cdd4c9-d044-4ab4-9e6f-8f065e0119c4" providerId="ADAL" clId="{B6745356-B6CF-45AA-ADCC-AC8F740A00DA}" dt="2022-07-27T06:39:19.924" v="96401" actId="164"/>
          <ac:cxnSpMkLst>
            <pc:docMk/>
            <pc:sldMk cId="1542397653" sldId="720"/>
            <ac:cxnSpMk id="20" creationId="{57A7348D-CF58-481D-BC20-2A53A6A88DD7}"/>
          </ac:cxnSpMkLst>
        </pc:cxnChg>
        <pc:cxnChg chg="add mod">
          <ac:chgData name="Matthäus Alberding" userId="89cdd4c9-d044-4ab4-9e6f-8f065e0119c4" providerId="ADAL" clId="{B6745356-B6CF-45AA-ADCC-AC8F740A00DA}" dt="2022-07-27T06:39:19.924" v="96401" actId="164"/>
          <ac:cxnSpMkLst>
            <pc:docMk/>
            <pc:sldMk cId="1542397653" sldId="720"/>
            <ac:cxnSpMk id="21" creationId="{CD42703E-A237-4CDC-A29E-F8D28D40396D}"/>
          </ac:cxnSpMkLst>
        </pc:cxnChg>
        <pc:cxnChg chg="add mod">
          <ac:chgData name="Matthäus Alberding" userId="89cdd4c9-d044-4ab4-9e6f-8f065e0119c4" providerId="ADAL" clId="{B6745356-B6CF-45AA-ADCC-AC8F740A00DA}" dt="2022-07-27T06:39:19.924" v="96401" actId="164"/>
          <ac:cxnSpMkLst>
            <pc:docMk/>
            <pc:sldMk cId="1542397653" sldId="720"/>
            <ac:cxnSpMk id="30" creationId="{E2544A57-BF10-4829-8DEF-DFE40C697EE0}"/>
          </ac:cxnSpMkLst>
        </pc:cxnChg>
        <pc:cxnChg chg="add mod">
          <ac:chgData name="Matthäus Alberding" userId="89cdd4c9-d044-4ab4-9e6f-8f065e0119c4" providerId="ADAL" clId="{B6745356-B6CF-45AA-ADCC-AC8F740A00DA}" dt="2022-07-27T06:39:19.924" v="96401" actId="164"/>
          <ac:cxnSpMkLst>
            <pc:docMk/>
            <pc:sldMk cId="1542397653" sldId="720"/>
            <ac:cxnSpMk id="31" creationId="{7FA9593F-9677-4C59-A13F-4DC31D788B15}"/>
          </ac:cxnSpMkLst>
        </pc:cxnChg>
        <pc:cxnChg chg="add mod">
          <ac:chgData name="Matthäus Alberding" userId="89cdd4c9-d044-4ab4-9e6f-8f065e0119c4" providerId="ADAL" clId="{B6745356-B6CF-45AA-ADCC-AC8F740A00DA}" dt="2022-07-27T06:39:19.924" v="96401" actId="164"/>
          <ac:cxnSpMkLst>
            <pc:docMk/>
            <pc:sldMk cId="1542397653" sldId="720"/>
            <ac:cxnSpMk id="33" creationId="{47C79DE9-5C3D-4532-B291-8E655689B093}"/>
          </ac:cxnSpMkLst>
        </pc:cxnChg>
        <pc:cxnChg chg="add mod">
          <ac:chgData name="Matthäus Alberding" userId="89cdd4c9-d044-4ab4-9e6f-8f065e0119c4" providerId="ADAL" clId="{B6745356-B6CF-45AA-ADCC-AC8F740A00DA}" dt="2022-07-27T06:40:30.359" v="96418" actId="164"/>
          <ac:cxnSpMkLst>
            <pc:docMk/>
            <pc:sldMk cId="1542397653" sldId="720"/>
            <ac:cxnSpMk id="42" creationId="{81E8D273-49B9-439F-AC95-674485B17DFD}"/>
          </ac:cxnSpMkLst>
        </pc:cxnChg>
        <pc:cxnChg chg="add mod">
          <ac:chgData name="Matthäus Alberding" userId="89cdd4c9-d044-4ab4-9e6f-8f065e0119c4" providerId="ADAL" clId="{B6745356-B6CF-45AA-ADCC-AC8F740A00DA}" dt="2022-07-27T06:40:30.359" v="96418" actId="164"/>
          <ac:cxnSpMkLst>
            <pc:docMk/>
            <pc:sldMk cId="1542397653" sldId="720"/>
            <ac:cxnSpMk id="43" creationId="{B8A6588C-AB0E-414E-8835-E94F90E8ABCE}"/>
          </ac:cxnSpMkLst>
        </pc:cxnChg>
        <pc:cxnChg chg="add mod">
          <ac:chgData name="Matthäus Alberding" userId="89cdd4c9-d044-4ab4-9e6f-8f065e0119c4" providerId="ADAL" clId="{B6745356-B6CF-45AA-ADCC-AC8F740A00DA}" dt="2022-07-27T06:40:30.359" v="96418" actId="164"/>
          <ac:cxnSpMkLst>
            <pc:docMk/>
            <pc:sldMk cId="1542397653" sldId="720"/>
            <ac:cxnSpMk id="44" creationId="{5BC43E6C-5645-4EA0-8F31-7692C93EA8F9}"/>
          </ac:cxnSpMkLst>
        </pc:cxnChg>
        <pc:cxnChg chg="add mod">
          <ac:chgData name="Matthäus Alberding" userId="89cdd4c9-d044-4ab4-9e6f-8f065e0119c4" providerId="ADAL" clId="{B6745356-B6CF-45AA-ADCC-AC8F740A00DA}" dt="2022-07-27T06:40:30.359" v="96418" actId="164"/>
          <ac:cxnSpMkLst>
            <pc:docMk/>
            <pc:sldMk cId="1542397653" sldId="720"/>
            <ac:cxnSpMk id="46" creationId="{1F9729CE-7A0A-4A16-8FA9-CED8F884350B}"/>
          </ac:cxnSpMkLst>
        </pc:cxnChg>
        <pc:cxnChg chg="add mod">
          <ac:chgData name="Matthäus Alberding" userId="89cdd4c9-d044-4ab4-9e6f-8f065e0119c4" providerId="ADAL" clId="{B6745356-B6CF-45AA-ADCC-AC8F740A00DA}" dt="2022-07-27T06:40:30.359" v="96418" actId="164"/>
          <ac:cxnSpMkLst>
            <pc:docMk/>
            <pc:sldMk cId="1542397653" sldId="720"/>
            <ac:cxnSpMk id="48" creationId="{E2271B1E-E4DA-4CC5-8A15-B324899AC2E9}"/>
          </ac:cxnSpMkLst>
        </pc:cxnChg>
        <pc:cxnChg chg="add mod">
          <ac:chgData name="Matthäus Alberding" userId="89cdd4c9-d044-4ab4-9e6f-8f065e0119c4" providerId="ADAL" clId="{B6745356-B6CF-45AA-ADCC-AC8F740A00DA}" dt="2022-07-27T06:40:30.359" v="96418" actId="164"/>
          <ac:cxnSpMkLst>
            <pc:docMk/>
            <pc:sldMk cId="1542397653" sldId="720"/>
            <ac:cxnSpMk id="49" creationId="{B6DD09FC-711B-4934-9A04-2DF831353CFF}"/>
          </ac:cxnSpMkLst>
        </pc:cxnChg>
      </pc:sldChg>
      <pc:sldChg chg="addSp delSp modSp add mod modTransition modShow">
        <pc:chgData name="Matthäus Alberding" userId="89cdd4c9-d044-4ab4-9e6f-8f065e0119c4" providerId="ADAL" clId="{B6745356-B6CF-45AA-ADCC-AC8F740A00DA}" dt="2022-07-26T16:05:54.464" v="93634"/>
        <pc:sldMkLst>
          <pc:docMk/>
          <pc:sldMk cId="72898500" sldId="721"/>
        </pc:sldMkLst>
        <pc:spChg chg="add del mod modVis">
          <ac:chgData name="Matthäus Alberding" userId="89cdd4c9-d044-4ab4-9e6f-8f065e0119c4" providerId="ADAL" clId="{B6745356-B6CF-45AA-ADCC-AC8F740A00DA}" dt="2022-07-26T15:37:42.684" v="86558"/>
          <ac:spMkLst>
            <pc:docMk/>
            <pc:sldMk cId="72898500" sldId="721"/>
            <ac:spMk id="4" creationId="{E4A95001-DA3F-4EBE-AEA9-54AC0888007D}"/>
          </ac:spMkLst>
        </pc:spChg>
        <pc:spChg chg="mod">
          <ac:chgData name="Matthäus Alberding" userId="89cdd4c9-d044-4ab4-9e6f-8f065e0119c4" providerId="ADAL" clId="{B6745356-B6CF-45AA-ADCC-AC8F740A00DA}" dt="2022-07-26T15:12:21.035" v="81901" actId="20577"/>
          <ac:spMkLst>
            <pc:docMk/>
            <pc:sldMk cId="72898500" sldId="721"/>
            <ac:spMk id="5" creationId="{14D57165-C4F4-4311-87C9-C4AD5C0FBF8D}"/>
          </ac:spMkLst>
        </pc:spChg>
        <pc:spChg chg="add del mod modVis">
          <ac:chgData name="Matthäus Alberding" userId="89cdd4c9-d044-4ab4-9e6f-8f065e0119c4" providerId="ADAL" clId="{B6745356-B6CF-45AA-ADCC-AC8F740A00DA}" dt="2022-07-26T15:37:47.714" v="86637"/>
          <ac:spMkLst>
            <pc:docMk/>
            <pc:sldMk cId="72898500" sldId="721"/>
            <ac:spMk id="7" creationId="{4AB04FC2-C523-4ADD-9749-7206943F76C1}"/>
          </ac:spMkLst>
        </pc:spChg>
        <pc:spChg chg="mod">
          <ac:chgData name="Matthäus Alberding" userId="89cdd4c9-d044-4ab4-9e6f-8f065e0119c4" providerId="ADAL" clId="{B6745356-B6CF-45AA-ADCC-AC8F740A00DA}" dt="2022-07-26T16:05:54.445" v="93593" actId="948"/>
          <ac:spMkLst>
            <pc:docMk/>
            <pc:sldMk cId="72898500" sldId="721"/>
            <ac:spMk id="8" creationId="{E636D16C-7382-4A28-BE63-5DBBEE2B7662}"/>
          </ac:spMkLst>
        </pc:spChg>
        <pc:spChg chg="add del mod modVis">
          <ac:chgData name="Matthäus Alberding" userId="89cdd4c9-d044-4ab4-9e6f-8f065e0119c4" providerId="ADAL" clId="{B6745356-B6CF-45AA-ADCC-AC8F740A00DA}" dt="2022-07-26T15:37:52.660" v="86704"/>
          <ac:spMkLst>
            <pc:docMk/>
            <pc:sldMk cId="72898500" sldId="721"/>
            <ac:spMk id="9" creationId="{9D22B18F-7559-4B42-A4D4-3D811819B653}"/>
          </ac:spMkLst>
        </pc:spChg>
        <pc:spChg chg="add del mod modVis">
          <ac:chgData name="Matthäus Alberding" userId="89cdd4c9-d044-4ab4-9e6f-8f065e0119c4" providerId="ADAL" clId="{B6745356-B6CF-45AA-ADCC-AC8F740A00DA}" dt="2022-07-26T15:37:56.200" v="86751"/>
          <ac:spMkLst>
            <pc:docMk/>
            <pc:sldMk cId="72898500" sldId="721"/>
            <ac:spMk id="10" creationId="{C02DB68D-532F-4D86-981B-E7EC4B7AD492}"/>
          </ac:spMkLst>
        </pc:spChg>
        <pc:spChg chg="add del mod modVis">
          <ac:chgData name="Matthäus Alberding" userId="89cdd4c9-d044-4ab4-9e6f-8f065e0119c4" providerId="ADAL" clId="{B6745356-B6CF-45AA-ADCC-AC8F740A00DA}" dt="2022-07-26T15:38:00.746" v="86794"/>
          <ac:spMkLst>
            <pc:docMk/>
            <pc:sldMk cId="72898500" sldId="721"/>
            <ac:spMk id="11" creationId="{E9184BB2-F7C0-4CB2-A5EF-403C2992EC01}"/>
          </ac:spMkLst>
        </pc:spChg>
        <pc:spChg chg="add del mod modVis">
          <ac:chgData name="Matthäus Alberding" userId="89cdd4c9-d044-4ab4-9e6f-8f065e0119c4" providerId="ADAL" clId="{B6745356-B6CF-45AA-ADCC-AC8F740A00DA}" dt="2022-07-26T15:38:02.271" v="86869"/>
          <ac:spMkLst>
            <pc:docMk/>
            <pc:sldMk cId="72898500" sldId="721"/>
            <ac:spMk id="12" creationId="{995AC1E9-126F-437D-8141-CFD6049D1A9E}"/>
          </ac:spMkLst>
        </pc:spChg>
        <pc:spChg chg="add del mod modVis">
          <ac:chgData name="Matthäus Alberding" userId="89cdd4c9-d044-4ab4-9e6f-8f065e0119c4" providerId="ADAL" clId="{B6745356-B6CF-45AA-ADCC-AC8F740A00DA}" dt="2022-07-26T15:38:02.881" v="86912"/>
          <ac:spMkLst>
            <pc:docMk/>
            <pc:sldMk cId="72898500" sldId="721"/>
            <ac:spMk id="13" creationId="{96573E6A-4481-4DF9-AEA2-8C4EDF914E23}"/>
          </ac:spMkLst>
        </pc:spChg>
        <pc:spChg chg="add del mod modVis">
          <ac:chgData name="Matthäus Alberding" userId="89cdd4c9-d044-4ab4-9e6f-8f065e0119c4" providerId="ADAL" clId="{B6745356-B6CF-45AA-ADCC-AC8F740A00DA}" dt="2022-07-26T15:38:11.458" v="87028"/>
          <ac:spMkLst>
            <pc:docMk/>
            <pc:sldMk cId="72898500" sldId="721"/>
            <ac:spMk id="14" creationId="{2C9CB1CC-0C2C-40ED-AD63-C71680AF794E}"/>
          </ac:spMkLst>
        </pc:spChg>
        <pc:spChg chg="add del mod modVis">
          <ac:chgData name="Matthäus Alberding" userId="89cdd4c9-d044-4ab4-9e6f-8f065e0119c4" providerId="ADAL" clId="{B6745356-B6CF-45AA-ADCC-AC8F740A00DA}" dt="2022-07-26T15:38:17.033" v="87079"/>
          <ac:spMkLst>
            <pc:docMk/>
            <pc:sldMk cId="72898500" sldId="721"/>
            <ac:spMk id="15" creationId="{A59AF909-8291-40DF-B250-4CCFD0205A02}"/>
          </ac:spMkLst>
        </pc:spChg>
        <pc:spChg chg="add del mod modVis">
          <ac:chgData name="Matthäus Alberding" userId="89cdd4c9-d044-4ab4-9e6f-8f065e0119c4" providerId="ADAL" clId="{B6745356-B6CF-45AA-ADCC-AC8F740A00DA}" dt="2022-07-26T15:38:28.411" v="87150"/>
          <ac:spMkLst>
            <pc:docMk/>
            <pc:sldMk cId="72898500" sldId="721"/>
            <ac:spMk id="16" creationId="{34C47317-D963-4072-B353-6D05D4A6A978}"/>
          </ac:spMkLst>
        </pc:spChg>
        <pc:spChg chg="add del mod modVis">
          <ac:chgData name="Matthäus Alberding" userId="89cdd4c9-d044-4ab4-9e6f-8f065e0119c4" providerId="ADAL" clId="{B6745356-B6CF-45AA-ADCC-AC8F740A00DA}" dt="2022-07-26T15:38:41.516" v="87202"/>
          <ac:spMkLst>
            <pc:docMk/>
            <pc:sldMk cId="72898500" sldId="721"/>
            <ac:spMk id="17" creationId="{856CF2E7-3998-4B70-A1BD-6E284030C055}"/>
          </ac:spMkLst>
        </pc:spChg>
        <pc:spChg chg="add del mod modVis">
          <ac:chgData name="Matthäus Alberding" userId="89cdd4c9-d044-4ab4-9e6f-8f065e0119c4" providerId="ADAL" clId="{B6745356-B6CF-45AA-ADCC-AC8F740A00DA}" dt="2022-07-26T15:38:44.081" v="87258"/>
          <ac:spMkLst>
            <pc:docMk/>
            <pc:sldMk cId="72898500" sldId="721"/>
            <ac:spMk id="18" creationId="{CB294F0F-CA4A-4980-930B-50D53C78AD0A}"/>
          </ac:spMkLst>
        </pc:spChg>
        <pc:spChg chg="add del mod modVis">
          <ac:chgData name="Matthäus Alberding" userId="89cdd4c9-d044-4ab4-9e6f-8f065e0119c4" providerId="ADAL" clId="{B6745356-B6CF-45AA-ADCC-AC8F740A00DA}" dt="2022-07-26T15:38:46.374" v="87313"/>
          <ac:spMkLst>
            <pc:docMk/>
            <pc:sldMk cId="72898500" sldId="721"/>
            <ac:spMk id="19" creationId="{39967127-1BFF-4443-AC27-9E10611FB190}"/>
          </ac:spMkLst>
        </pc:spChg>
        <pc:spChg chg="add del mod modVis">
          <ac:chgData name="Matthäus Alberding" userId="89cdd4c9-d044-4ab4-9e6f-8f065e0119c4" providerId="ADAL" clId="{B6745356-B6CF-45AA-ADCC-AC8F740A00DA}" dt="2022-07-26T15:38:58.809" v="87357"/>
          <ac:spMkLst>
            <pc:docMk/>
            <pc:sldMk cId="72898500" sldId="721"/>
            <ac:spMk id="20" creationId="{6AABC29F-4CC0-4D13-87BA-929A4B558BED}"/>
          </ac:spMkLst>
        </pc:spChg>
        <pc:spChg chg="add del mod modVis">
          <ac:chgData name="Matthäus Alberding" userId="89cdd4c9-d044-4ab4-9e6f-8f065e0119c4" providerId="ADAL" clId="{B6745356-B6CF-45AA-ADCC-AC8F740A00DA}" dt="2022-07-26T15:39:02.727" v="87408"/>
          <ac:spMkLst>
            <pc:docMk/>
            <pc:sldMk cId="72898500" sldId="721"/>
            <ac:spMk id="21" creationId="{3C6DA261-7C80-41F8-B6B7-6EF899B14247}"/>
          </ac:spMkLst>
        </pc:spChg>
        <pc:spChg chg="add del mod modVis">
          <ac:chgData name="Matthäus Alberding" userId="89cdd4c9-d044-4ab4-9e6f-8f065e0119c4" providerId="ADAL" clId="{B6745356-B6CF-45AA-ADCC-AC8F740A00DA}" dt="2022-07-26T15:39:08.413" v="87462"/>
          <ac:spMkLst>
            <pc:docMk/>
            <pc:sldMk cId="72898500" sldId="721"/>
            <ac:spMk id="22" creationId="{E8433E45-645A-4CAA-8DBB-82C4BD98AC9B}"/>
          </ac:spMkLst>
        </pc:spChg>
        <pc:spChg chg="add del mod modVis">
          <ac:chgData name="Matthäus Alberding" userId="89cdd4c9-d044-4ab4-9e6f-8f065e0119c4" providerId="ADAL" clId="{B6745356-B6CF-45AA-ADCC-AC8F740A00DA}" dt="2022-07-26T15:39:09.650" v="87508"/>
          <ac:spMkLst>
            <pc:docMk/>
            <pc:sldMk cId="72898500" sldId="721"/>
            <ac:spMk id="23" creationId="{AAE1C4D4-E4FB-444B-9F61-3B410164C14C}"/>
          </ac:spMkLst>
        </pc:spChg>
        <pc:spChg chg="add del mod modVis">
          <ac:chgData name="Matthäus Alberding" userId="89cdd4c9-d044-4ab4-9e6f-8f065e0119c4" providerId="ADAL" clId="{B6745356-B6CF-45AA-ADCC-AC8F740A00DA}" dt="2022-07-26T15:39:37.632" v="87565"/>
          <ac:spMkLst>
            <pc:docMk/>
            <pc:sldMk cId="72898500" sldId="721"/>
            <ac:spMk id="24" creationId="{1F37FE46-0B93-41EE-8FB3-EC230941CDE3}"/>
          </ac:spMkLst>
        </pc:spChg>
        <pc:spChg chg="add del mod modVis">
          <ac:chgData name="Matthäus Alberding" userId="89cdd4c9-d044-4ab4-9e6f-8f065e0119c4" providerId="ADAL" clId="{B6745356-B6CF-45AA-ADCC-AC8F740A00DA}" dt="2022-07-26T15:39:43.636" v="87651"/>
          <ac:spMkLst>
            <pc:docMk/>
            <pc:sldMk cId="72898500" sldId="721"/>
            <ac:spMk id="25" creationId="{68A0F325-D1CA-47A2-96BB-723DF762E20D}"/>
          </ac:spMkLst>
        </pc:spChg>
        <pc:spChg chg="add del mod modVis">
          <ac:chgData name="Matthäus Alberding" userId="89cdd4c9-d044-4ab4-9e6f-8f065e0119c4" providerId="ADAL" clId="{B6745356-B6CF-45AA-ADCC-AC8F740A00DA}" dt="2022-07-26T15:39:50.129" v="87694"/>
          <ac:spMkLst>
            <pc:docMk/>
            <pc:sldMk cId="72898500" sldId="721"/>
            <ac:spMk id="26" creationId="{8018F1CF-26D5-410A-919A-F28C21F62414}"/>
          </ac:spMkLst>
        </pc:spChg>
        <pc:spChg chg="add del mod modVis">
          <ac:chgData name="Matthäus Alberding" userId="89cdd4c9-d044-4ab4-9e6f-8f065e0119c4" providerId="ADAL" clId="{B6745356-B6CF-45AA-ADCC-AC8F740A00DA}" dt="2022-07-26T15:40:23.695" v="87738"/>
          <ac:spMkLst>
            <pc:docMk/>
            <pc:sldMk cId="72898500" sldId="721"/>
            <ac:spMk id="27" creationId="{86D94E08-B04B-4278-A394-C7302039C092}"/>
          </ac:spMkLst>
        </pc:spChg>
        <pc:spChg chg="add del mod modVis">
          <ac:chgData name="Matthäus Alberding" userId="89cdd4c9-d044-4ab4-9e6f-8f065e0119c4" providerId="ADAL" clId="{B6745356-B6CF-45AA-ADCC-AC8F740A00DA}" dt="2022-07-26T15:40:27.682" v="87806"/>
          <ac:spMkLst>
            <pc:docMk/>
            <pc:sldMk cId="72898500" sldId="721"/>
            <ac:spMk id="28" creationId="{3A75C0C9-83C2-43A0-8A31-C472E52650BF}"/>
          </ac:spMkLst>
        </pc:spChg>
        <pc:spChg chg="add del mod modVis">
          <ac:chgData name="Matthäus Alberding" userId="89cdd4c9-d044-4ab4-9e6f-8f065e0119c4" providerId="ADAL" clId="{B6745356-B6CF-45AA-ADCC-AC8F740A00DA}" dt="2022-07-26T15:40:33.270" v="87897"/>
          <ac:spMkLst>
            <pc:docMk/>
            <pc:sldMk cId="72898500" sldId="721"/>
            <ac:spMk id="29" creationId="{4075D599-5C57-4D97-94D8-A4C0554F6B5E}"/>
          </ac:spMkLst>
        </pc:spChg>
        <pc:spChg chg="add del mod modVis">
          <ac:chgData name="Matthäus Alberding" userId="89cdd4c9-d044-4ab4-9e6f-8f065e0119c4" providerId="ADAL" clId="{B6745356-B6CF-45AA-ADCC-AC8F740A00DA}" dt="2022-07-26T15:40:34.431" v="87946"/>
          <ac:spMkLst>
            <pc:docMk/>
            <pc:sldMk cId="72898500" sldId="721"/>
            <ac:spMk id="30" creationId="{2172853E-85DC-4201-BC3F-4592221631E5}"/>
          </ac:spMkLst>
        </pc:spChg>
        <pc:spChg chg="add del mod modVis">
          <ac:chgData name="Matthäus Alberding" userId="89cdd4c9-d044-4ab4-9e6f-8f065e0119c4" providerId="ADAL" clId="{B6745356-B6CF-45AA-ADCC-AC8F740A00DA}" dt="2022-07-26T15:40:37.491" v="88009"/>
          <ac:spMkLst>
            <pc:docMk/>
            <pc:sldMk cId="72898500" sldId="721"/>
            <ac:spMk id="31" creationId="{6B82101D-0D1B-495A-970E-FEF54B7022E9}"/>
          </ac:spMkLst>
        </pc:spChg>
        <pc:spChg chg="add del mod modVis">
          <ac:chgData name="Matthäus Alberding" userId="89cdd4c9-d044-4ab4-9e6f-8f065e0119c4" providerId="ADAL" clId="{B6745356-B6CF-45AA-ADCC-AC8F740A00DA}" dt="2022-07-26T15:40:38.999" v="88056"/>
          <ac:spMkLst>
            <pc:docMk/>
            <pc:sldMk cId="72898500" sldId="721"/>
            <ac:spMk id="32" creationId="{AD0E5A5F-B501-442A-9F9F-3D187B922EC4}"/>
          </ac:spMkLst>
        </pc:spChg>
        <pc:spChg chg="add del mod modVis">
          <ac:chgData name="Matthäus Alberding" userId="89cdd4c9-d044-4ab4-9e6f-8f065e0119c4" providerId="ADAL" clId="{B6745356-B6CF-45AA-ADCC-AC8F740A00DA}" dt="2022-07-26T15:40:43.313" v="88124"/>
          <ac:spMkLst>
            <pc:docMk/>
            <pc:sldMk cId="72898500" sldId="721"/>
            <ac:spMk id="33" creationId="{00086400-32D9-4549-A6BE-55891E629062}"/>
          </ac:spMkLst>
        </pc:spChg>
        <pc:spChg chg="add del mod modVis">
          <ac:chgData name="Matthäus Alberding" userId="89cdd4c9-d044-4ab4-9e6f-8f065e0119c4" providerId="ADAL" clId="{B6745356-B6CF-45AA-ADCC-AC8F740A00DA}" dt="2022-07-26T15:40:55.748" v="88192"/>
          <ac:spMkLst>
            <pc:docMk/>
            <pc:sldMk cId="72898500" sldId="721"/>
            <ac:spMk id="34" creationId="{0DD7BF99-32B6-4680-8A20-CD5D9AC9DC86}"/>
          </ac:spMkLst>
        </pc:spChg>
        <pc:spChg chg="add del mod modVis">
          <ac:chgData name="Matthäus Alberding" userId="89cdd4c9-d044-4ab4-9e6f-8f065e0119c4" providerId="ADAL" clId="{B6745356-B6CF-45AA-ADCC-AC8F740A00DA}" dt="2022-07-26T15:41:02.663" v="88285"/>
          <ac:spMkLst>
            <pc:docMk/>
            <pc:sldMk cId="72898500" sldId="721"/>
            <ac:spMk id="35" creationId="{87F52C50-321E-42CE-8DBC-ED8937E8CE36}"/>
          </ac:spMkLst>
        </pc:spChg>
        <pc:spChg chg="add del mod modVis">
          <ac:chgData name="Matthäus Alberding" userId="89cdd4c9-d044-4ab4-9e6f-8f065e0119c4" providerId="ADAL" clId="{B6745356-B6CF-45AA-ADCC-AC8F740A00DA}" dt="2022-07-26T15:41:14.256" v="88450"/>
          <ac:spMkLst>
            <pc:docMk/>
            <pc:sldMk cId="72898500" sldId="721"/>
            <ac:spMk id="36" creationId="{EE073891-004C-4F15-8703-C2B3D54604E9}"/>
          </ac:spMkLst>
        </pc:spChg>
        <pc:spChg chg="add del mod modVis">
          <ac:chgData name="Matthäus Alberding" userId="89cdd4c9-d044-4ab4-9e6f-8f065e0119c4" providerId="ADAL" clId="{B6745356-B6CF-45AA-ADCC-AC8F740A00DA}" dt="2022-07-26T15:41:18.992" v="88498"/>
          <ac:spMkLst>
            <pc:docMk/>
            <pc:sldMk cId="72898500" sldId="721"/>
            <ac:spMk id="37" creationId="{AE1B465C-E423-47D7-A952-53E2AD7591EE}"/>
          </ac:spMkLst>
        </pc:spChg>
        <pc:spChg chg="add del mod modVis">
          <ac:chgData name="Matthäus Alberding" userId="89cdd4c9-d044-4ab4-9e6f-8f065e0119c4" providerId="ADAL" clId="{B6745356-B6CF-45AA-ADCC-AC8F740A00DA}" dt="2022-07-26T15:41:22.143" v="88560"/>
          <ac:spMkLst>
            <pc:docMk/>
            <pc:sldMk cId="72898500" sldId="721"/>
            <ac:spMk id="38" creationId="{F85BD75A-2624-4615-BF6F-6860C7183F53}"/>
          </ac:spMkLst>
        </pc:spChg>
        <pc:spChg chg="add del mod modVis">
          <ac:chgData name="Matthäus Alberding" userId="89cdd4c9-d044-4ab4-9e6f-8f065e0119c4" providerId="ADAL" clId="{B6745356-B6CF-45AA-ADCC-AC8F740A00DA}" dt="2022-07-26T15:41:23.183" v="88603"/>
          <ac:spMkLst>
            <pc:docMk/>
            <pc:sldMk cId="72898500" sldId="721"/>
            <ac:spMk id="39" creationId="{9E10759F-5051-43B2-901C-5EEAD8D6BC7B}"/>
          </ac:spMkLst>
        </pc:spChg>
        <pc:spChg chg="add del mod modVis">
          <ac:chgData name="Matthäus Alberding" userId="89cdd4c9-d044-4ab4-9e6f-8f065e0119c4" providerId="ADAL" clId="{B6745356-B6CF-45AA-ADCC-AC8F740A00DA}" dt="2022-07-26T15:41:25.117" v="88658"/>
          <ac:spMkLst>
            <pc:docMk/>
            <pc:sldMk cId="72898500" sldId="721"/>
            <ac:spMk id="40" creationId="{431015D8-C060-437E-99DB-84E387451979}"/>
          </ac:spMkLst>
        </pc:spChg>
        <pc:spChg chg="mod">
          <ac:chgData name="Matthäus Alberding" userId="89cdd4c9-d044-4ab4-9e6f-8f065e0119c4" providerId="ADAL" clId="{B6745356-B6CF-45AA-ADCC-AC8F740A00DA}" dt="2022-07-26T15:48:07.014" v="90113"/>
          <ac:spMkLst>
            <pc:docMk/>
            <pc:sldMk cId="72898500" sldId="721"/>
            <ac:spMk id="50" creationId="{96F27982-8EFE-415D-BEBC-BC41DF8CD6E7}"/>
          </ac:spMkLst>
        </pc:spChg>
        <pc:spChg chg="mod">
          <ac:chgData name="Matthäus Alberding" userId="89cdd4c9-d044-4ab4-9e6f-8f065e0119c4" providerId="ADAL" clId="{B6745356-B6CF-45AA-ADCC-AC8F740A00DA}" dt="2022-07-26T15:49:38.748" v="90470" actId="20577"/>
          <ac:spMkLst>
            <pc:docMk/>
            <pc:sldMk cId="72898500" sldId="721"/>
            <ac:spMk id="51" creationId="{7E50BE9C-E0FF-4CAB-B765-E9BAF5008478}"/>
          </ac:spMkLst>
        </pc:spChg>
        <pc:spChg chg="mod">
          <ac:chgData name="Matthäus Alberding" userId="89cdd4c9-d044-4ab4-9e6f-8f065e0119c4" providerId="ADAL" clId="{B6745356-B6CF-45AA-ADCC-AC8F740A00DA}" dt="2022-07-26T15:48:07.014" v="90113"/>
          <ac:spMkLst>
            <pc:docMk/>
            <pc:sldMk cId="72898500" sldId="721"/>
            <ac:spMk id="53" creationId="{34152E05-608A-419B-82CE-071B29419F4F}"/>
          </ac:spMkLst>
        </pc:spChg>
        <pc:spChg chg="mod">
          <ac:chgData name="Matthäus Alberding" userId="89cdd4c9-d044-4ab4-9e6f-8f065e0119c4" providerId="ADAL" clId="{B6745356-B6CF-45AA-ADCC-AC8F740A00DA}" dt="2022-07-26T15:49:16.473" v="90435" actId="20577"/>
          <ac:spMkLst>
            <pc:docMk/>
            <pc:sldMk cId="72898500" sldId="721"/>
            <ac:spMk id="54" creationId="{4E80DF60-532C-4233-B161-202BC704548F}"/>
          </ac:spMkLst>
        </pc:spChg>
        <pc:spChg chg="mod">
          <ac:chgData name="Matthäus Alberding" userId="89cdd4c9-d044-4ab4-9e6f-8f065e0119c4" providerId="ADAL" clId="{B6745356-B6CF-45AA-ADCC-AC8F740A00DA}" dt="2022-07-26T15:48:07.014" v="90113"/>
          <ac:spMkLst>
            <pc:docMk/>
            <pc:sldMk cId="72898500" sldId="721"/>
            <ac:spMk id="57" creationId="{D3733D32-E773-4736-B23B-34D62A9E9361}"/>
          </ac:spMkLst>
        </pc:spChg>
        <pc:spChg chg="mod">
          <ac:chgData name="Matthäus Alberding" userId="89cdd4c9-d044-4ab4-9e6f-8f065e0119c4" providerId="ADAL" clId="{B6745356-B6CF-45AA-ADCC-AC8F740A00DA}" dt="2022-07-26T15:48:07.014" v="90113"/>
          <ac:spMkLst>
            <pc:docMk/>
            <pc:sldMk cId="72898500" sldId="721"/>
            <ac:spMk id="58" creationId="{6E081935-4427-46C5-9F2C-83967EBEA347}"/>
          </ac:spMkLst>
        </pc:spChg>
        <pc:spChg chg="add del mod modVis">
          <ac:chgData name="Matthäus Alberding" userId="89cdd4c9-d044-4ab4-9e6f-8f065e0119c4" providerId="ADAL" clId="{B6745356-B6CF-45AA-ADCC-AC8F740A00DA}" dt="2022-07-26T16:05:17.538" v="93364"/>
          <ac:spMkLst>
            <pc:docMk/>
            <pc:sldMk cId="72898500" sldId="721"/>
            <ac:spMk id="61" creationId="{6E64E8CB-7EC1-4F0C-A7F6-0361908D301D}"/>
          </ac:spMkLst>
        </pc:spChg>
        <pc:spChg chg="add del mod modVis">
          <ac:chgData name="Matthäus Alberding" userId="89cdd4c9-d044-4ab4-9e6f-8f065e0119c4" providerId="ADAL" clId="{B6745356-B6CF-45AA-ADCC-AC8F740A00DA}" dt="2022-07-26T16:05:27.762" v="93432"/>
          <ac:spMkLst>
            <pc:docMk/>
            <pc:sldMk cId="72898500" sldId="721"/>
            <ac:spMk id="62" creationId="{1378E322-2367-4904-993A-E32377B34F74}"/>
          </ac:spMkLst>
        </pc:spChg>
        <pc:spChg chg="add del mod modVis">
          <ac:chgData name="Matthäus Alberding" userId="89cdd4c9-d044-4ab4-9e6f-8f065e0119c4" providerId="ADAL" clId="{B6745356-B6CF-45AA-ADCC-AC8F740A00DA}" dt="2022-07-26T16:05:28.793" v="93480"/>
          <ac:spMkLst>
            <pc:docMk/>
            <pc:sldMk cId="72898500" sldId="721"/>
            <ac:spMk id="63" creationId="{C65623D1-46C9-411C-B972-A12F69E28EFB}"/>
          </ac:spMkLst>
        </pc:spChg>
        <pc:spChg chg="add del mod modVis">
          <ac:chgData name="Matthäus Alberding" userId="89cdd4c9-d044-4ab4-9e6f-8f065e0119c4" providerId="ADAL" clId="{B6745356-B6CF-45AA-ADCC-AC8F740A00DA}" dt="2022-07-26T16:05:47.780" v="93523"/>
          <ac:spMkLst>
            <pc:docMk/>
            <pc:sldMk cId="72898500" sldId="721"/>
            <ac:spMk id="64" creationId="{37218033-3F6C-42BB-A793-E29261E3CB99}"/>
          </ac:spMkLst>
        </pc:spChg>
        <pc:spChg chg="add del mod modVis">
          <ac:chgData name="Matthäus Alberding" userId="89cdd4c9-d044-4ab4-9e6f-8f065e0119c4" providerId="ADAL" clId="{B6745356-B6CF-45AA-ADCC-AC8F740A00DA}" dt="2022-07-26T16:05:50.269" v="93577"/>
          <ac:spMkLst>
            <pc:docMk/>
            <pc:sldMk cId="72898500" sldId="721"/>
            <ac:spMk id="65" creationId="{D777F5E1-7C7C-4A1D-9199-9FEFE623E198}"/>
          </ac:spMkLst>
        </pc:spChg>
        <pc:spChg chg="add del mod modVis">
          <ac:chgData name="Matthäus Alberding" userId="89cdd4c9-d044-4ab4-9e6f-8f065e0119c4" providerId="ADAL" clId="{B6745356-B6CF-45AA-ADCC-AC8F740A00DA}" dt="2022-07-26T16:05:54.463" v="93632"/>
          <ac:spMkLst>
            <pc:docMk/>
            <pc:sldMk cId="72898500" sldId="721"/>
            <ac:spMk id="66" creationId="{F3645AF2-0416-4D79-9AAE-EB7E5A5AE6DB}"/>
          </ac:spMkLst>
        </pc:spChg>
        <pc:grpChg chg="add mod">
          <ac:chgData name="Matthäus Alberding" userId="89cdd4c9-d044-4ab4-9e6f-8f065e0119c4" providerId="ADAL" clId="{B6745356-B6CF-45AA-ADCC-AC8F740A00DA}" dt="2022-07-26T15:49:26.085" v="90441" actId="1076"/>
          <ac:grpSpMkLst>
            <pc:docMk/>
            <pc:sldMk cId="72898500" sldId="721"/>
            <ac:grpSpMk id="49" creationId="{1D270D05-F06B-4657-8D72-760AB213D9EC}"/>
          </ac:grpSpMkLst>
        </pc:grpChg>
        <pc:grpChg chg="add mod">
          <ac:chgData name="Matthäus Alberding" userId="89cdd4c9-d044-4ab4-9e6f-8f065e0119c4" providerId="ADAL" clId="{B6745356-B6CF-45AA-ADCC-AC8F740A00DA}" dt="2022-07-26T15:49:26.085" v="90441" actId="1076"/>
          <ac:grpSpMkLst>
            <pc:docMk/>
            <pc:sldMk cId="72898500" sldId="721"/>
            <ac:grpSpMk id="52" creationId="{90177DBB-E4B7-444F-B0BD-31F83AE7F75D}"/>
          </ac:grpSpMkLst>
        </pc:grpChg>
        <pc:grpChg chg="add del mod">
          <ac:chgData name="Matthäus Alberding" userId="89cdd4c9-d044-4ab4-9e6f-8f065e0119c4" providerId="ADAL" clId="{B6745356-B6CF-45AA-ADCC-AC8F740A00DA}" dt="2022-07-26T15:49:20.101" v="90437" actId="478"/>
          <ac:grpSpMkLst>
            <pc:docMk/>
            <pc:sldMk cId="72898500" sldId="721"/>
            <ac:grpSpMk id="56" creationId="{4AAFF2D3-E475-465E-9BA8-CB8B83A063F5}"/>
          </ac:grpSpMkLst>
        </pc:grpChg>
        <pc:graphicFrameChg chg="mod">
          <ac:chgData name="Matthäus Alberding" userId="89cdd4c9-d044-4ab4-9e6f-8f065e0119c4" providerId="ADAL" clId="{B6745356-B6CF-45AA-ADCC-AC8F740A00DA}" dt="2022-07-26T16:05:54.464" v="93634"/>
          <ac:graphicFrameMkLst>
            <pc:docMk/>
            <pc:sldMk cId="72898500" sldId="721"/>
            <ac:graphicFrameMk id="6" creationId="{17619F4C-4BEA-471F-B7B0-623407C2C224}"/>
          </ac:graphicFrameMkLst>
        </pc:graphicFrameChg>
        <pc:picChg chg="add mod">
          <ac:chgData name="Matthäus Alberding" userId="89cdd4c9-d044-4ab4-9e6f-8f065e0119c4" providerId="ADAL" clId="{B6745356-B6CF-45AA-ADCC-AC8F740A00DA}" dt="2022-07-26T15:49:26.085" v="90441" actId="1076"/>
          <ac:picMkLst>
            <pc:docMk/>
            <pc:sldMk cId="72898500" sldId="721"/>
            <ac:picMk id="41" creationId="{CD462E96-3777-4887-8F71-E1508518D0B7}"/>
          </ac:picMkLst>
        </pc:picChg>
        <pc:picChg chg="add del mod">
          <ac:chgData name="Matthäus Alberding" userId="89cdd4c9-d044-4ab4-9e6f-8f065e0119c4" providerId="ADAL" clId="{B6745356-B6CF-45AA-ADCC-AC8F740A00DA}" dt="2022-07-26T15:49:22.008" v="90438" actId="478"/>
          <ac:picMkLst>
            <pc:docMk/>
            <pc:sldMk cId="72898500" sldId="721"/>
            <ac:picMk id="42" creationId="{22658074-68B0-4079-B3F8-081A3BAB2D55}"/>
          </ac:picMkLst>
        </pc:picChg>
        <pc:picChg chg="add mod">
          <ac:chgData name="Matthäus Alberding" userId="89cdd4c9-d044-4ab4-9e6f-8f065e0119c4" providerId="ADAL" clId="{B6745356-B6CF-45AA-ADCC-AC8F740A00DA}" dt="2022-07-26T15:49:26.085" v="90441" actId="1076"/>
          <ac:picMkLst>
            <pc:docMk/>
            <pc:sldMk cId="72898500" sldId="721"/>
            <ac:picMk id="43" creationId="{91AFED07-1532-4959-B328-A1B845CAC464}"/>
          </ac:picMkLst>
        </pc:picChg>
        <pc:picChg chg="add mod">
          <ac:chgData name="Matthäus Alberding" userId="89cdd4c9-d044-4ab4-9e6f-8f065e0119c4" providerId="ADAL" clId="{B6745356-B6CF-45AA-ADCC-AC8F740A00DA}" dt="2022-07-26T15:49:26.085" v="90441" actId="1076"/>
          <ac:picMkLst>
            <pc:docMk/>
            <pc:sldMk cId="72898500" sldId="721"/>
            <ac:picMk id="44" creationId="{307A2730-AE5C-4D49-B5EE-3F9268CB819F}"/>
          </ac:picMkLst>
        </pc:picChg>
        <pc:picChg chg="add mod">
          <ac:chgData name="Matthäus Alberding" userId="89cdd4c9-d044-4ab4-9e6f-8f065e0119c4" providerId="ADAL" clId="{B6745356-B6CF-45AA-ADCC-AC8F740A00DA}" dt="2022-07-26T15:49:26.085" v="90441" actId="1076"/>
          <ac:picMkLst>
            <pc:docMk/>
            <pc:sldMk cId="72898500" sldId="721"/>
            <ac:picMk id="45" creationId="{56D7E294-6D5D-4560-9B80-A1E5F66C61F3}"/>
          </ac:picMkLst>
        </pc:picChg>
        <pc:picChg chg="add mod">
          <ac:chgData name="Matthäus Alberding" userId="89cdd4c9-d044-4ab4-9e6f-8f065e0119c4" providerId="ADAL" clId="{B6745356-B6CF-45AA-ADCC-AC8F740A00DA}" dt="2022-07-26T15:49:26.085" v="90441" actId="1076"/>
          <ac:picMkLst>
            <pc:docMk/>
            <pc:sldMk cId="72898500" sldId="721"/>
            <ac:picMk id="46" creationId="{0E996415-041B-4452-BD97-9ED33336DCE9}"/>
          </ac:picMkLst>
        </pc:picChg>
        <pc:picChg chg="add del mod">
          <ac:chgData name="Matthäus Alberding" userId="89cdd4c9-d044-4ab4-9e6f-8f065e0119c4" providerId="ADAL" clId="{B6745356-B6CF-45AA-ADCC-AC8F740A00DA}" dt="2022-07-26T15:49:22.982" v="90440" actId="478"/>
          <ac:picMkLst>
            <pc:docMk/>
            <pc:sldMk cId="72898500" sldId="721"/>
            <ac:picMk id="47" creationId="{7A3A675A-D468-413A-853F-827835DF3C87}"/>
          </ac:picMkLst>
        </pc:picChg>
        <pc:picChg chg="add del mod">
          <ac:chgData name="Matthäus Alberding" userId="89cdd4c9-d044-4ab4-9e6f-8f065e0119c4" providerId="ADAL" clId="{B6745356-B6CF-45AA-ADCC-AC8F740A00DA}" dt="2022-07-26T15:49:18.529" v="90436" actId="478"/>
          <ac:picMkLst>
            <pc:docMk/>
            <pc:sldMk cId="72898500" sldId="721"/>
            <ac:picMk id="60" creationId="{7E68446F-A2EE-401C-9F86-773BAE60178C}"/>
          </ac:picMkLst>
        </pc:picChg>
        <pc:cxnChg chg="add mod">
          <ac:chgData name="Matthäus Alberding" userId="89cdd4c9-d044-4ab4-9e6f-8f065e0119c4" providerId="ADAL" clId="{B6745356-B6CF-45AA-ADCC-AC8F740A00DA}" dt="2022-07-26T15:49:26.085" v="90441" actId="1076"/>
          <ac:cxnSpMkLst>
            <pc:docMk/>
            <pc:sldMk cId="72898500" sldId="721"/>
            <ac:cxnSpMk id="48" creationId="{C3C5E240-CEAE-45A4-9B5A-5BC10ECE0265}"/>
          </ac:cxnSpMkLst>
        </pc:cxnChg>
        <pc:cxnChg chg="add mod">
          <ac:chgData name="Matthäus Alberding" userId="89cdd4c9-d044-4ab4-9e6f-8f065e0119c4" providerId="ADAL" clId="{B6745356-B6CF-45AA-ADCC-AC8F740A00DA}" dt="2022-07-26T15:49:26.085" v="90441" actId="1076"/>
          <ac:cxnSpMkLst>
            <pc:docMk/>
            <pc:sldMk cId="72898500" sldId="721"/>
            <ac:cxnSpMk id="55" creationId="{F005EB2B-B622-428C-ADBF-E5636024D294}"/>
          </ac:cxnSpMkLst>
        </pc:cxnChg>
        <pc:cxnChg chg="add del mod">
          <ac:chgData name="Matthäus Alberding" userId="89cdd4c9-d044-4ab4-9e6f-8f065e0119c4" providerId="ADAL" clId="{B6745356-B6CF-45AA-ADCC-AC8F740A00DA}" dt="2022-07-26T15:49:22.517" v="90439" actId="478"/>
          <ac:cxnSpMkLst>
            <pc:docMk/>
            <pc:sldMk cId="72898500" sldId="721"/>
            <ac:cxnSpMk id="59" creationId="{E0D9797B-819E-4C41-BB3F-EF4918F4B42A}"/>
          </ac:cxnSpMkLst>
        </pc:cxnChg>
      </pc:sldChg>
      <pc:sldChg chg="addSp delSp modSp add mod modTransition modClrScheme modShow chgLayout">
        <pc:chgData name="Matthäus Alberding" userId="89cdd4c9-d044-4ab4-9e6f-8f065e0119c4" providerId="ADAL" clId="{B6745356-B6CF-45AA-ADCC-AC8F740A00DA}" dt="2022-07-27T06:37:40.884" v="96341" actId="404"/>
        <pc:sldMkLst>
          <pc:docMk/>
          <pc:sldMk cId="3728351360" sldId="722"/>
        </pc:sldMkLst>
        <pc:spChg chg="mod ord">
          <ac:chgData name="Matthäus Alberding" userId="89cdd4c9-d044-4ab4-9e6f-8f065e0119c4" providerId="ADAL" clId="{B6745356-B6CF-45AA-ADCC-AC8F740A00DA}" dt="2022-07-26T15:52:27.985" v="91432"/>
          <ac:spMkLst>
            <pc:docMk/>
            <pc:sldMk cId="3728351360" sldId="722"/>
            <ac:spMk id="2" creationId="{7462B137-96CD-4ED8-B154-102E7317CE99}"/>
          </ac:spMkLst>
        </pc:spChg>
        <pc:spChg chg="mod ord">
          <ac:chgData name="Matthäus Alberding" userId="89cdd4c9-d044-4ab4-9e6f-8f065e0119c4" providerId="ADAL" clId="{B6745356-B6CF-45AA-ADCC-AC8F740A00DA}" dt="2022-07-26T15:52:27.985" v="91432"/>
          <ac:spMkLst>
            <pc:docMk/>
            <pc:sldMk cId="3728351360" sldId="722"/>
            <ac:spMk id="3" creationId="{C26F251B-1F8E-4607-AA18-64208C38D01D}"/>
          </ac:spMkLst>
        </pc:spChg>
        <pc:spChg chg="add del mod modVis">
          <ac:chgData name="Matthäus Alberding" userId="89cdd4c9-d044-4ab4-9e6f-8f065e0119c4" providerId="ADAL" clId="{B6745356-B6CF-45AA-ADCC-AC8F740A00DA}" dt="2022-07-26T15:50:12.228" v="90549"/>
          <ac:spMkLst>
            <pc:docMk/>
            <pc:sldMk cId="3728351360" sldId="722"/>
            <ac:spMk id="4" creationId="{1EA432F2-1FD8-4527-B208-7909A30E67A4}"/>
          </ac:spMkLst>
        </pc:spChg>
        <pc:spChg chg="add del mod modVis">
          <ac:chgData name="Matthäus Alberding" userId="89cdd4c9-d044-4ab4-9e6f-8f065e0119c4" providerId="ADAL" clId="{B6745356-B6CF-45AA-ADCC-AC8F740A00DA}" dt="2022-07-27T06:37:32.319" v="96337"/>
          <ac:spMkLst>
            <pc:docMk/>
            <pc:sldMk cId="3728351360" sldId="722"/>
            <ac:spMk id="4" creationId="{7942C5E7-EF92-44C3-BC68-476D3D18C328}"/>
          </ac:spMkLst>
        </pc:spChg>
        <pc:spChg chg="mod ord">
          <ac:chgData name="Matthäus Alberding" userId="89cdd4c9-d044-4ab4-9e6f-8f065e0119c4" providerId="ADAL" clId="{B6745356-B6CF-45AA-ADCC-AC8F740A00DA}" dt="2022-07-26T15:55:39.704" v="91695" actId="1076"/>
          <ac:spMkLst>
            <pc:docMk/>
            <pc:sldMk cId="3728351360" sldId="722"/>
            <ac:spMk id="5" creationId="{14D57165-C4F4-4311-87C9-C4AD5C0FBF8D}"/>
          </ac:spMkLst>
        </pc:spChg>
        <pc:spChg chg="add del mod modVis">
          <ac:chgData name="Matthäus Alberding" userId="89cdd4c9-d044-4ab4-9e6f-8f065e0119c4" providerId="ADAL" clId="{B6745356-B6CF-45AA-ADCC-AC8F740A00DA}" dt="2022-07-26T15:50:15.300" v="90614"/>
          <ac:spMkLst>
            <pc:docMk/>
            <pc:sldMk cId="3728351360" sldId="722"/>
            <ac:spMk id="7" creationId="{2D11606B-FC6B-4631-8F44-F9953E19EBBD}"/>
          </ac:spMkLst>
        </pc:spChg>
        <pc:spChg chg="mod ord">
          <ac:chgData name="Matthäus Alberding" userId="89cdd4c9-d044-4ab4-9e6f-8f065e0119c4" providerId="ADAL" clId="{B6745356-B6CF-45AA-ADCC-AC8F740A00DA}" dt="2022-07-27T06:37:32.297" v="96298" actId="948"/>
          <ac:spMkLst>
            <pc:docMk/>
            <pc:sldMk cId="3728351360" sldId="722"/>
            <ac:spMk id="8" creationId="{E636D16C-7382-4A28-BE63-5DBBEE2B7662}"/>
          </ac:spMkLst>
        </pc:spChg>
        <pc:spChg chg="add del mod modVis">
          <ac:chgData name="Matthäus Alberding" userId="89cdd4c9-d044-4ab4-9e6f-8f065e0119c4" providerId="ADAL" clId="{B6745356-B6CF-45AA-ADCC-AC8F740A00DA}" dt="2022-07-26T15:50:36.802" v="90686"/>
          <ac:spMkLst>
            <pc:docMk/>
            <pc:sldMk cId="3728351360" sldId="722"/>
            <ac:spMk id="9" creationId="{1E6B9555-7400-43BE-AF2E-5CEF5347B336}"/>
          </ac:spMkLst>
        </pc:spChg>
        <pc:spChg chg="add del mod modVis">
          <ac:chgData name="Matthäus Alberding" userId="89cdd4c9-d044-4ab4-9e6f-8f065e0119c4" providerId="ADAL" clId="{B6745356-B6CF-45AA-ADCC-AC8F740A00DA}" dt="2022-07-26T15:50:41.324" v="90729"/>
          <ac:spMkLst>
            <pc:docMk/>
            <pc:sldMk cId="3728351360" sldId="722"/>
            <ac:spMk id="10" creationId="{E0AADDFB-264D-4D02-AEAB-75F1412C79DB}"/>
          </ac:spMkLst>
        </pc:spChg>
        <pc:spChg chg="add del mod modVis">
          <ac:chgData name="Matthäus Alberding" userId="89cdd4c9-d044-4ab4-9e6f-8f065e0119c4" providerId="ADAL" clId="{B6745356-B6CF-45AA-ADCC-AC8F740A00DA}" dt="2022-07-26T15:50:43.465" v="90789"/>
          <ac:spMkLst>
            <pc:docMk/>
            <pc:sldMk cId="3728351360" sldId="722"/>
            <ac:spMk id="11" creationId="{67D82301-8F8A-4D05-9795-746D57D00130}"/>
          </ac:spMkLst>
        </pc:spChg>
        <pc:spChg chg="add del mod modVis">
          <ac:chgData name="Matthäus Alberding" userId="89cdd4c9-d044-4ab4-9e6f-8f065e0119c4" providerId="ADAL" clId="{B6745356-B6CF-45AA-ADCC-AC8F740A00DA}" dt="2022-07-26T15:50:48.236" v="90846"/>
          <ac:spMkLst>
            <pc:docMk/>
            <pc:sldMk cId="3728351360" sldId="722"/>
            <ac:spMk id="12" creationId="{5BB475E8-0D8B-457B-83F2-D78083B10F92}"/>
          </ac:spMkLst>
        </pc:spChg>
        <pc:spChg chg="add del mod modVis">
          <ac:chgData name="Matthäus Alberding" userId="89cdd4c9-d044-4ab4-9e6f-8f065e0119c4" providerId="ADAL" clId="{B6745356-B6CF-45AA-ADCC-AC8F740A00DA}" dt="2022-07-26T15:51:01.857" v="90900"/>
          <ac:spMkLst>
            <pc:docMk/>
            <pc:sldMk cId="3728351360" sldId="722"/>
            <ac:spMk id="13" creationId="{32604AA6-BBDB-4CF1-9571-56968CA92FFB}"/>
          </ac:spMkLst>
        </pc:spChg>
        <pc:spChg chg="add del mod modVis">
          <ac:chgData name="Matthäus Alberding" userId="89cdd4c9-d044-4ab4-9e6f-8f065e0119c4" providerId="ADAL" clId="{B6745356-B6CF-45AA-ADCC-AC8F740A00DA}" dt="2022-07-26T15:51:04.383" v="90955"/>
          <ac:spMkLst>
            <pc:docMk/>
            <pc:sldMk cId="3728351360" sldId="722"/>
            <ac:spMk id="14" creationId="{97DB104D-0610-456D-8EBF-17DAEADB7B39}"/>
          </ac:spMkLst>
        </pc:spChg>
        <pc:spChg chg="add del mod modVis">
          <ac:chgData name="Matthäus Alberding" userId="89cdd4c9-d044-4ab4-9e6f-8f065e0119c4" providerId="ADAL" clId="{B6745356-B6CF-45AA-ADCC-AC8F740A00DA}" dt="2022-07-26T15:51:08.079" v="91024"/>
          <ac:spMkLst>
            <pc:docMk/>
            <pc:sldMk cId="3728351360" sldId="722"/>
            <ac:spMk id="15" creationId="{543D4597-B2C2-4713-AE06-D9AC0D94940E}"/>
          </ac:spMkLst>
        </pc:spChg>
        <pc:spChg chg="add del mod modVis">
          <ac:chgData name="Matthäus Alberding" userId="89cdd4c9-d044-4ab4-9e6f-8f065e0119c4" providerId="ADAL" clId="{B6745356-B6CF-45AA-ADCC-AC8F740A00DA}" dt="2022-07-26T15:51:10.805" v="91067"/>
          <ac:spMkLst>
            <pc:docMk/>
            <pc:sldMk cId="3728351360" sldId="722"/>
            <ac:spMk id="16" creationId="{6D3EE987-2D0C-4F08-8E18-167B8449F9FD}"/>
          </ac:spMkLst>
        </pc:spChg>
        <pc:spChg chg="add del mod modVis">
          <ac:chgData name="Matthäus Alberding" userId="89cdd4c9-d044-4ab4-9e6f-8f065e0119c4" providerId="ADAL" clId="{B6745356-B6CF-45AA-ADCC-AC8F740A00DA}" dt="2022-07-26T15:51:22.323" v="91110"/>
          <ac:spMkLst>
            <pc:docMk/>
            <pc:sldMk cId="3728351360" sldId="722"/>
            <ac:spMk id="17" creationId="{F5AF2C0D-707A-4921-AFF3-BF6731A3CF27}"/>
          </ac:spMkLst>
        </pc:spChg>
        <pc:spChg chg="add del mod modVis">
          <ac:chgData name="Matthäus Alberding" userId="89cdd4c9-d044-4ab4-9e6f-8f065e0119c4" providerId="ADAL" clId="{B6745356-B6CF-45AA-ADCC-AC8F740A00DA}" dt="2022-07-26T15:51:26.650" v="91179"/>
          <ac:spMkLst>
            <pc:docMk/>
            <pc:sldMk cId="3728351360" sldId="722"/>
            <ac:spMk id="18" creationId="{748C8D6A-D3DB-4CEC-BDAE-99186B82CE43}"/>
          </ac:spMkLst>
        </pc:spChg>
        <pc:spChg chg="add del mod modVis">
          <ac:chgData name="Matthäus Alberding" userId="89cdd4c9-d044-4ab4-9e6f-8f065e0119c4" providerId="ADAL" clId="{B6745356-B6CF-45AA-ADCC-AC8F740A00DA}" dt="2022-07-26T15:51:27.760" v="91223"/>
          <ac:spMkLst>
            <pc:docMk/>
            <pc:sldMk cId="3728351360" sldId="722"/>
            <ac:spMk id="19" creationId="{09708250-86C3-45F9-B433-DBFC6FC7C543}"/>
          </ac:spMkLst>
        </pc:spChg>
        <pc:spChg chg="add del mod modVis">
          <ac:chgData name="Matthäus Alberding" userId="89cdd4c9-d044-4ab4-9e6f-8f065e0119c4" providerId="ADAL" clId="{B6745356-B6CF-45AA-ADCC-AC8F740A00DA}" dt="2022-07-26T15:51:31.358" v="91283"/>
          <ac:spMkLst>
            <pc:docMk/>
            <pc:sldMk cId="3728351360" sldId="722"/>
            <ac:spMk id="20" creationId="{49CB41C9-AA32-422B-A851-144825A274BC}"/>
          </ac:spMkLst>
        </pc:spChg>
        <pc:spChg chg="add del mod modVis">
          <ac:chgData name="Matthäus Alberding" userId="89cdd4c9-d044-4ab4-9e6f-8f065e0119c4" providerId="ADAL" clId="{B6745356-B6CF-45AA-ADCC-AC8F740A00DA}" dt="2022-07-26T15:51:33.270" v="91338"/>
          <ac:spMkLst>
            <pc:docMk/>
            <pc:sldMk cId="3728351360" sldId="722"/>
            <ac:spMk id="21" creationId="{AADCD3AC-0691-4A2A-8933-C3E6D7BFF95D}"/>
          </ac:spMkLst>
        </pc:spChg>
        <pc:spChg chg="add del mod modVis">
          <ac:chgData name="Matthäus Alberding" userId="89cdd4c9-d044-4ab4-9e6f-8f065e0119c4" providerId="ADAL" clId="{B6745356-B6CF-45AA-ADCC-AC8F740A00DA}" dt="2022-07-26T15:51:41.558" v="91381"/>
          <ac:spMkLst>
            <pc:docMk/>
            <pc:sldMk cId="3728351360" sldId="722"/>
            <ac:spMk id="22" creationId="{FF1F6A83-B023-4DE6-AD32-5258B3421B7B}"/>
          </ac:spMkLst>
        </pc:spChg>
        <pc:spChg chg="add del mod modVis">
          <ac:chgData name="Matthäus Alberding" userId="89cdd4c9-d044-4ab4-9e6f-8f065e0119c4" providerId="ADAL" clId="{B6745356-B6CF-45AA-ADCC-AC8F740A00DA}" dt="2022-07-26T15:51:51.008" v="91428"/>
          <ac:spMkLst>
            <pc:docMk/>
            <pc:sldMk cId="3728351360" sldId="722"/>
            <ac:spMk id="23" creationId="{FF284A9F-892F-4D9B-866E-86B429F9FA75}"/>
          </ac:spMkLst>
        </pc:spChg>
        <pc:spChg chg="add mod ord">
          <ac:chgData name="Matthäus Alberding" userId="89cdd4c9-d044-4ab4-9e6f-8f065e0119c4" providerId="ADAL" clId="{B6745356-B6CF-45AA-ADCC-AC8F740A00DA}" dt="2022-07-26T15:55:41.587" v="91696" actId="1076"/>
          <ac:spMkLst>
            <pc:docMk/>
            <pc:sldMk cId="3728351360" sldId="722"/>
            <ac:spMk id="24" creationId="{48BFA2BA-9DFD-46B5-B3D1-1D728098EB7C}"/>
          </ac:spMkLst>
        </pc:spChg>
        <pc:spChg chg="add mod ord">
          <ac:chgData name="Matthäus Alberding" userId="89cdd4c9-d044-4ab4-9e6f-8f065e0119c4" providerId="ADAL" clId="{B6745356-B6CF-45AA-ADCC-AC8F740A00DA}" dt="2022-07-26T15:52:33.485" v="91456" actId="20577"/>
          <ac:spMkLst>
            <pc:docMk/>
            <pc:sldMk cId="3728351360" sldId="722"/>
            <ac:spMk id="25" creationId="{6348DA60-A977-4161-9924-C2E894E956E1}"/>
          </ac:spMkLst>
        </pc:spChg>
        <pc:spChg chg="add del mod ord">
          <ac:chgData name="Matthäus Alberding" userId="89cdd4c9-d044-4ab4-9e6f-8f065e0119c4" providerId="ADAL" clId="{B6745356-B6CF-45AA-ADCC-AC8F740A00DA}" dt="2022-07-26T15:55:24.308" v="91687"/>
          <ac:spMkLst>
            <pc:docMk/>
            <pc:sldMk cId="3728351360" sldId="722"/>
            <ac:spMk id="26" creationId="{34752E1B-4A2C-4E42-B824-F0D67DE78EDF}"/>
          </ac:spMkLst>
        </pc:spChg>
        <pc:spChg chg="add del mod ord">
          <ac:chgData name="Matthäus Alberding" userId="89cdd4c9-d044-4ab4-9e6f-8f065e0119c4" providerId="ADAL" clId="{B6745356-B6CF-45AA-ADCC-AC8F740A00DA}" dt="2022-07-27T06:37:40.884" v="96341" actId="404"/>
          <ac:spMkLst>
            <pc:docMk/>
            <pc:sldMk cId="3728351360" sldId="722"/>
            <ac:spMk id="27" creationId="{A62886CF-D345-4F06-8F2F-0D11511630E4}"/>
          </ac:spMkLst>
        </pc:spChg>
        <pc:spChg chg="add mod">
          <ac:chgData name="Matthäus Alberding" userId="89cdd4c9-d044-4ab4-9e6f-8f065e0119c4" providerId="ADAL" clId="{B6745356-B6CF-45AA-ADCC-AC8F740A00DA}" dt="2022-07-27T06:37:37.544" v="96340" actId="404"/>
          <ac:spMkLst>
            <pc:docMk/>
            <pc:sldMk cId="3728351360" sldId="722"/>
            <ac:spMk id="34" creationId="{68E82893-5F27-4C2B-8CAB-F3134535E186}"/>
          </ac:spMkLst>
        </pc:spChg>
        <pc:spChg chg="add del mod modVis">
          <ac:chgData name="Matthäus Alberding" userId="89cdd4c9-d044-4ab4-9e6f-8f065e0119c4" providerId="ADAL" clId="{B6745356-B6CF-45AA-ADCC-AC8F740A00DA}" dt="2022-07-26T15:56:52.282" v="91841"/>
          <ac:spMkLst>
            <pc:docMk/>
            <pc:sldMk cId="3728351360" sldId="722"/>
            <ac:spMk id="35" creationId="{3CB2667C-1771-4C02-93B6-799D5970102A}"/>
          </ac:spMkLst>
        </pc:spChg>
        <pc:spChg chg="add del mod modVis">
          <ac:chgData name="Matthäus Alberding" userId="89cdd4c9-d044-4ab4-9e6f-8f065e0119c4" providerId="ADAL" clId="{B6745356-B6CF-45AA-ADCC-AC8F740A00DA}" dt="2022-07-26T15:56:54.205" v="91888"/>
          <ac:spMkLst>
            <pc:docMk/>
            <pc:sldMk cId="3728351360" sldId="722"/>
            <ac:spMk id="36" creationId="{3088A08E-5BE3-411E-AC93-9397BD2B24E5}"/>
          </ac:spMkLst>
        </pc:spChg>
        <pc:spChg chg="add del mod modVis">
          <ac:chgData name="Matthäus Alberding" userId="89cdd4c9-d044-4ab4-9e6f-8f065e0119c4" providerId="ADAL" clId="{B6745356-B6CF-45AA-ADCC-AC8F740A00DA}" dt="2022-07-26T15:56:55.588" v="91931"/>
          <ac:spMkLst>
            <pc:docMk/>
            <pc:sldMk cId="3728351360" sldId="722"/>
            <ac:spMk id="37" creationId="{104E2368-A4AD-423F-B3FF-0F5F94881D89}"/>
          </ac:spMkLst>
        </pc:spChg>
        <pc:spChg chg="add del mod modVis">
          <ac:chgData name="Matthäus Alberding" userId="89cdd4c9-d044-4ab4-9e6f-8f065e0119c4" providerId="ADAL" clId="{B6745356-B6CF-45AA-ADCC-AC8F740A00DA}" dt="2022-07-26T15:56:56.624" v="91976"/>
          <ac:spMkLst>
            <pc:docMk/>
            <pc:sldMk cId="3728351360" sldId="722"/>
            <ac:spMk id="38" creationId="{4DE1A199-B35B-4EF1-89C3-9B28B37C575D}"/>
          </ac:spMkLst>
        </pc:spChg>
        <pc:spChg chg="add del mod modVis">
          <ac:chgData name="Matthäus Alberding" userId="89cdd4c9-d044-4ab4-9e6f-8f065e0119c4" providerId="ADAL" clId="{B6745356-B6CF-45AA-ADCC-AC8F740A00DA}" dt="2022-07-26T15:56:58.391" v="92023"/>
          <ac:spMkLst>
            <pc:docMk/>
            <pc:sldMk cId="3728351360" sldId="722"/>
            <ac:spMk id="39" creationId="{AB997EE0-8C7F-4079-A6A3-0B2CC7922C7A}"/>
          </ac:spMkLst>
        </pc:spChg>
        <pc:spChg chg="add del mod modVis">
          <ac:chgData name="Matthäus Alberding" userId="89cdd4c9-d044-4ab4-9e6f-8f065e0119c4" providerId="ADAL" clId="{B6745356-B6CF-45AA-ADCC-AC8F740A00DA}" dt="2022-07-26T15:57:04.132" v="92096"/>
          <ac:spMkLst>
            <pc:docMk/>
            <pc:sldMk cId="3728351360" sldId="722"/>
            <ac:spMk id="40" creationId="{E81AC842-B4C6-4512-84F8-59930ED8EB23}"/>
          </ac:spMkLst>
        </pc:spChg>
        <pc:spChg chg="add del mod modVis">
          <ac:chgData name="Matthäus Alberding" userId="89cdd4c9-d044-4ab4-9e6f-8f065e0119c4" providerId="ADAL" clId="{B6745356-B6CF-45AA-ADCC-AC8F740A00DA}" dt="2022-07-26T15:57:10.010" v="92142"/>
          <ac:spMkLst>
            <pc:docMk/>
            <pc:sldMk cId="3728351360" sldId="722"/>
            <ac:spMk id="41" creationId="{EF198DF1-9AE3-45F1-A36C-4024E7D5F5A1}"/>
          </ac:spMkLst>
        </pc:spChg>
        <pc:spChg chg="add del mod modVis">
          <ac:chgData name="Matthäus Alberding" userId="89cdd4c9-d044-4ab4-9e6f-8f065e0119c4" providerId="ADAL" clId="{B6745356-B6CF-45AA-ADCC-AC8F740A00DA}" dt="2022-07-26T15:57:14.136" v="92188"/>
          <ac:spMkLst>
            <pc:docMk/>
            <pc:sldMk cId="3728351360" sldId="722"/>
            <ac:spMk id="42" creationId="{3FB3212D-39FA-4A9B-B346-0650113C8DF8}"/>
          </ac:spMkLst>
        </pc:spChg>
        <pc:spChg chg="add del mod modVis">
          <ac:chgData name="Matthäus Alberding" userId="89cdd4c9-d044-4ab4-9e6f-8f065e0119c4" providerId="ADAL" clId="{B6745356-B6CF-45AA-ADCC-AC8F740A00DA}" dt="2022-07-26T16:02:19.027" v="92777"/>
          <ac:spMkLst>
            <pc:docMk/>
            <pc:sldMk cId="3728351360" sldId="722"/>
            <ac:spMk id="45" creationId="{3A985B80-D854-4FE4-9CDF-C7A92A948A41}"/>
          </ac:spMkLst>
        </pc:spChg>
        <pc:spChg chg="add del mod modVis">
          <ac:chgData name="Matthäus Alberding" userId="89cdd4c9-d044-4ab4-9e6f-8f065e0119c4" providerId="ADAL" clId="{B6745356-B6CF-45AA-ADCC-AC8F740A00DA}" dt="2022-07-26T16:02:22.158" v="92823"/>
          <ac:spMkLst>
            <pc:docMk/>
            <pc:sldMk cId="3728351360" sldId="722"/>
            <ac:spMk id="46" creationId="{1EB5BDF3-42BB-45D7-9861-2D5008796C18}"/>
          </ac:spMkLst>
        </pc:spChg>
        <pc:spChg chg="add del mod modVis">
          <ac:chgData name="Matthäus Alberding" userId="89cdd4c9-d044-4ab4-9e6f-8f065e0119c4" providerId="ADAL" clId="{B6745356-B6CF-45AA-ADCC-AC8F740A00DA}" dt="2022-07-26T16:02:25.831" v="92869"/>
          <ac:spMkLst>
            <pc:docMk/>
            <pc:sldMk cId="3728351360" sldId="722"/>
            <ac:spMk id="47" creationId="{919A5C81-00B5-4416-B870-623E25B88F15}"/>
          </ac:spMkLst>
        </pc:spChg>
        <pc:spChg chg="add del mod modVis">
          <ac:chgData name="Matthäus Alberding" userId="89cdd4c9-d044-4ab4-9e6f-8f065e0119c4" providerId="ADAL" clId="{B6745356-B6CF-45AA-ADCC-AC8F740A00DA}" dt="2022-07-26T16:08:11.914" v="94152"/>
          <ac:spMkLst>
            <pc:docMk/>
            <pc:sldMk cId="3728351360" sldId="722"/>
            <ac:spMk id="48" creationId="{5C83A923-83BD-421A-9B8C-074EE5160BDC}"/>
          </ac:spMkLst>
        </pc:spChg>
        <pc:spChg chg="add del mod modVis">
          <ac:chgData name="Matthäus Alberding" userId="89cdd4c9-d044-4ab4-9e6f-8f065e0119c4" providerId="ADAL" clId="{B6745356-B6CF-45AA-ADCC-AC8F740A00DA}" dt="2022-07-26T16:08:18.243" v="94253"/>
          <ac:spMkLst>
            <pc:docMk/>
            <pc:sldMk cId="3728351360" sldId="722"/>
            <ac:spMk id="49" creationId="{9FE34615-14CB-49D8-ADB6-24EE16D558A9}"/>
          </ac:spMkLst>
        </pc:spChg>
        <pc:spChg chg="add del mod modVis">
          <ac:chgData name="Matthäus Alberding" userId="89cdd4c9-d044-4ab4-9e6f-8f065e0119c4" providerId="ADAL" clId="{B6745356-B6CF-45AA-ADCC-AC8F740A00DA}" dt="2022-07-26T16:08:22.431" v="94320"/>
          <ac:spMkLst>
            <pc:docMk/>
            <pc:sldMk cId="3728351360" sldId="722"/>
            <ac:spMk id="50" creationId="{4E6C26C7-8C26-4BAD-B6F7-A7B9F7225D8A}"/>
          </ac:spMkLst>
        </pc:spChg>
        <pc:graphicFrameChg chg="mod">
          <ac:chgData name="Matthäus Alberding" userId="89cdd4c9-d044-4ab4-9e6f-8f065e0119c4" providerId="ADAL" clId="{B6745356-B6CF-45AA-ADCC-AC8F740A00DA}" dt="2022-07-27T06:37:32.320" v="96339"/>
          <ac:graphicFrameMkLst>
            <pc:docMk/>
            <pc:sldMk cId="3728351360" sldId="722"/>
            <ac:graphicFrameMk id="6" creationId="{17619F4C-4BEA-471F-B7B0-623407C2C224}"/>
          </ac:graphicFrameMkLst>
        </pc:graphicFrameChg>
        <pc:picChg chg="add del mod">
          <ac:chgData name="Matthäus Alberding" userId="89cdd4c9-d044-4ab4-9e6f-8f065e0119c4" providerId="ADAL" clId="{B6745356-B6CF-45AA-ADCC-AC8F740A00DA}" dt="2022-07-26T15:53:22.568" v="91508" actId="22"/>
          <ac:picMkLst>
            <pc:docMk/>
            <pc:sldMk cId="3728351360" sldId="722"/>
            <ac:picMk id="29" creationId="{06291C0B-05BF-4251-8F91-3D08481C8C2C}"/>
          </ac:picMkLst>
        </pc:picChg>
        <pc:picChg chg="add del mod">
          <ac:chgData name="Matthäus Alberding" userId="89cdd4c9-d044-4ab4-9e6f-8f065e0119c4" providerId="ADAL" clId="{B6745356-B6CF-45AA-ADCC-AC8F740A00DA}" dt="2022-07-26T15:58:40.581" v="92191" actId="478"/>
          <ac:picMkLst>
            <pc:docMk/>
            <pc:sldMk cId="3728351360" sldId="722"/>
            <ac:picMk id="31" creationId="{266E54D3-93F5-4267-8E23-43F2A4F9ACF6}"/>
          </ac:picMkLst>
        </pc:picChg>
        <pc:picChg chg="add mod">
          <ac:chgData name="Matthäus Alberding" userId="89cdd4c9-d044-4ab4-9e6f-8f065e0119c4" providerId="ADAL" clId="{B6745356-B6CF-45AA-ADCC-AC8F740A00DA}" dt="2022-07-26T16:03:17.587" v="92988" actId="1076"/>
          <ac:picMkLst>
            <pc:docMk/>
            <pc:sldMk cId="3728351360" sldId="722"/>
            <ac:picMk id="33" creationId="{B41E3F11-2FFC-4C62-9E16-4DAA43DA5822}"/>
          </ac:picMkLst>
        </pc:picChg>
        <pc:picChg chg="add mod">
          <ac:chgData name="Matthäus Alberding" userId="89cdd4c9-d044-4ab4-9e6f-8f065e0119c4" providerId="ADAL" clId="{B6745356-B6CF-45AA-ADCC-AC8F740A00DA}" dt="2022-07-26T15:58:47.117" v="92196" actId="14100"/>
          <ac:picMkLst>
            <pc:docMk/>
            <pc:sldMk cId="3728351360" sldId="722"/>
            <ac:picMk id="44" creationId="{5797B773-CA9E-42E2-B984-B149ED3857E7}"/>
          </ac:picMkLst>
        </pc:picChg>
      </pc:sldChg>
      <pc:sldChg chg="addSp delSp modSp new add mod">
        <pc:chgData name="Matthäus Alberding" userId="89cdd4c9-d044-4ab4-9e6f-8f065e0119c4" providerId="ADAL" clId="{B6745356-B6CF-45AA-ADCC-AC8F740A00DA}" dt="2022-07-27T06:44:50.861" v="97123" actId="1076"/>
        <pc:sldMkLst>
          <pc:docMk/>
          <pc:sldMk cId="2962889857" sldId="723"/>
        </pc:sldMkLst>
        <pc:spChg chg="mod">
          <ac:chgData name="Matthäus Alberding" userId="89cdd4c9-d044-4ab4-9e6f-8f065e0119c4" providerId="ADAL" clId="{B6745356-B6CF-45AA-ADCC-AC8F740A00DA}" dt="2022-07-27T06:34:12.907" v="95767" actId="20577"/>
          <ac:spMkLst>
            <pc:docMk/>
            <pc:sldMk cId="2962889857" sldId="723"/>
            <ac:spMk id="4" creationId="{DAE4A14D-F3F6-404F-A628-7920DA740939}"/>
          </ac:spMkLst>
        </pc:spChg>
        <pc:spChg chg="mod">
          <ac:chgData name="Matthäus Alberding" userId="89cdd4c9-d044-4ab4-9e6f-8f065e0119c4" providerId="ADAL" clId="{B6745356-B6CF-45AA-ADCC-AC8F740A00DA}" dt="2022-07-26T15:41:35.674" v="88665" actId="20577"/>
          <ac:spMkLst>
            <pc:docMk/>
            <pc:sldMk cId="2962889857" sldId="723"/>
            <ac:spMk id="5" creationId="{E79CCB16-B2E3-4477-815C-5B07796ED496}"/>
          </ac:spMkLst>
        </pc:spChg>
        <pc:spChg chg="add del mod modVis">
          <ac:chgData name="Matthäus Alberding" userId="89cdd4c9-d044-4ab4-9e6f-8f065e0119c4" providerId="ADAL" clId="{B6745356-B6CF-45AA-ADCC-AC8F740A00DA}" dt="2022-07-26T15:41:42.827" v="88754"/>
          <ac:spMkLst>
            <pc:docMk/>
            <pc:sldMk cId="2962889857" sldId="723"/>
            <ac:spMk id="6" creationId="{72C4D933-70C9-4106-8979-7F707A3FB270}"/>
          </ac:spMkLst>
        </pc:spChg>
        <pc:spChg chg="add del mod modVis">
          <ac:chgData name="Matthäus Alberding" userId="89cdd4c9-d044-4ab4-9e6f-8f065e0119c4" providerId="ADAL" clId="{B6745356-B6CF-45AA-ADCC-AC8F740A00DA}" dt="2022-07-27T06:34:12.906" v="95765" actId="962"/>
          <ac:spMkLst>
            <pc:docMk/>
            <pc:sldMk cId="2962889857" sldId="723"/>
            <ac:spMk id="6" creationId="{E1E06C38-7F96-4C11-A4C3-D7F9971FA136}"/>
          </ac:spMkLst>
        </pc:spChg>
        <pc:spChg chg="add del mod modVis">
          <ac:chgData name="Matthäus Alberding" userId="89cdd4c9-d044-4ab4-9e6f-8f065e0119c4" providerId="ADAL" clId="{B6745356-B6CF-45AA-ADCC-AC8F740A00DA}" dt="2022-07-27T06:34:11.866" v="95723" actId="962"/>
          <ac:spMkLst>
            <pc:docMk/>
            <pc:sldMk cId="2962889857" sldId="723"/>
            <ac:spMk id="8" creationId="{0EB5C502-EA77-4AD7-95AE-3F4EF7F7E3E3}"/>
          </ac:spMkLst>
        </pc:spChg>
        <pc:spChg chg="add del mod modVis">
          <ac:chgData name="Matthäus Alberding" userId="89cdd4c9-d044-4ab4-9e6f-8f065e0119c4" providerId="ADAL" clId="{B6745356-B6CF-45AA-ADCC-AC8F740A00DA}" dt="2022-07-26T15:41:48.418" v="88815"/>
          <ac:spMkLst>
            <pc:docMk/>
            <pc:sldMk cId="2962889857" sldId="723"/>
            <ac:spMk id="8" creationId="{3744FF75-4867-43A5-A5ED-CCFB015BD3FA}"/>
          </ac:spMkLst>
        </pc:spChg>
        <pc:spChg chg="add del mod modVis">
          <ac:chgData name="Matthäus Alberding" userId="89cdd4c9-d044-4ab4-9e6f-8f065e0119c4" providerId="ADAL" clId="{B6745356-B6CF-45AA-ADCC-AC8F740A00DA}" dt="2022-07-26T15:41:50.882" v="88858"/>
          <ac:spMkLst>
            <pc:docMk/>
            <pc:sldMk cId="2962889857" sldId="723"/>
            <ac:spMk id="9" creationId="{EC30F102-ECB1-40AA-9941-EAAC7AB89ED1}"/>
          </ac:spMkLst>
        </pc:spChg>
        <pc:spChg chg="add del mod modVis">
          <ac:chgData name="Matthäus Alberding" userId="89cdd4c9-d044-4ab4-9e6f-8f065e0119c4" providerId="ADAL" clId="{B6745356-B6CF-45AA-ADCC-AC8F740A00DA}" dt="2022-07-27T06:34:11.501" v="95681" actId="962"/>
          <ac:spMkLst>
            <pc:docMk/>
            <pc:sldMk cId="2962889857" sldId="723"/>
            <ac:spMk id="9" creationId="{F93DD3BE-5677-4871-9418-E5F035841D1E}"/>
          </ac:spMkLst>
        </pc:spChg>
        <pc:spChg chg="add del mod modVis">
          <ac:chgData name="Matthäus Alberding" userId="89cdd4c9-d044-4ab4-9e6f-8f065e0119c4" providerId="ADAL" clId="{B6745356-B6CF-45AA-ADCC-AC8F740A00DA}" dt="2022-07-27T06:34:11.188" v="95636" actId="962"/>
          <ac:spMkLst>
            <pc:docMk/>
            <pc:sldMk cId="2962889857" sldId="723"/>
            <ac:spMk id="10" creationId="{02252BD7-B2A6-4B5D-9CC7-1B33CC489392}"/>
          </ac:spMkLst>
        </pc:spChg>
        <pc:spChg chg="add del mod modVis">
          <ac:chgData name="Matthäus Alberding" userId="89cdd4c9-d044-4ab4-9e6f-8f065e0119c4" providerId="ADAL" clId="{B6745356-B6CF-45AA-ADCC-AC8F740A00DA}" dt="2022-07-26T15:41:53.551" v="88931"/>
          <ac:spMkLst>
            <pc:docMk/>
            <pc:sldMk cId="2962889857" sldId="723"/>
            <ac:spMk id="10" creationId="{19969326-D963-4BA9-AC15-C52C47FB62ED}"/>
          </ac:spMkLst>
        </pc:spChg>
        <pc:spChg chg="add del mod modVis">
          <ac:chgData name="Matthäus Alberding" userId="89cdd4c9-d044-4ab4-9e6f-8f065e0119c4" providerId="ADAL" clId="{B6745356-B6CF-45AA-ADCC-AC8F740A00DA}" dt="2022-07-27T06:34:10.987" v="95589" actId="962"/>
          <ac:spMkLst>
            <pc:docMk/>
            <pc:sldMk cId="2962889857" sldId="723"/>
            <ac:spMk id="11" creationId="{6BDCC913-3493-4256-AEFA-04FBFA11CBBF}"/>
          </ac:spMkLst>
        </pc:spChg>
        <pc:spChg chg="add del mod modVis">
          <ac:chgData name="Matthäus Alberding" userId="89cdd4c9-d044-4ab4-9e6f-8f065e0119c4" providerId="ADAL" clId="{B6745356-B6CF-45AA-ADCC-AC8F740A00DA}" dt="2022-07-26T15:41:57.400" v="88989"/>
          <ac:spMkLst>
            <pc:docMk/>
            <pc:sldMk cId="2962889857" sldId="723"/>
            <ac:spMk id="11" creationId="{88E5EF51-1D3D-4A70-8AAB-0A36A80C259F}"/>
          </ac:spMkLst>
        </pc:spChg>
        <pc:spChg chg="add del mod modVis">
          <ac:chgData name="Matthäus Alberding" userId="89cdd4c9-d044-4ab4-9e6f-8f065e0119c4" providerId="ADAL" clId="{B6745356-B6CF-45AA-ADCC-AC8F740A00DA}" dt="2022-07-26T15:42:03.780" v="89044"/>
          <ac:spMkLst>
            <pc:docMk/>
            <pc:sldMk cId="2962889857" sldId="723"/>
            <ac:spMk id="12" creationId="{365C5912-742D-4A44-885F-60F5F6DC6640}"/>
          </ac:spMkLst>
        </pc:spChg>
        <pc:spChg chg="add del mod modVis">
          <ac:chgData name="Matthäus Alberding" userId="89cdd4c9-d044-4ab4-9e6f-8f065e0119c4" providerId="ADAL" clId="{B6745356-B6CF-45AA-ADCC-AC8F740A00DA}" dt="2022-07-27T06:34:10.808" v="95547" actId="962"/>
          <ac:spMkLst>
            <pc:docMk/>
            <pc:sldMk cId="2962889857" sldId="723"/>
            <ac:spMk id="12" creationId="{B2FD5FF8-DA2F-4F2A-B4E1-AF21F1D4F417}"/>
          </ac:spMkLst>
        </pc:spChg>
        <pc:spChg chg="add del mod modVis">
          <ac:chgData name="Matthäus Alberding" userId="89cdd4c9-d044-4ab4-9e6f-8f065e0119c4" providerId="ADAL" clId="{B6745356-B6CF-45AA-ADCC-AC8F740A00DA}" dt="2022-07-26T15:42:08.113" v="89093"/>
          <ac:spMkLst>
            <pc:docMk/>
            <pc:sldMk cId="2962889857" sldId="723"/>
            <ac:spMk id="13" creationId="{7E957367-8632-4E9A-9C70-B6670B84E35A}"/>
          </ac:spMkLst>
        </pc:spChg>
        <pc:spChg chg="add del mod modVis">
          <ac:chgData name="Matthäus Alberding" userId="89cdd4c9-d044-4ab4-9e6f-8f065e0119c4" providerId="ADAL" clId="{B6745356-B6CF-45AA-ADCC-AC8F740A00DA}" dt="2022-07-27T06:34:10.640" v="95505" actId="962"/>
          <ac:spMkLst>
            <pc:docMk/>
            <pc:sldMk cId="2962889857" sldId="723"/>
            <ac:spMk id="13" creationId="{E0C59890-B252-4357-905A-47EA60869399}"/>
          </ac:spMkLst>
        </pc:spChg>
        <pc:spChg chg="add del mod modVis">
          <ac:chgData name="Matthäus Alberding" userId="89cdd4c9-d044-4ab4-9e6f-8f065e0119c4" providerId="ADAL" clId="{B6745356-B6CF-45AA-ADCC-AC8F740A00DA}" dt="2022-07-26T15:42:10.281" v="89138"/>
          <ac:spMkLst>
            <pc:docMk/>
            <pc:sldMk cId="2962889857" sldId="723"/>
            <ac:spMk id="14" creationId="{2E00D85F-5967-40E6-9B17-371D76D73CC7}"/>
          </ac:spMkLst>
        </pc:spChg>
        <pc:spChg chg="add del mod modVis">
          <ac:chgData name="Matthäus Alberding" userId="89cdd4c9-d044-4ab4-9e6f-8f065e0119c4" providerId="ADAL" clId="{B6745356-B6CF-45AA-ADCC-AC8F740A00DA}" dt="2022-07-26T15:42:11.348" v="89183"/>
          <ac:spMkLst>
            <pc:docMk/>
            <pc:sldMk cId="2962889857" sldId="723"/>
            <ac:spMk id="15" creationId="{4FED97FD-07EB-4E00-96EC-F5633E4B7397}"/>
          </ac:spMkLst>
        </pc:spChg>
        <pc:spChg chg="add del mod modVis">
          <ac:chgData name="Matthäus Alberding" userId="89cdd4c9-d044-4ab4-9e6f-8f065e0119c4" providerId="ADAL" clId="{B6745356-B6CF-45AA-ADCC-AC8F740A00DA}" dt="2022-07-26T15:42:15.463" v="89254"/>
          <ac:spMkLst>
            <pc:docMk/>
            <pc:sldMk cId="2962889857" sldId="723"/>
            <ac:spMk id="16" creationId="{8E3680B1-6D4E-4707-99E6-7DAFAE32C941}"/>
          </ac:spMkLst>
        </pc:spChg>
        <pc:spChg chg="add del mod modVis">
          <ac:chgData name="Matthäus Alberding" userId="89cdd4c9-d044-4ab4-9e6f-8f065e0119c4" providerId="ADAL" clId="{B6745356-B6CF-45AA-ADCC-AC8F740A00DA}" dt="2022-07-26T15:42:16.547" v="89300"/>
          <ac:spMkLst>
            <pc:docMk/>
            <pc:sldMk cId="2962889857" sldId="723"/>
            <ac:spMk id="17" creationId="{AFB99DF5-77A8-43B9-9233-3F17CAD5D8D7}"/>
          </ac:spMkLst>
        </pc:spChg>
        <pc:spChg chg="add del mod modVis">
          <ac:chgData name="Matthäus Alberding" userId="89cdd4c9-d044-4ab4-9e6f-8f065e0119c4" providerId="ADAL" clId="{B6745356-B6CF-45AA-ADCC-AC8F740A00DA}" dt="2022-07-26T15:42:17.445" v="89347"/>
          <ac:spMkLst>
            <pc:docMk/>
            <pc:sldMk cId="2962889857" sldId="723"/>
            <ac:spMk id="18" creationId="{7D8F494A-77AE-43C9-BFCA-B4D7BC50F46A}"/>
          </ac:spMkLst>
        </pc:spChg>
        <pc:spChg chg="add del mod modVis">
          <ac:chgData name="Matthäus Alberding" userId="89cdd4c9-d044-4ab4-9e6f-8f065e0119c4" providerId="ADAL" clId="{B6745356-B6CF-45AA-ADCC-AC8F740A00DA}" dt="2022-07-26T15:42:21.586" v="89398"/>
          <ac:spMkLst>
            <pc:docMk/>
            <pc:sldMk cId="2962889857" sldId="723"/>
            <ac:spMk id="19" creationId="{2B62336B-B89E-4503-8D9C-EDD711BA2E89}"/>
          </ac:spMkLst>
        </pc:spChg>
        <pc:spChg chg="add del mod modVis">
          <ac:chgData name="Matthäus Alberding" userId="89cdd4c9-d044-4ab4-9e6f-8f065e0119c4" providerId="ADAL" clId="{B6745356-B6CF-45AA-ADCC-AC8F740A00DA}" dt="2022-07-26T15:42:24.216" v="89449"/>
          <ac:spMkLst>
            <pc:docMk/>
            <pc:sldMk cId="2962889857" sldId="723"/>
            <ac:spMk id="20" creationId="{E2ADE9AA-2E24-4016-AA0A-3B9FB45A21A7}"/>
          </ac:spMkLst>
        </pc:spChg>
        <pc:spChg chg="add del mod modVis">
          <ac:chgData name="Matthäus Alberding" userId="89cdd4c9-d044-4ab4-9e6f-8f065e0119c4" providerId="ADAL" clId="{B6745356-B6CF-45AA-ADCC-AC8F740A00DA}" dt="2022-07-26T15:42:27.703" v="89492"/>
          <ac:spMkLst>
            <pc:docMk/>
            <pc:sldMk cId="2962889857" sldId="723"/>
            <ac:spMk id="21" creationId="{21069837-C91E-49DC-92A7-D6D4D5951385}"/>
          </ac:spMkLst>
        </pc:spChg>
        <pc:spChg chg="mod">
          <ac:chgData name="Matthäus Alberding" userId="89cdd4c9-d044-4ab4-9e6f-8f065e0119c4" providerId="ADAL" clId="{B6745356-B6CF-45AA-ADCC-AC8F740A00DA}" dt="2022-07-26T15:44:22.099" v="89557" actId="20577"/>
          <ac:spMkLst>
            <pc:docMk/>
            <pc:sldMk cId="2962889857" sldId="723"/>
            <ac:spMk id="25" creationId="{00278860-021A-4B1B-A92E-F7A000E806A5}"/>
          </ac:spMkLst>
        </pc:spChg>
        <pc:spChg chg="mod">
          <ac:chgData name="Matthäus Alberding" userId="89cdd4c9-d044-4ab4-9e6f-8f065e0119c4" providerId="ADAL" clId="{B6745356-B6CF-45AA-ADCC-AC8F740A00DA}" dt="2022-07-27T06:36:19.548" v="96108" actId="20577"/>
          <ac:spMkLst>
            <pc:docMk/>
            <pc:sldMk cId="2962889857" sldId="723"/>
            <ac:spMk id="26" creationId="{ABE72734-BDEC-4B0C-AB1D-EE299C9C642E}"/>
          </ac:spMkLst>
        </pc:spChg>
        <pc:spChg chg="mod">
          <ac:chgData name="Matthäus Alberding" userId="89cdd4c9-d044-4ab4-9e6f-8f065e0119c4" providerId="ADAL" clId="{B6745356-B6CF-45AA-ADCC-AC8F740A00DA}" dt="2022-07-26T15:46:11.702" v="89932" actId="20577"/>
          <ac:spMkLst>
            <pc:docMk/>
            <pc:sldMk cId="2962889857" sldId="723"/>
            <ac:spMk id="33" creationId="{DDC1D28A-806D-4625-9690-E8AC27B35FB5}"/>
          </ac:spMkLst>
        </pc:spChg>
        <pc:spChg chg="mod">
          <ac:chgData name="Matthäus Alberding" userId="89cdd4c9-d044-4ab4-9e6f-8f065e0119c4" providerId="ADAL" clId="{B6745356-B6CF-45AA-ADCC-AC8F740A00DA}" dt="2022-07-27T06:44:33.961" v="97120" actId="20577"/>
          <ac:spMkLst>
            <pc:docMk/>
            <pc:sldMk cId="2962889857" sldId="723"/>
            <ac:spMk id="34" creationId="{352CF8CA-4765-49C9-8863-53AC97657BE5}"/>
          </ac:spMkLst>
        </pc:spChg>
        <pc:grpChg chg="add mod">
          <ac:chgData name="Matthäus Alberding" userId="89cdd4c9-d044-4ab4-9e6f-8f065e0119c4" providerId="ADAL" clId="{B6745356-B6CF-45AA-ADCC-AC8F740A00DA}" dt="2022-07-27T06:44:50.861" v="97123" actId="1076"/>
          <ac:grpSpMkLst>
            <pc:docMk/>
            <pc:sldMk cId="2962889857" sldId="723"/>
            <ac:grpSpMk id="24" creationId="{6AC05B7C-9085-4BAF-AB12-D0ED34A5FA8C}"/>
          </ac:grpSpMkLst>
        </pc:grpChg>
        <pc:grpChg chg="add mod">
          <ac:chgData name="Matthäus Alberding" userId="89cdd4c9-d044-4ab4-9e6f-8f065e0119c4" providerId="ADAL" clId="{B6745356-B6CF-45AA-ADCC-AC8F740A00DA}" dt="2022-07-27T06:44:40.735" v="97121" actId="1076"/>
          <ac:grpSpMkLst>
            <pc:docMk/>
            <pc:sldMk cId="2962889857" sldId="723"/>
            <ac:grpSpMk id="31" creationId="{D15DBB72-0CE0-4220-BB46-65EC2D9D826E}"/>
          </ac:grpSpMkLst>
        </pc:grpChg>
        <pc:grpChg chg="add mod">
          <ac:chgData name="Matthäus Alberding" userId="89cdd4c9-d044-4ab4-9e6f-8f065e0119c4" providerId="ADAL" clId="{B6745356-B6CF-45AA-ADCC-AC8F740A00DA}" dt="2022-07-27T06:44:42.785" v="97122" actId="1076"/>
          <ac:grpSpMkLst>
            <pc:docMk/>
            <pc:sldMk cId="2962889857" sldId="723"/>
            <ac:grpSpMk id="32" creationId="{F2D259EE-4B72-4B5E-A871-EFA90A88CE6C}"/>
          </ac:grpSpMkLst>
        </pc:grpChg>
        <pc:graphicFrameChg chg="add mod ord modVis">
          <ac:chgData name="Matthäus Alberding" userId="89cdd4c9-d044-4ab4-9e6f-8f065e0119c4" providerId="ADAL" clId="{B6745356-B6CF-45AA-ADCC-AC8F740A00DA}" dt="2022-07-27T06:34:12.913" v="95769"/>
          <ac:graphicFrameMkLst>
            <pc:docMk/>
            <pc:sldMk cId="2962889857" sldId="723"/>
            <ac:graphicFrameMk id="7" creationId="{F7C2CEA8-CFC0-4C43-9888-7AE87EAA95C1}"/>
          </ac:graphicFrameMkLst>
        </pc:graphicFrameChg>
        <pc:picChg chg="add mod">
          <ac:chgData name="Matthäus Alberding" userId="89cdd4c9-d044-4ab4-9e6f-8f065e0119c4" providerId="ADAL" clId="{B6745356-B6CF-45AA-ADCC-AC8F740A00DA}" dt="2022-07-26T15:44:07.933" v="89504" actId="1076"/>
          <ac:picMkLst>
            <pc:docMk/>
            <pc:sldMk cId="2962889857" sldId="723"/>
            <ac:picMk id="23" creationId="{11380BBF-69CF-43D8-812D-9B0FEC5CAFA6}"/>
          </ac:picMkLst>
        </pc:picChg>
        <pc:picChg chg="add mod">
          <ac:chgData name="Matthäus Alberding" userId="89cdd4c9-d044-4ab4-9e6f-8f065e0119c4" providerId="ADAL" clId="{B6745356-B6CF-45AA-ADCC-AC8F740A00DA}" dt="2022-07-26T15:45:56.671" v="89894" actId="164"/>
          <ac:picMkLst>
            <pc:docMk/>
            <pc:sldMk cId="2962889857" sldId="723"/>
            <ac:picMk id="27" creationId="{096216D3-CC64-45AB-A93F-98681360114E}"/>
          </ac:picMkLst>
        </pc:picChg>
        <pc:picChg chg="add mod">
          <ac:chgData name="Matthäus Alberding" userId="89cdd4c9-d044-4ab4-9e6f-8f065e0119c4" providerId="ADAL" clId="{B6745356-B6CF-45AA-ADCC-AC8F740A00DA}" dt="2022-07-26T15:45:56.671" v="89894" actId="164"/>
          <ac:picMkLst>
            <pc:docMk/>
            <pc:sldMk cId="2962889857" sldId="723"/>
            <ac:picMk id="28" creationId="{4A7D5FB1-74DD-4F24-A9DA-E4B77169EFF0}"/>
          </ac:picMkLst>
        </pc:picChg>
        <pc:picChg chg="add mod">
          <ac:chgData name="Matthäus Alberding" userId="89cdd4c9-d044-4ab4-9e6f-8f065e0119c4" providerId="ADAL" clId="{B6745356-B6CF-45AA-ADCC-AC8F740A00DA}" dt="2022-07-26T15:45:56.671" v="89894" actId="164"/>
          <ac:picMkLst>
            <pc:docMk/>
            <pc:sldMk cId="2962889857" sldId="723"/>
            <ac:picMk id="29" creationId="{CE7A7FF1-BBDC-4A61-9295-D435DFAD025D}"/>
          </ac:picMkLst>
        </pc:picChg>
        <pc:picChg chg="add mod">
          <ac:chgData name="Matthäus Alberding" userId="89cdd4c9-d044-4ab4-9e6f-8f065e0119c4" providerId="ADAL" clId="{B6745356-B6CF-45AA-ADCC-AC8F740A00DA}" dt="2022-07-26T15:45:56.671" v="89894" actId="164"/>
          <ac:picMkLst>
            <pc:docMk/>
            <pc:sldMk cId="2962889857" sldId="723"/>
            <ac:picMk id="30" creationId="{3B5B31F6-06EC-4178-8A7B-3063FDB7D84B}"/>
          </ac:picMkLst>
        </pc:picChg>
      </pc:sldChg>
      <pc:sldChg chg="addSp delSp modSp add del mod">
        <pc:chgData name="Matthäus Alberding" userId="89cdd4c9-d044-4ab4-9e6f-8f065e0119c4" providerId="ADAL" clId="{B6745356-B6CF-45AA-ADCC-AC8F740A00DA}" dt="2022-07-26T16:07:59.146" v="94089" actId="47"/>
        <pc:sldMkLst>
          <pc:docMk/>
          <pc:sldMk cId="780421226" sldId="724"/>
        </pc:sldMkLst>
        <pc:spChg chg="add del mod modVis">
          <ac:chgData name="Matthäus Alberding" userId="89cdd4c9-d044-4ab4-9e6f-8f065e0119c4" providerId="ADAL" clId="{B6745356-B6CF-45AA-ADCC-AC8F740A00DA}" dt="2022-07-26T16:06:52.170" v="93704"/>
          <ac:spMkLst>
            <pc:docMk/>
            <pc:sldMk cId="780421226" sldId="724"/>
            <ac:spMk id="4" creationId="{2F14AC21-C2BF-49C2-A02E-5C025C370E20}"/>
          </ac:spMkLst>
        </pc:spChg>
        <pc:spChg chg="del">
          <ac:chgData name="Matthäus Alberding" userId="89cdd4c9-d044-4ab4-9e6f-8f065e0119c4" providerId="ADAL" clId="{B6745356-B6CF-45AA-ADCC-AC8F740A00DA}" dt="2022-07-26T16:07:28.515" v="94088" actId="478"/>
          <ac:spMkLst>
            <pc:docMk/>
            <pc:sldMk cId="780421226" sldId="724"/>
            <ac:spMk id="5" creationId="{14D57165-C4F4-4311-87C9-C4AD5C0FBF8D}"/>
          </ac:spMkLst>
        </pc:spChg>
        <pc:spChg chg="add del mod modVis">
          <ac:chgData name="Matthäus Alberding" userId="89cdd4c9-d044-4ab4-9e6f-8f065e0119c4" providerId="ADAL" clId="{B6745356-B6CF-45AA-ADCC-AC8F740A00DA}" dt="2022-07-26T16:06:57.719" v="93775"/>
          <ac:spMkLst>
            <pc:docMk/>
            <pc:sldMk cId="780421226" sldId="724"/>
            <ac:spMk id="7" creationId="{C0B253BD-F587-4544-86D9-698443488AC7}"/>
          </ac:spMkLst>
        </pc:spChg>
        <pc:spChg chg="mod">
          <ac:chgData name="Matthäus Alberding" userId="89cdd4c9-d044-4ab4-9e6f-8f065e0119c4" providerId="ADAL" clId="{B6745356-B6CF-45AA-ADCC-AC8F740A00DA}" dt="2022-07-26T16:07:22.979" v="94046" actId="948"/>
          <ac:spMkLst>
            <pc:docMk/>
            <pc:sldMk cId="780421226" sldId="724"/>
            <ac:spMk id="8" creationId="{E636D16C-7382-4A28-BE63-5DBBEE2B7662}"/>
          </ac:spMkLst>
        </pc:spChg>
        <pc:spChg chg="add del mod modVis">
          <ac:chgData name="Matthäus Alberding" userId="89cdd4c9-d044-4ab4-9e6f-8f065e0119c4" providerId="ADAL" clId="{B6745356-B6CF-45AA-ADCC-AC8F740A00DA}" dt="2022-07-26T16:07:00.988" v="93819"/>
          <ac:spMkLst>
            <pc:docMk/>
            <pc:sldMk cId="780421226" sldId="724"/>
            <ac:spMk id="9" creationId="{A6DB8D5D-25F8-431C-AE95-5000F6546879}"/>
          </ac:spMkLst>
        </pc:spChg>
        <pc:spChg chg="add del mod modVis">
          <ac:chgData name="Matthäus Alberding" userId="89cdd4c9-d044-4ab4-9e6f-8f065e0119c4" providerId="ADAL" clId="{B6745356-B6CF-45AA-ADCC-AC8F740A00DA}" dt="2022-07-26T16:07:03.024" v="93866"/>
          <ac:spMkLst>
            <pc:docMk/>
            <pc:sldMk cId="780421226" sldId="724"/>
            <ac:spMk id="10" creationId="{CB7BDBEE-0ECF-42B8-AA3D-7F6CD24EBC88}"/>
          </ac:spMkLst>
        </pc:spChg>
        <pc:spChg chg="add del mod modVis">
          <ac:chgData name="Matthäus Alberding" userId="89cdd4c9-d044-4ab4-9e6f-8f065e0119c4" providerId="ADAL" clId="{B6745356-B6CF-45AA-ADCC-AC8F740A00DA}" dt="2022-07-26T16:07:09.358" v="93938"/>
          <ac:spMkLst>
            <pc:docMk/>
            <pc:sldMk cId="780421226" sldId="724"/>
            <ac:spMk id="11" creationId="{FE317CA2-5DA6-4A9A-92F4-8DE140CF079B}"/>
          </ac:spMkLst>
        </pc:spChg>
        <pc:spChg chg="add del mod modVis">
          <ac:chgData name="Matthäus Alberding" userId="89cdd4c9-d044-4ab4-9e6f-8f065e0119c4" providerId="ADAL" clId="{B6745356-B6CF-45AA-ADCC-AC8F740A00DA}" dt="2022-07-26T16:07:14.642" v="93990"/>
          <ac:spMkLst>
            <pc:docMk/>
            <pc:sldMk cId="780421226" sldId="724"/>
            <ac:spMk id="12" creationId="{018E1A28-B688-4F54-8732-5336242B6D80}"/>
          </ac:spMkLst>
        </pc:spChg>
        <pc:spChg chg="add del mod modVis">
          <ac:chgData name="Matthäus Alberding" userId="89cdd4c9-d044-4ab4-9e6f-8f065e0119c4" providerId="ADAL" clId="{B6745356-B6CF-45AA-ADCC-AC8F740A00DA}" dt="2022-07-26T16:07:17.048" v="94037"/>
          <ac:spMkLst>
            <pc:docMk/>
            <pc:sldMk cId="780421226" sldId="724"/>
            <ac:spMk id="13" creationId="{BE4F47BE-A46B-4DA9-B942-E44B978AB622}"/>
          </ac:spMkLst>
        </pc:spChg>
        <pc:spChg chg="add del mod modVis">
          <ac:chgData name="Matthäus Alberding" userId="89cdd4c9-d044-4ab4-9e6f-8f065e0119c4" providerId="ADAL" clId="{B6745356-B6CF-45AA-ADCC-AC8F740A00DA}" dt="2022-07-26T16:07:22.999" v="94085"/>
          <ac:spMkLst>
            <pc:docMk/>
            <pc:sldMk cId="780421226" sldId="724"/>
            <ac:spMk id="14" creationId="{F3AA0BE7-A45C-427C-A6CD-2DD1F41D410C}"/>
          </ac:spMkLst>
        </pc:spChg>
        <pc:spChg chg="add mod">
          <ac:chgData name="Matthäus Alberding" userId="89cdd4c9-d044-4ab4-9e6f-8f065e0119c4" providerId="ADAL" clId="{B6745356-B6CF-45AA-ADCC-AC8F740A00DA}" dt="2022-07-26T16:07:28.515" v="94088" actId="478"/>
          <ac:spMkLst>
            <pc:docMk/>
            <pc:sldMk cId="780421226" sldId="724"/>
            <ac:spMk id="16" creationId="{8FB79A4E-C430-4013-92A4-904E8ACCF1DF}"/>
          </ac:spMkLst>
        </pc:spChg>
        <pc:spChg chg="add mod">
          <ac:chgData name="Matthäus Alberding" userId="89cdd4c9-d044-4ab4-9e6f-8f065e0119c4" providerId="ADAL" clId="{B6745356-B6CF-45AA-ADCC-AC8F740A00DA}" dt="2022-07-26T16:07:28.515" v="94088" actId="478"/>
          <ac:spMkLst>
            <pc:docMk/>
            <pc:sldMk cId="780421226" sldId="724"/>
            <ac:spMk id="18" creationId="{6EE12841-5270-436C-9524-5743B312C929}"/>
          </ac:spMkLst>
        </pc:spChg>
        <pc:spChg chg="add mod">
          <ac:chgData name="Matthäus Alberding" userId="89cdd4c9-d044-4ab4-9e6f-8f065e0119c4" providerId="ADAL" clId="{B6745356-B6CF-45AA-ADCC-AC8F740A00DA}" dt="2022-07-26T16:07:28.515" v="94088" actId="478"/>
          <ac:spMkLst>
            <pc:docMk/>
            <pc:sldMk cId="780421226" sldId="724"/>
            <ac:spMk id="20" creationId="{9163CBC7-DC5C-41B9-893B-89969DD86829}"/>
          </ac:spMkLst>
        </pc:spChg>
        <pc:spChg chg="add mod">
          <ac:chgData name="Matthäus Alberding" userId="89cdd4c9-d044-4ab4-9e6f-8f065e0119c4" providerId="ADAL" clId="{B6745356-B6CF-45AA-ADCC-AC8F740A00DA}" dt="2022-07-26T16:07:28.515" v="94088" actId="478"/>
          <ac:spMkLst>
            <pc:docMk/>
            <pc:sldMk cId="780421226" sldId="724"/>
            <ac:spMk id="22" creationId="{068A55DF-4B2B-419B-BC14-6F4360B37287}"/>
          </ac:spMkLst>
        </pc:spChg>
        <pc:spChg chg="del">
          <ac:chgData name="Matthäus Alberding" userId="89cdd4c9-d044-4ab4-9e6f-8f065e0119c4" providerId="ADAL" clId="{B6745356-B6CF-45AA-ADCC-AC8F740A00DA}" dt="2022-07-26T16:07:28.515" v="94088" actId="478"/>
          <ac:spMkLst>
            <pc:docMk/>
            <pc:sldMk cId="780421226" sldId="724"/>
            <ac:spMk id="24" creationId="{48BFA2BA-9DFD-46B5-B3D1-1D728098EB7C}"/>
          </ac:spMkLst>
        </pc:spChg>
        <pc:spChg chg="del">
          <ac:chgData name="Matthäus Alberding" userId="89cdd4c9-d044-4ab4-9e6f-8f065e0119c4" providerId="ADAL" clId="{B6745356-B6CF-45AA-ADCC-AC8F740A00DA}" dt="2022-07-26T16:07:28.515" v="94088" actId="478"/>
          <ac:spMkLst>
            <pc:docMk/>
            <pc:sldMk cId="780421226" sldId="724"/>
            <ac:spMk id="27" creationId="{A62886CF-D345-4F06-8F2F-0D11511630E4}"/>
          </ac:spMkLst>
        </pc:spChg>
        <pc:spChg chg="del">
          <ac:chgData name="Matthäus Alberding" userId="89cdd4c9-d044-4ab4-9e6f-8f065e0119c4" providerId="ADAL" clId="{B6745356-B6CF-45AA-ADCC-AC8F740A00DA}" dt="2022-07-26T16:07:28.515" v="94088" actId="478"/>
          <ac:spMkLst>
            <pc:docMk/>
            <pc:sldMk cId="780421226" sldId="724"/>
            <ac:spMk id="34" creationId="{68E82893-5F27-4C2B-8CAB-F3134535E186}"/>
          </ac:spMkLst>
        </pc:spChg>
        <pc:graphicFrameChg chg="mod">
          <ac:chgData name="Matthäus Alberding" userId="89cdd4c9-d044-4ab4-9e6f-8f065e0119c4" providerId="ADAL" clId="{B6745356-B6CF-45AA-ADCC-AC8F740A00DA}" dt="2022-07-26T16:07:23" v="94087"/>
          <ac:graphicFrameMkLst>
            <pc:docMk/>
            <pc:sldMk cId="780421226" sldId="724"/>
            <ac:graphicFrameMk id="6" creationId="{17619F4C-4BEA-471F-B7B0-623407C2C224}"/>
          </ac:graphicFrameMkLst>
        </pc:graphicFrameChg>
        <pc:picChg chg="del">
          <ac:chgData name="Matthäus Alberding" userId="89cdd4c9-d044-4ab4-9e6f-8f065e0119c4" providerId="ADAL" clId="{B6745356-B6CF-45AA-ADCC-AC8F740A00DA}" dt="2022-07-26T16:07:28.515" v="94088" actId="478"/>
          <ac:picMkLst>
            <pc:docMk/>
            <pc:sldMk cId="780421226" sldId="724"/>
            <ac:picMk id="33" creationId="{B41E3F11-2FFC-4C62-9E16-4DAA43DA5822}"/>
          </ac:picMkLst>
        </pc:picChg>
        <pc:picChg chg="del">
          <ac:chgData name="Matthäus Alberding" userId="89cdd4c9-d044-4ab4-9e6f-8f065e0119c4" providerId="ADAL" clId="{B6745356-B6CF-45AA-ADCC-AC8F740A00DA}" dt="2022-07-26T16:07:28.515" v="94088" actId="478"/>
          <ac:picMkLst>
            <pc:docMk/>
            <pc:sldMk cId="780421226" sldId="724"/>
            <ac:picMk id="44" creationId="{5797B773-CA9E-42E2-B984-B149ED3857E7}"/>
          </ac:picMkLst>
        </pc:picChg>
      </pc:sldChg>
      <pc:sldChg chg="addSp delSp modSp add del mod">
        <pc:chgData name="Matthäus Alberding" userId="89cdd4c9-d044-4ab4-9e6f-8f065e0119c4" providerId="ADAL" clId="{B6745356-B6CF-45AA-ADCC-AC8F740A00DA}" dt="2022-07-26T16:04:51.201" v="93313" actId="47"/>
        <pc:sldMkLst>
          <pc:docMk/>
          <pc:sldMk cId="1153115477" sldId="724"/>
        </pc:sldMkLst>
        <pc:spChg chg="add del mod modVis">
          <ac:chgData name="Matthäus Alberding" userId="89cdd4c9-d044-4ab4-9e6f-8f065e0119c4" providerId="ADAL" clId="{B6745356-B6CF-45AA-ADCC-AC8F740A00DA}" dt="2022-07-26T16:04:35.656" v="93091"/>
          <ac:spMkLst>
            <pc:docMk/>
            <pc:sldMk cId="1153115477" sldId="724"/>
            <ac:spMk id="4" creationId="{B3C3DC5E-CB86-4930-8080-7F0C7759B957}"/>
          </ac:spMkLst>
        </pc:spChg>
        <pc:spChg chg="add del mod modVis">
          <ac:chgData name="Matthäus Alberding" userId="89cdd4c9-d044-4ab4-9e6f-8f065e0119c4" providerId="ADAL" clId="{B6745356-B6CF-45AA-ADCC-AC8F740A00DA}" dt="2022-07-26T16:04:39.366" v="93181"/>
          <ac:spMkLst>
            <pc:docMk/>
            <pc:sldMk cId="1153115477" sldId="724"/>
            <ac:spMk id="7" creationId="{1075CD08-A9A2-444C-A2AD-E0FA690B6959}"/>
          </ac:spMkLst>
        </pc:spChg>
        <pc:spChg chg="mod">
          <ac:chgData name="Matthäus Alberding" userId="89cdd4c9-d044-4ab4-9e6f-8f065e0119c4" providerId="ADAL" clId="{B6745356-B6CF-45AA-ADCC-AC8F740A00DA}" dt="2022-07-26T16:04:47.473" v="93271" actId="948"/>
          <ac:spMkLst>
            <pc:docMk/>
            <pc:sldMk cId="1153115477" sldId="724"/>
            <ac:spMk id="8" creationId="{E636D16C-7382-4A28-BE63-5DBBEE2B7662}"/>
          </ac:spMkLst>
        </pc:spChg>
        <pc:spChg chg="add del mod modVis">
          <ac:chgData name="Matthäus Alberding" userId="89cdd4c9-d044-4ab4-9e6f-8f065e0119c4" providerId="ADAL" clId="{B6745356-B6CF-45AA-ADCC-AC8F740A00DA}" dt="2022-07-26T16:04:43.174" v="93249"/>
          <ac:spMkLst>
            <pc:docMk/>
            <pc:sldMk cId="1153115477" sldId="724"/>
            <ac:spMk id="9" creationId="{967158DB-B133-4A6D-9897-8B206C469C98}"/>
          </ac:spMkLst>
        </pc:spChg>
        <pc:spChg chg="add del mod modVis">
          <ac:chgData name="Matthäus Alberding" userId="89cdd4c9-d044-4ab4-9e6f-8f065e0119c4" providerId="ADAL" clId="{B6745356-B6CF-45AA-ADCC-AC8F740A00DA}" dt="2022-07-26T16:04:47.491" v="93310"/>
          <ac:spMkLst>
            <pc:docMk/>
            <pc:sldMk cId="1153115477" sldId="724"/>
            <ac:spMk id="10" creationId="{0B112DE8-D7C9-4D6A-B197-AB1101272E70}"/>
          </ac:spMkLst>
        </pc:spChg>
        <pc:graphicFrameChg chg="mod">
          <ac:chgData name="Matthäus Alberding" userId="89cdd4c9-d044-4ab4-9e6f-8f065e0119c4" providerId="ADAL" clId="{B6745356-B6CF-45AA-ADCC-AC8F740A00DA}" dt="2022-07-26T16:04:47.492" v="93312"/>
          <ac:graphicFrameMkLst>
            <pc:docMk/>
            <pc:sldMk cId="1153115477" sldId="724"/>
            <ac:graphicFrameMk id="6" creationId="{17619F4C-4BEA-471F-B7B0-623407C2C224}"/>
          </ac:graphicFrameMkLst>
        </pc:graphicFrameChg>
      </pc:sldChg>
      <pc:sldChg chg="addSp delSp modSp new add del mod modTransition modClrScheme modShow chgLayout">
        <pc:chgData name="Matthäus Alberding" userId="89cdd4c9-d044-4ab4-9e6f-8f065e0119c4" providerId="ADAL" clId="{B6745356-B6CF-45AA-ADCC-AC8F740A00DA}" dt="2022-07-27T06:56:24.850" v="98256" actId="47"/>
        <pc:sldMkLst>
          <pc:docMk/>
          <pc:sldMk cId="1758289484" sldId="724"/>
        </pc:sldMkLst>
        <pc:spChg chg="mod ord">
          <ac:chgData name="Matthäus Alberding" userId="89cdd4c9-d044-4ab4-9e6f-8f065e0119c4" providerId="ADAL" clId="{B6745356-B6CF-45AA-ADCC-AC8F740A00DA}" dt="2022-07-26T16:25:44.860" v="94327"/>
          <ac:spMkLst>
            <pc:docMk/>
            <pc:sldMk cId="1758289484" sldId="724"/>
            <ac:spMk id="2" creationId="{21EEB949-28F9-4C23-8EC1-97E6D6E416A6}"/>
          </ac:spMkLst>
        </pc:spChg>
        <pc:spChg chg="mod ord">
          <ac:chgData name="Matthäus Alberding" userId="89cdd4c9-d044-4ab4-9e6f-8f065e0119c4" providerId="ADAL" clId="{B6745356-B6CF-45AA-ADCC-AC8F740A00DA}" dt="2022-07-26T16:25:44.860" v="94327"/>
          <ac:spMkLst>
            <pc:docMk/>
            <pc:sldMk cId="1758289484" sldId="724"/>
            <ac:spMk id="3" creationId="{E0F5E2A7-82A1-46A9-A054-9FD07EB1FC18}"/>
          </ac:spMkLst>
        </pc:spChg>
        <pc:spChg chg="del mod ord">
          <ac:chgData name="Matthäus Alberding" userId="89cdd4c9-d044-4ab4-9e6f-8f065e0119c4" providerId="ADAL" clId="{B6745356-B6CF-45AA-ADCC-AC8F740A00DA}" dt="2022-07-26T16:25:44.860" v="94327"/>
          <ac:spMkLst>
            <pc:docMk/>
            <pc:sldMk cId="1758289484" sldId="724"/>
            <ac:spMk id="4" creationId="{F0729B9E-63BE-4F25-9FDD-9ABB9D67C7A7}"/>
          </ac:spMkLst>
        </pc:spChg>
        <pc:spChg chg="del">
          <ac:chgData name="Matthäus Alberding" userId="89cdd4c9-d044-4ab4-9e6f-8f065e0119c4" providerId="ADAL" clId="{B6745356-B6CF-45AA-ADCC-AC8F740A00DA}" dt="2022-07-26T16:25:44.860" v="94327"/>
          <ac:spMkLst>
            <pc:docMk/>
            <pc:sldMk cId="1758289484" sldId="724"/>
            <ac:spMk id="5" creationId="{F1DB20B6-B46B-4EBB-AE53-FE3B9BE9BC2F}"/>
          </ac:spMkLst>
        </pc:spChg>
        <pc:spChg chg="del mod">
          <ac:chgData name="Matthäus Alberding" userId="89cdd4c9-d044-4ab4-9e6f-8f065e0119c4" providerId="ADAL" clId="{B6745356-B6CF-45AA-ADCC-AC8F740A00DA}" dt="2022-07-26T16:25:44.860" v="94327"/>
          <ac:spMkLst>
            <pc:docMk/>
            <pc:sldMk cId="1758289484" sldId="724"/>
            <ac:spMk id="6" creationId="{315B43A9-E3BA-4F25-8449-552362D8CCEA}"/>
          </ac:spMkLst>
        </pc:spChg>
        <pc:spChg chg="del mod ord">
          <ac:chgData name="Matthäus Alberding" userId="89cdd4c9-d044-4ab4-9e6f-8f065e0119c4" providerId="ADAL" clId="{B6745356-B6CF-45AA-ADCC-AC8F740A00DA}" dt="2022-07-26T16:25:44.860" v="94327"/>
          <ac:spMkLst>
            <pc:docMk/>
            <pc:sldMk cId="1758289484" sldId="724"/>
            <ac:spMk id="7" creationId="{3218920F-3264-4DEF-A3B0-3BB7F1CAB837}"/>
          </ac:spMkLst>
        </pc:spChg>
        <pc:spChg chg="del mod ord">
          <ac:chgData name="Matthäus Alberding" userId="89cdd4c9-d044-4ab4-9e6f-8f065e0119c4" providerId="ADAL" clId="{B6745356-B6CF-45AA-ADCC-AC8F740A00DA}" dt="2022-07-26T16:25:44.860" v="94327"/>
          <ac:spMkLst>
            <pc:docMk/>
            <pc:sldMk cId="1758289484" sldId="724"/>
            <ac:spMk id="8" creationId="{91F6FD97-0F57-4C1F-B268-57AD5EC7893A}"/>
          </ac:spMkLst>
        </pc:spChg>
        <pc:spChg chg="del">
          <ac:chgData name="Matthäus Alberding" userId="89cdd4c9-d044-4ab4-9e6f-8f065e0119c4" providerId="ADAL" clId="{B6745356-B6CF-45AA-ADCC-AC8F740A00DA}" dt="2022-07-26T16:25:44.860" v="94327"/>
          <ac:spMkLst>
            <pc:docMk/>
            <pc:sldMk cId="1758289484" sldId="724"/>
            <ac:spMk id="9" creationId="{D38885F5-BDAD-495D-B895-339C755AB6ED}"/>
          </ac:spMkLst>
        </pc:spChg>
        <pc:spChg chg="add mod ord">
          <ac:chgData name="Matthäus Alberding" userId="89cdd4c9-d044-4ab4-9e6f-8f065e0119c4" providerId="ADAL" clId="{B6745356-B6CF-45AA-ADCC-AC8F740A00DA}" dt="2022-07-26T16:25:51.922" v="94354" actId="948"/>
          <ac:spMkLst>
            <pc:docMk/>
            <pc:sldMk cId="1758289484" sldId="724"/>
            <ac:spMk id="10" creationId="{C16B3EA0-98EF-438F-B074-DA01AF6B3861}"/>
          </ac:spMkLst>
        </pc:spChg>
        <pc:spChg chg="add mod ord">
          <ac:chgData name="Matthäus Alberding" userId="89cdd4c9-d044-4ab4-9e6f-8f065e0119c4" providerId="ADAL" clId="{B6745356-B6CF-45AA-ADCC-AC8F740A00DA}" dt="2022-07-26T16:46:59.286" v="94908" actId="20577"/>
          <ac:spMkLst>
            <pc:docMk/>
            <pc:sldMk cId="1758289484" sldId="724"/>
            <ac:spMk id="11" creationId="{D285C030-6F87-49B4-AC67-BE2528544FAF}"/>
          </ac:spMkLst>
        </pc:spChg>
        <pc:spChg chg="add mod ord">
          <ac:chgData name="Matthäus Alberding" userId="89cdd4c9-d044-4ab4-9e6f-8f065e0119c4" providerId="ADAL" clId="{B6745356-B6CF-45AA-ADCC-AC8F740A00DA}" dt="2022-07-26T16:25:44.906" v="94328" actId="27636"/>
          <ac:spMkLst>
            <pc:docMk/>
            <pc:sldMk cId="1758289484" sldId="724"/>
            <ac:spMk id="12" creationId="{05E4DFD5-F783-4AE1-86F6-B7B293B782A0}"/>
          </ac:spMkLst>
        </pc:spChg>
        <pc:graphicFrameChg chg="add mod ord modVis">
          <ac:chgData name="Matthäus Alberding" userId="89cdd4c9-d044-4ab4-9e6f-8f065e0119c4" providerId="ADAL" clId="{B6745356-B6CF-45AA-ADCC-AC8F740A00DA}" dt="2022-07-26T16:25:51.927" v="94356"/>
          <ac:graphicFrameMkLst>
            <pc:docMk/>
            <pc:sldMk cId="1758289484" sldId="724"/>
            <ac:graphicFrameMk id="13" creationId="{F2211987-DAC0-43B0-9288-2A2F6B41C8D8}"/>
          </ac:graphicFrameMkLst>
        </pc:graphicFrameChg>
      </pc:sldChg>
      <pc:sldChg chg="addSp delSp modSp new add mod">
        <pc:chgData name="Matthäus Alberding" userId="89cdd4c9-d044-4ab4-9e6f-8f065e0119c4" providerId="ADAL" clId="{B6745356-B6CF-45AA-ADCC-AC8F740A00DA}" dt="2022-07-28T07:29:19.434" v="101043" actId="113"/>
        <pc:sldMkLst>
          <pc:docMk/>
          <pc:sldMk cId="3909180871" sldId="724"/>
        </pc:sldMkLst>
        <pc:spChg chg="mod">
          <ac:chgData name="Matthäus Alberding" userId="89cdd4c9-d044-4ab4-9e6f-8f065e0119c4" providerId="ADAL" clId="{B6745356-B6CF-45AA-ADCC-AC8F740A00DA}" dt="2022-07-27T07:49:00.387" v="100190" actId="948"/>
          <ac:spMkLst>
            <pc:docMk/>
            <pc:sldMk cId="3909180871" sldId="724"/>
            <ac:spMk id="4" creationId="{54CA3EE8-D0F1-40A4-8AF1-E08031EB1615}"/>
          </ac:spMkLst>
        </pc:spChg>
        <pc:spChg chg="del mod">
          <ac:chgData name="Matthäus Alberding" userId="89cdd4c9-d044-4ab4-9e6f-8f065e0119c4" providerId="ADAL" clId="{B6745356-B6CF-45AA-ADCC-AC8F740A00DA}" dt="2022-07-27T07:19:49.843" v="98442" actId="478"/>
          <ac:spMkLst>
            <pc:docMk/>
            <pc:sldMk cId="3909180871" sldId="724"/>
            <ac:spMk id="5" creationId="{1AA8EF4C-DC1D-4540-A395-62A94798D126}"/>
          </ac:spMkLst>
        </pc:spChg>
        <pc:spChg chg="mod">
          <ac:chgData name="Matthäus Alberding" userId="89cdd4c9-d044-4ab4-9e6f-8f065e0119c4" providerId="ADAL" clId="{B6745356-B6CF-45AA-ADCC-AC8F740A00DA}" dt="2022-07-27T07:41:07.377" v="99583" actId="20577"/>
          <ac:spMkLst>
            <pc:docMk/>
            <pc:sldMk cId="3909180871" sldId="724"/>
            <ac:spMk id="6" creationId="{760E83BD-9E84-428B-8CED-BED854D8AC6A}"/>
          </ac:spMkLst>
        </pc:spChg>
        <pc:spChg chg="add mod">
          <ac:chgData name="Matthäus Alberding" userId="89cdd4c9-d044-4ab4-9e6f-8f065e0119c4" providerId="ADAL" clId="{B6745356-B6CF-45AA-ADCC-AC8F740A00DA}" dt="2022-07-27T07:56:22.010" v="100987" actId="14100"/>
          <ac:spMkLst>
            <pc:docMk/>
            <pc:sldMk cId="3909180871" sldId="724"/>
            <ac:spMk id="7" creationId="{F9518361-6D57-4390-88CE-474041812CBC}"/>
          </ac:spMkLst>
        </pc:spChg>
        <pc:spChg chg="add mod">
          <ac:chgData name="Matthäus Alberding" userId="89cdd4c9-d044-4ab4-9e6f-8f065e0119c4" providerId="ADAL" clId="{B6745356-B6CF-45AA-ADCC-AC8F740A00DA}" dt="2022-07-27T07:56:23.895" v="100988" actId="14100"/>
          <ac:spMkLst>
            <pc:docMk/>
            <pc:sldMk cId="3909180871" sldId="724"/>
            <ac:spMk id="8" creationId="{0C537F3C-58B9-4EF6-8523-D343C1620DB9}"/>
          </ac:spMkLst>
        </pc:spChg>
        <pc:spChg chg="add mod">
          <ac:chgData name="Matthäus Alberding" userId="89cdd4c9-d044-4ab4-9e6f-8f065e0119c4" providerId="ADAL" clId="{B6745356-B6CF-45AA-ADCC-AC8F740A00DA}" dt="2022-07-27T07:56:29.534" v="100991" actId="14100"/>
          <ac:spMkLst>
            <pc:docMk/>
            <pc:sldMk cId="3909180871" sldId="724"/>
            <ac:spMk id="9" creationId="{005BBA9A-34B5-424A-8E5F-A512B2396972}"/>
          </ac:spMkLst>
        </pc:spChg>
        <pc:spChg chg="add del mod">
          <ac:chgData name="Matthäus Alberding" userId="89cdd4c9-d044-4ab4-9e6f-8f065e0119c4" providerId="ADAL" clId="{B6745356-B6CF-45AA-ADCC-AC8F740A00DA}" dt="2022-07-27T07:19:50.908" v="98443" actId="478"/>
          <ac:spMkLst>
            <pc:docMk/>
            <pc:sldMk cId="3909180871" sldId="724"/>
            <ac:spMk id="10" creationId="{4287C743-D57A-4CB0-8522-812D092F7EEB}"/>
          </ac:spMkLst>
        </pc:spChg>
        <pc:spChg chg="add del mod">
          <ac:chgData name="Matthäus Alberding" userId="89cdd4c9-d044-4ab4-9e6f-8f065e0119c4" providerId="ADAL" clId="{B6745356-B6CF-45AA-ADCC-AC8F740A00DA}" dt="2022-07-27T07:26:24.086" v="98680" actId="478"/>
          <ac:spMkLst>
            <pc:docMk/>
            <pc:sldMk cId="3909180871" sldId="724"/>
            <ac:spMk id="11" creationId="{7B3D3293-0F08-4569-ACAC-14FC555CA776}"/>
          </ac:spMkLst>
        </pc:spChg>
        <pc:spChg chg="add del mod">
          <ac:chgData name="Matthäus Alberding" userId="89cdd4c9-d044-4ab4-9e6f-8f065e0119c4" providerId="ADAL" clId="{B6745356-B6CF-45AA-ADCC-AC8F740A00DA}" dt="2022-07-27T07:26:23.517" v="98679" actId="478"/>
          <ac:spMkLst>
            <pc:docMk/>
            <pc:sldMk cId="3909180871" sldId="724"/>
            <ac:spMk id="12" creationId="{F6385245-6F1A-43A4-A75D-2A533C46D35B}"/>
          </ac:spMkLst>
        </pc:spChg>
        <pc:spChg chg="add del mod">
          <ac:chgData name="Matthäus Alberding" userId="89cdd4c9-d044-4ab4-9e6f-8f065e0119c4" providerId="ADAL" clId="{B6745356-B6CF-45AA-ADCC-AC8F740A00DA}" dt="2022-07-27T07:26:23.159" v="98678" actId="478"/>
          <ac:spMkLst>
            <pc:docMk/>
            <pc:sldMk cId="3909180871" sldId="724"/>
            <ac:spMk id="13" creationId="{0E847995-BEC8-4FE0-ACA1-11664615DC98}"/>
          </ac:spMkLst>
        </pc:spChg>
        <pc:spChg chg="add del mod">
          <ac:chgData name="Matthäus Alberding" userId="89cdd4c9-d044-4ab4-9e6f-8f065e0119c4" providerId="ADAL" clId="{B6745356-B6CF-45AA-ADCC-AC8F740A00DA}" dt="2022-07-27T07:49:04.151" v="100232" actId="478"/>
          <ac:spMkLst>
            <pc:docMk/>
            <pc:sldMk cId="3909180871" sldId="724"/>
            <ac:spMk id="15" creationId="{8C54E4D6-60DE-40E4-A042-C81F162D6C72}"/>
          </ac:spMkLst>
        </pc:spChg>
        <pc:spChg chg="add mod">
          <ac:chgData name="Matthäus Alberding" userId="89cdd4c9-d044-4ab4-9e6f-8f065e0119c4" providerId="ADAL" clId="{B6745356-B6CF-45AA-ADCC-AC8F740A00DA}" dt="2022-07-28T07:29:19.434" v="101043" actId="113"/>
          <ac:spMkLst>
            <pc:docMk/>
            <pc:sldMk cId="3909180871" sldId="724"/>
            <ac:spMk id="16" creationId="{E7D32263-90A9-4EC8-8BE1-CFD01DBDFFA4}"/>
          </ac:spMkLst>
        </pc:spChg>
        <pc:spChg chg="add mod">
          <ac:chgData name="Matthäus Alberding" userId="89cdd4c9-d044-4ab4-9e6f-8f065e0119c4" providerId="ADAL" clId="{B6745356-B6CF-45AA-ADCC-AC8F740A00DA}" dt="2022-07-27T07:56:35.285" v="100992" actId="1076"/>
          <ac:spMkLst>
            <pc:docMk/>
            <pc:sldMk cId="3909180871" sldId="724"/>
            <ac:spMk id="17" creationId="{7BDD43A2-EA59-4500-92F1-3DE4E03BEAFB}"/>
          </ac:spMkLst>
        </pc:spChg>
        <pc:spChg chg="add del mod">
          <ac:chgData name="Matthäus Alberding" userId="89cdd4c9-d044-4ab4-9e6f-8f065e0119c4" providerId="ADAL" clId="{B6745356-B6CF-45AA-ADCC-AC8F740A00DA}" dt="2022-07-27T07:56:35.285" v="100992" actId="1076"/>
          <ac:spMkLst>
            <pc:docMk/>
            <pc:sldMk cId="3909180871" sldId="724"/>
            <ac:spMk id="18" creationId="{8F98A685-68A7-45D3-AFA1-6A6AF1B142FE}"/>
          </ac:spMkLst>
        </pc:spChg>
        <pc:spChg chg="add del mod modVis">
          <ac:chgData name="Matthäus Alberding" userId="89cdd4c9-d044-4ab4-9e6f-8f065e0119c4" providerId="ADAL" clId="{B6745356-B6CF-45AA-ADCC-AC8F740A00DA}" dt="2022-07-27T07:48:56.705" v="100130"/>
          <ac:spMkLst>
            <pc:docMk/>
            <pc:sldMk cId="3909180871" sldId="724"/>
            <ac:spMk id="19" creationId="{BC53BB0E-0FFC-4994-9511-8839763CEE57}"/>
          </ac:spMkLst>
        </pc:spChg>
        <pc:spChg chg="add del mod modVis">
          <ac:chgData name="Matthäus Alberding" userId="89cdd4c9-d044-4ab4-9e6f-8f065e0119c4" providerId="ADAL" clId="{B6745356-B6CF-45AA-ADCC-AC8F740A00DA}" dt="2022-07-27T07:48:58.944" v="100186"/>
          <ac:spMkLst>
            <pc:docMk/>
            <pc:sldMk cId="3909180871" sldId="724"/>
            <ac:spMk id="21" creationId="{28D67EA3-1818-4B7F-A154-201A98C7507B}"/>
          </ac:spMkLst>
        </pc:spChg>
        <pc:spChg chg="add del mod modVis">
          <ac:chgData name="Matthäus Alberding" userId="89cdd4c9-d044-4ab4-9e6f-8f065e0119c4" providerId="ADAL" clId="{B6745356-B6CF-45AA-ADCC-AC8F740A00DA}" dt="2022-07-27T07:49:00.407" v="100229"/>
          <ac:spMkLst>
            <pc:docMk/>
            <pc:sldMk cId="3909180871" sldId="724"/>
            <ac:spMk id="22" creationId="{46D82028-F5ED-4508-A36D-237A525CAC31}"/>
          </ac:spMkLst>
        </pc:spChg>
        <pc:graphicFrameChg chg="add mod ord modVis">
          <ac:chgData name="Matthäus Alberding" userId="89cdd4c9-d044-4ab4-9e6f-8f065e0119c4" providerId="ADAL" clId="{B6745356-B6CF-45AA-ADCC-AC8F740A00DA}" dt="2022-07-27T07:49:00.408" v="100231"/>
          <ac:graphicFrameMkLst>
            <pc:docMk/>
            <pc:sldMk cId="3909180871" sldId="724"/>
            <ac:graphicFrameMk id="20" creationId="{C13324F6-5FF0-4F0C-8C83-405BC3937B62}"/>
          </ac:graphicFrameMkLst>
        </pc:graphicFrameChg>
        <pc:picChg chg="add mod">
          <ac:chgData name="Matthäus Alberding" userId="89cdd4c9-d044-4ab4-9e6f-8f065e0119c4" providerId="ADAL" clId="{B6745356-B6CF-45AA-ADCC-AC8F740A00DA}" dt="2022-07-27T07:49:09.124" v="100235" actId="1076"/>
          <ac:picMkLst>
            <pc:docMk/>
            <pc:sldMk cId="3909180871" sldId="724"/>
            <ac:picMk id="14" creationId="{BB908C48-1DFF-4AF9-A11D-FAD645ACBE8E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864-4A15-A323-D9F1E0B5F1D6}"/>
                </c:ext>
              </c:extLst>
            </c:dLbl>
            <c:dLbl>
              <c:idx val="1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64-4A15-A323-D9F1E0B5F1D6}"/>
                </c:ext>
              </c:extLst>
            </c:dLbl>
            <c:dLbl>
              <c:idx val="2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864-4A15-A323-D9F1E0B5F1D6}"/>
                </c:ext>
              </c:extLst>
            </c:dLbl>
            <c:dLbl>
              <c:idx val="3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64-4A15-A323-D9F1E0B5F1D6}"/>
                </c:ext>
              </c:extLst>
            </c:dLbl>
            <c:dLbl>
              <c:idx val="4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864-4A15-A323-D9F1E0B5F1D6}"/>
                </c:ext>
              </c:extLst>
            </c:dLbl>
            <c:dLbl>
              <c:idx val="5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64-4A15-A323-D9F1E0B5F1D6}"/>
                </c:ext>
              </c:extLst>
            </c:dLbl>
            <c:dLbl>
              <c:idx val="6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864-4A15-A323-D9F1E0B5F1D6}"/>
                </c:ext>
              </c:extLst>
            </c:dLbl>
            <c:dLbl>
              <c:idx val="7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64-4A15-A323-D9F1E0B5F1D6}"/>
                </c:ext>
              </c:extLst>
            </c:dLbl>
            <c:dLbl>
              <c:idx val="8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864-4A15-A323-D9F1E0B5F1D6}"/>
                </c:ext>
              </c:extLst>
            </c:dLbl>
            <c:dLbl>
              <c:idx val="9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64-4A15-A323-D9F1E0B5F1D6}"/>
                </c:ext>
              </c:extLst>
            </c:dLbl>
            <c:dLbl>
              <c:idx val="10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864-4A15-A323-D9F1E0B5F1D6}"/>
                </c:ext>
              </c:extLst>
            </c:dLbl>
            <c:dLbl>
              <c:idx val="11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64-4A15-A323-D9F1E0B5F1D6}"/>
                </c:ext>
              </c:extLst>
            </c:dLbl>
            <c:dLbl>
              <c:idx val="12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864-4A15-A323-D9F1E0B5F1D6}"/>
                </c:ext>
              </c:extLst>
            </c:dLbl>
            <c:dLbl>
              <c:idx val="13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64-4A15-A323-D9F1E0B5F1D6}"/>
                </c:ext>
              </c:extLst>
            </c:dLbl>
            <c:dLbl>
              <c:idx val="14"/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864-4A15-A323-D9F1E0B5F1D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6</c:f>
              <c:numCache>
                <c:formatCode>General</c:formatCode>
                <c:ptCount val="1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22.32</c:v>
                </c:pt>
                <c:pt idx="1">
                  <c:v>139.29</c:v>
                </c:pt>
                <c:pt idx="2">
                  <c:v>172.38</c:v>
                </c:pt>
                <c:pt idx="3">
                  <c:v>296.64999999999998</c:v>
                </c:pt>
                <c:pt idx="4">
                  <c:v>472</c:v>
                </c:pt>
                <c:pt idx="5">
                  <c:v>680.11</c:v>
                </c:pt>
                <c:pt idx="6">
                  <c:v>969.72</c:v>
                </c:pt>
                <c:pt idx="7">
                  <c:v>1244.74</c:v>
                </c:pt>
                <c:pt idx="8">
                  <c:v>1423.9</c:v>
                </c:pt>
                <c:pt idx="9">
                  <c:v>1495.96</c:v>
                </c:pt>
                <c:pt idx="10">
                  <c:v>1536.54</c:v>
                </c:pt>
                <c:pt idx="11">
                  <c:v>1556.27</c:v>
                </c:pt>
                <c:pt idx="12">
                  <c:v>1540.66</c:v>
                </c:pt>
                <c:pt idx="13">
                  <c:v>1351.84</c:v>
                </c:pt>
                <c:pt idx="14">
                  <c:v>1433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8864-4A15-A323-D9F1E0B5F1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451136"/>
        <c:axId val="66437120"/>
      </c:barChart>
      <c:catAx>
        <c:axId val="674511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/>
                  <a:t>Sales in million uni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bile phones and digital gadge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85B-4C6A-B506-6714D294D0CA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85B-4C6A-B506-6714D294D0CA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85B-4C6A-B506-6714D294D0CA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85B-4C6A-B506-6714D294D0CA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85B-4C6A-B506-6714D294D0CA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85B-4C6A-B506-6714D294D0CA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85B-4C6A-B506-6714D294D0CA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85B-4C6A-B506-6714D294D0CA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85B-4C6A-B506-6714D294D0CA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85B-4C6A-B506-6714D294D0CA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85B-4C6A-B506-6714D294D0CA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85B-4C6A-B506-6714D294D0CA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85B-4C6A-B506-6714D294D0CA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85B-4C6A-B506-6714D294D0CA}"/>
                </c:ext>
              </c:extLst>
            </c:dLbl>
            <c:dLbl>
              <c:idx val="1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85B-4C6A-B506-6714D294D0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Durability</c:v>
                </c:pt>
                <c:pt idx="1">
                  <c:v>Quality</c:v>
                </c:pt>
                <c:pt idx="2">
                  <c:v>Technology</c:v>
                </c:pt>
                <c:pt idx="3">
                  <c:v>Safety</c:v>
                </c:pt>
                <c:pt idx="4">
                  <c:v>Price</c:v>
                </c:pt>
                <c:pt idx="5">
                  <c:v>Brand</c:v>
                </c:pt>
                <c:pt idx="6">
                  <c:v>Design</c:v>
                </c:pt>
                <c:pt idx="7">
                  <c:v>Country of origin</c:v>
                </c:pt>
                <c:pt idx="8">
                  <c:v>Others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0.13</c:v>
                </c:pt>
                <c:pt idx="1">
                  <c:v>0.13</c:v>
                </c:pt>
                <c:pt idx="2">
                  <c:v>0.11</c:v>
                </c:pt>
                <c:pt idx="3">
                  <c:v>7.0000000000000007E-2</c:v>
                </c:pt>
                <c:pt idx="4">
                  <c:v>0.12</c:v>
                </c:pt>
                <c:pt idx="5">
                  <c:v>0.12</c:v>
                </c:pt>
                <c:pt idx="6">
                  <c:v>0.11</c:v>
                </c:pt>
                <c:pt idx="7">
                  <c:v>7.0000000000000007E-2</c:v>
                </c:pt>
                <c:pt idx="8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985B-4C6A-B506-6714D294D0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451136"/>
        <c:axId val="66437120"/>
      </c:barChart>
      <c:catAx>
        <c:axId val="674511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/>
                  <a:t>Share of responde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%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t least once a wee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B03-467E-836E-23FF244A40F7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B03-467E-836E-23FF244A40F7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B03-467E-836E-23FF244A40F7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B03-467E-836E-23FF244A40F7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B03-467E-836E-23FF244A40F7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B03-467E-836E-23FF244A40F7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B03-467E-836E-23FF244A40F7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B03-467E-836E-23FF244A40F7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B03-467E-836E-23FF244A40F7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B03-467E-836E-23FF244A40F7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B03-467E-836E-23FF244A40F7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B03-467E-836E-23FF244A40F7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B03-467E-836E-23FF244A40F7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B03-467E-836E-23FF244A40F7}"/>
                </c:ext>
              </c:extLst>
            </c:dLbl>
            <c:dLbl>
              <c:idx val="1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EB03-467E-836E-23FF244A40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9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72</c:v>
                </c:pt>
                <c:pt idx="1">
                  <c:v>0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B03-467E-836E-23FF244A40F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t least once a da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EB03-467E-836E-23FF244A40F7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EB03-467E-836E-23FF244A40F7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EB03-467E-836E-23FF244A40F7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EB03-467E-836E-23FF244A40F7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EB03-467E-836E-23FF244A40F7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EB03-467E-836E-23FF244A40F7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EB03-467E-836E-23FF244A40F7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EB03-467E-836E-23FF244A40F7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EB03-467E-836E-23FF244A40F7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EB03-467E-836E-23FF244A40F7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EB03-467E-836E-23FF244A40F7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EB03-467E-836E-23FF244A40F7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EB03-467E-836E-23FF244A40F7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EB03-467E-836E-23FF244A40F7}"/>
                </c:ext>
              </c:extLst>
            </c:dLbl>
            <c:dLbl>
              <c:idx val="1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EB03-467E-836E-23FF244A40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9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0.31</c:v>
                </c:pt>
                <c:pt idx="1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EB03-467E-836E-23FF244A40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451136"/>
        <c:axId val="66437120"/>
      </c:barChart>
      <c:catAx>
        <c:axId val="674511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 dirty="0"/>
                  <a:t>Share </a:t>
                </a:r>
                <a:r>
                  <a:rPr lang="de-CH" dirty="0" err="1"/>
                  <a:t>of</a:t>
                </a:r>
                <a:r>
                  <a:rPr lang="de-CH" dirty="0"/>
                  <a:t> </a:t>
                </a:r>
                <a:r>
                  <a:rPr lang="de-CH" dirty="0" err="1"/>
                  <a:t>respondents</a:t>
                </a:r>
                <a:endParaRPr lang="de-CH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%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 willing to spend extr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FBE-4E9A-BD88-477535928066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FBE-4E9A-BD88-477535928066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FBE-4E9A-BD88-477535928066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FBE-4E9A-BD88-477535928066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FBE-4E9A-BD88-477535928066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FBE-4E9A-BD88-477535928066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FBE-4E9A-BD88-477535928066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FBE-4E9A-BD88-477535928066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FBE-4E9A-BD88-477535928066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FBE-4E9A-BD88-477535928066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FBE-4E9A-BD88-477535928066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FBE-4E9A-BD88-477535928066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FBE-4E9A-BD88-477535928066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FBE-4E9A-BD88-4775359280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Clothing</c:v>
                </c:pt>
                <c:pt idx="1">
                  <c:v>Footwear</c:v>
                </c:pt>
                <c:pt idx="2">
                  <c:v>Furniture, homeware &amp; DIY</c:v>
                </c:pt>
                <c:pt idx="3">
                  <c:v>Fashion, accessories &amp; jewellery</c:v>
                </c:pt>
                <c:pt idx="4">
                  <c:v>Holidays</c:v>
                </c:pt>
                <c:pt idx="5">
                  <c:v>Health &amp; Wellness</c:v>
                </c:pt>
                <c:pt idx="6">
                  <c:v>Beauty products</c:v>
                </c:pt>
                <c:pt idx="7">
                  <c:v>Electrical products</c:v>
                </c:pt>
                <c:pt idx="8">
                  <c:v>Food &amp; groceries</c:v>
                </c:pt>
                <c:pt idx="9">
                  <c:v>Flights</c:v>
                </c:pt>
                <c:pt idx="10">
                  <c:v>Hotels</c:v>
                </c:pt>
                <c:pt idx="11">
                  <c:v>Beers, wines &amp; spirits</c:v>
                </c:pt>
                <c:pt idx="12">
                  <c:v>Restaurants</c:v>
                </c:pt>
                <c:pt idx="13">
                  <c:v>Books, music &amp; entertainment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.12</c:v>
                </c:pt>
                <c:pt idx="1">
                  <c:v>0.14000000000000001</c:v>
                </c:pt>
                <c:pt idx="2">
                  <c:v>0.15</c:v>
                </c:pt>
                <c:pt idx="3">
                  <c:v>0.16</c:v>
                </c:pt>
                <c:pt idx="4">
                  <c:v>0.19</c:v>
                </c:pt>
                <c:pt idx="5">
                  <c:v>0.21</c:v>
                </c:pt>
                <c:pt idx="6">
                  <c:v>0.21</c:v>
                </c:pt>
                <c:pt idx="7">
                  <c:v>0.22</c:v>
                </c:pt>
                <c:pt idx="8">
                  <c:v>0.22</c:v>
                </c:pt>
                <c:pt idx="9">
                  <c:v>0.23</c:v>
                </c:pt>
                <c:pt idx="10">
                  <c:v>0.24</c:v>
                </c:pt>
                <c:pt idx="11">
                  <c:v>0.25</c:v>
                </c:pt>
                <c:pt idx="12">
                  <c:v>0.26</c:v>
                </c:pt>
                <c:pt idx="13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FBE-4E9A-BD88-47753592806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0%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FBE-4E9A-BD88-477535928066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FBE-4E9A-BD88-477535928066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FBE-4E9A-BD88-477535928066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8FBE-4E9A-BD88-477535928066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8FBE-4E9A-BD88-477535928066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8FBE-4E9A-BD88-477535928066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8FBE-4E9A-BD88-477535928066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8FBE-4E9A-BD88-477535928066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8FBE-4E9A-BD88-477535928066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8FBE-4E9A-BD88-477535928066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8FBE-4E9A-BD88-477535928066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8FBE-4E9A-BD88-477535928066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8FBE-4E9A-BD88-477535928066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8FBE-4E9A-BD88-4775359280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Clothing</c:v>
                </c:pt>
                <c:pt idx="1">
                  <c:v>Footwear</c:v>
                </c:pt>
                <c:pt idx="2">
                  <c:v>Furniture, homeware &amp; DIY</c:v>
                </c:pt>
                <c:pt idx="3">
                  <c:v>Fashion, accessories &amp; jewellery</c:v>
                </c:pt>
                <c:pt idx="4">
                  <c:v>Holidays</c:v>
                </c:pt>
                <c:pt idx="5">
                  <c:v>Health &amp; Wellness</c:v>
                </c:pt>
                <c:pt idx="6">
                  <c:v>Beauty products</c:v>
                </c:pt>
                <c:pt idx="7">
                  <c:v>Electrical products</c:v>
                </c:pt>
                <c:pt idx="8">
                  <c:v>Food &amp; groceries</c:v>
                </c:pt>
                <c:pt idx="9">
                  <c:v>Flights</c:v>
                </c:pt>
                <c:pt idx="10">
                  <c:v>Hotels</c:v>
                </c:pt>
                <c:pt idx="11">
                  <c:v>Beers, wines &amp; spirits</c:v>
                </c:pt>
                <c:pt idx="12">
                  <c:v>Restaurants</c:v>
                </c:pt>
                <c:pt idx="13">
                  <c:v>Books, music &amp; entertainment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0.31</c:v>
                </c:pt>
                <c:pt idx="1">
                  <c:v>0.27</c:v>
                </c:pt>
                <c:pt idx="2">
                  <c:v>0.28000000000000003</c:v>
                </c:pt>
                <c:pt idx="3">
                  <c:v>0.28999999999999998</c:v>
                </c:pt>
                <c:pt idx="4">
                  <c:v>0.32</c:v>
                </c:pt>
                <c:pt idx="5">
                  <c:v>0.33</c:v>
                </c:pt>
                <c:pt idx="6">
                  <c:v>0.33</c:v>
                </c:pt>
                <c:pt idx="7">
                  <c:v>0.32</c:v>
                </c:pt>
                <c:pt idx="8">
                  <c:v>0.38</c:v>
                </c:pt>
                <c:pt idx="9">
                  <c:v>0.36</c:v>
                </c:pt>
                <c:pt idx="10">
                  <c:v>0.35</c:v>
                </c:pt>
                <c:pt idx="11">
                  <c:v>0.36</c:v>
                </c:pt>
                <c:pt idx="12">
                  <c:v>0.36</c:v>
                </c:pt>
                <c:pt idx="13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8FBE-4E9A-BD88-47753592806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% mor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8FBE-4E9A-BD88-477535928066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8FBE-4E9A-BD88-477535928066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8FBE-4E9A-BD88-477535928066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8FBE-4E9A-BD88-477535928066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8FBE-4E9A-BD88-477535928066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8FBE-4E9A-BD88-477535928066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8FBE-4E9A-BD88-477535928066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8FBE-4E9A-BD88-477535928066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8FBE-4E9A-BD88-477535928066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8FBE-4E9A-BD88-477535928066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8FBE-4E9A-BD88-477535928066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8FBE-4E9A-BD88-477535928066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8FBE-4E9A-BD88-477535928066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8FBE-4E9A-BD88-4775359280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Clothing</c:v>
                </c:pt>
                <c:pt idx="1">
                  <c:v>Footwear</c:v>
                </c:pt>
                <c:pt idx="2">
                  <c:v>Furniture, homeware &amp; DIY</c:v>
                </c:pt>
                <c:pt idx="3">
                  <c:v>Fashion, accessories &amp; jewellery</c:v>
                </c:pt>
                <c:pt idx="4">
                  <c:v>Holidays</c:v>
                </c:pt>
                <c:pt idx="5">
                  <c:v>Health &amp; Wellness</c:v>
                </c:pt>
                <c:pt idx="6">
                  <c:v>Beauty products</c:v>
                </c:pt>
                <c:pt idx="7">
                  <c:v>Electrical products</c:v>
                </c:pt>
                <c:pt idx="8">
                  <c:v>Food &amp; groceries</c:v>
                </c:pt>
                <c:pt idx="9">
                  <c:v>Flights</c:v>
                </c:pt>
                <c:pt idx="10">
                  <c:v>Hotels</c:v>
                </c:pt>
                <c:pt idx="11">
                  <c:v>Beers, wines &amp; spirits</c:v>
                </c:pt>
                <c:pt idx="12">
                  <c:v>Restaurants</c:v>
                </c:pt>
                <c:pt idx="13">
                  <c:v>Books, music &amp; entertainment</c:v>
                </c:pt>
              </c:strCache>
            </c:str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0.25</c:v>
                </c:pt>
                <c:pt idx="1">
                  <c:v>0.24</c:v>
                </c:pt>
                <c:pt idx="2">
                  <c:v>0.22</c:v>
                </c:pt>
                <c:pt idx="3">
                  <c:v>0.2</c:v>
                </c:pt>
                <c:pt idx="4">
                  <c:v>0.23</c:v>
                </c:pt>
                <c:pt idx="5">
                  <c:v>0.2</c:v>
                </c:pt>
                <c:pt idx="6">
                  <c:v>0.18</c:v>
                </c:pt>
                <c:pt idx="7">
                  <c:v>0.21</c:v>
                </c:pt>
                <c:pt idx="8">
                  <c:v>0.21</c:v>
                </c:pt>
                <c:pt idx="9">
                  <c:v>0.18</c:v>
                </c:pt>
                <c:pt idx="10">
                  <c:v>0.19</c:v>
                </c:pt>
                <c:pt idx="11">
                  <c:v>0.17</c:v>
                </c:pt>
                <c:pt idx="12">
                  <c:v>0.19</c:v>
                </c:pt>
                <c:pt idx="13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C-8FBE-4E9A-BD88-47753592806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30% mor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8FBE-4E9A-BD88-477535928066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8FBE-4E9A-BD88-477535928066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8FBE-4E9A-BD88-477535928066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8FBE-4E9A-BD88-477535928066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8FBE-4E9A-BD88-477535928066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8FBE-4E9A-BD88-477535928066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8FBE-4E9A-BD88-477535928066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8FBE-4E9A-BD88-477535928066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8FBE-4E9A-BD88-477535928066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8FBE-4E9A-BD88-477535928066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7-8FBE-4E9A-BD88-477535928066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8FBE-4E9A-BD88-477535928066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9-8FBE-4E9A-BD88-477535928066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A-8FBE-4E9A-BD88-4775359280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Clothing</c:v>
                </c:pt>
                <c:pt idx="1">
                  <c:v>Footwear</c:v>
                </c:pt>
                <c:pt idx="2">
                  <c:v>Furniture, homeware &amp; DIY</c:v>
                </c:pt>
                <c:pt idx="3">
                  <c:v>Fashion, accessories &amp; jewellery</c:v>
                </c:pt>
                <c:pt idx="4">
                  <c:v>Holidays</c:v>
                </c:pt>
                <c:pt idx="5">
                  <c:v>Health &amp; Wellness</c:v>
                </c:pt>
                <c:pt idx="6">
                  <c:v>Beauty products</c:v>
                </c:pt>
                <c:pt idx="7">
                  <c:v>Electrical products</c:v>
                </c:pt>
                <c:pt idx="8">
                  <c:v>Food &amp; groceries</c:v>
                </c:pt>
                <c:pt idx="9">
                  <c:v>Flights</c:v>
                </c:pt>
                <c:pt idx="10">
                  <c:v>Hotels</c:v>
                </c:pt>
                <c:pt idx="11">
                  <c:v>Beers, wines &amp; spirits</c:v>
                </c:pt>
                <c:pt idx="12">
                  <c:v>Restaurants</c:v>
                </c:pt>
                <c:pt idx="13">
                  <c:v>Books, music &amp; entertainment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0">
                  <c:v>0.11</c:v>
                </c:pt>
                <c:pt idx="1">
                  <c:v>0.12</c:v>
                </c:pt>
                <c:pt idx="2">
                  <c:v>0.12</c:v>
                </c:pt>
                <c:pt idx="3">
                  <c:v>0.14000000000000001</c:v>
                </c:pt>
                <c:pt idx="4">
                  <c:v>0.11</c:v>
                </c:pt>
                <c:pt idx="5">
                  <c:v>0.08</c:v>
                </c:pt>
                <c:pt idx="6">
                  <c:v>0.12</c:v>
                </c:pt>
                <c:pt idx="7">
                  <c:v>7.0000000000000007E-2</c:v>
                </c:pt>
                <c:pt idx="8">
                  <c:v>0.09</c:v>
                </c:pt>
                <c:pt idx="9">
                  <c:v>0.09</c:v>
                </c:pt>
                <c:pt idx="10">
                  <c:v>0.08</c:v>
                </c:pt>
                <c:pt idx="11">
                  <c:v>0.06</c:v>
                </c:pt>
                <c:pt idx="12">
                  <c:v>7.0000000000000007E-2</c:v>
                </c:pt>
                <c:pt idx="13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B-8FBE-4E9A-BD88-47753592806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40% mor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C-8FBE-4E9A-BD88-477535928066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D-8FBE-4E9A-BD88-477535928066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E-8FBE-4E9A-BD88-477535928066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F-8FBE-4E9A-BD88-477535928066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0-8FBE-4E9A-BD88-477535928066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1-8FBE-4E9A-BD88-477535928066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2-8FBE-4E9A-BD88-477535928066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3-8FBE-4E9A-BD88-477535928066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4-8FBE-4E9A-BD88-477535928066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5-8FBE-4E9A-BD88-477535928066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6-8FBE-4E9A-BD88-477535928066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7-8FBE-4E9A-BD88-477535928066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8-8FBE-4E9A-BD88-477535928066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9-8FBE-4E9A-BD88-4775359280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Clothing</c:v>
                </c:pt>
                <c:pt idx="1">
                  <c:v>Footwear</c:v>
                </c:pt>
                <c:pt idx="2">
                  <c:v>Furniture, homeware &amp; DIY</c:v>
                </c:pt>
                <c:pt idx="3">
                  <c:v>Fashion, accessories &amp; jewellery</c:v>
                </c:pt>
                <c:pt idx="4">
                  <c:v>Holidays</c:v>
                </c:pt>
                <c:pt idx="5">
                  <c:v>Health &amp; Wellness</c:v>
                </c:pt>
                <c:pt idx="6">
                  <c:v>Beauty products</c:v>
                </c:pt>
                <c:pt idx="7">
                  <c:v>Electrical products</c:v>
                </c:pt>
                <c:pt idx="8">
                  <c:v>Food &amp; groceries</c:v>
                </c:pt>
                <c:pt idx="9">
                  <c:v>Flights</c:v>
                </c:pt>
                <c:pt idx="10">
                  <c:v>Hotels</c:v>
                </c:pt>
                <c:pt idx="11">
                  <c:v>Beers, wines &amp; spirits</c:v>
                </c:pt>
                <c:pt idx="12">
                  <c:v>Restaurants</c:v>
                </c:pt>
                <c:pt idx="13">
                  <c:v>Books, music &amp; entertainment</c:v>
                </c:pt>
              </c:strCache>
            </c:strRef>
          </c:cat>
          <c:val>
            <c:numRef>
              <c:f>Sheet1!$F$2:$F$15</c:f>
              <c:numCache>
                <c:formatCode>General</c:formatCode>
                <c:ptCount val="14"/>
                <c:pt idx="0">
                  <c:v>0.05</c:v>
                </c:pt>
                <c:pt idx="1">
                  <c:v>0.05</c:v>
                </c:pt>
                <c:pt idx="2">
                  <c:v>0.04</c:v>
                </c:pt>
                <c:pt idx="3">
                  <c:v>0.05</c:v>
                </c:pt>
                <c:pt idx="4">
                  <c:v>0.04</c:v>
                </c:pt>
                <c:pt idx="5">
                  <c:v>0.05</c:v>
                </c:pt>
                <c:pt idx="6">
                  <c:v>0.03</c:v>
                </c:pt>
                <c:pt idx="7">
                  <c:v>0.05</c:v>
                </c:pt>
                <c:pt idx="8">
                  <c:v>0.02</c:v>
                </c:pt>
                <c:pt idx="9">
                  <c:v>0.03</c:v>
                </c:pt>
                <c:pt idx="10">
                  <c:v>0.03</c:v>
                </c:pt>
                <c:pt idx="11">
                  <c:v>0.04</c:v>
                </c:pt>
                <c:pt idx="12">
                  <c:v>0.02</c:v>
                </c:pt>
                <c:pt idx="13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A-8FBE-4E9A-BD88-47753592806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Over 50% mor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B-8FBE-4E9A-BD88-477535928066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C-8FBE-4E9A-BD88-477535928066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D-8FBE-4E9A-BD88-477535928066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E-8FBE-4E9A-BD88-477535928066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F-8FBE-4E9A-BD88-477535928066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0-8FBE-4E9A-BD88-477535928066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1-8FBE-4E9A-BD88-477535928066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2-8FBE-4E9A-BD88-477535928066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3-8FBE-4E9A-BD88-477535928066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4-8FBE-4E9A-BD88-477535928066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5-8FBE-4E9A-BD88-477535928066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6-8FBE-4E9A-BD88-477535928066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7-8FBE-4E9A-BD88-477535928066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8-8FBE-4E9A-BD88-4775359280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Clothing</c:v>
                </c:pt>
                <c:pt idx="1">
                  <c:v>Footwear</c:v>
                </c:pt>
                <c:pt idx="2">
                  <c:v>Furniture, homeware &amp; DIY</c:v>
                </c:pt>
                <c:pt idx="3">
                  <c:v>Fashion, accessories &amp; jewellery</c:v>
                </c:pt>
                <c:pt idx="4">
                  <c:v>Holidays</c:v>
                </c:pt>
                <c:pt idx="5">
                  <c:v>Health &amp; Wellness</c:v>
                </c:pt>
                <c:pt idx="6">
                  <c:v>Beauty products</c:v>
                </c:pt>
                <c:pt idx="7">
                  <c:v>Electrical products</c:v>
                </c:pt>
                <c:pt idx="8">
                  <c:v>Food &amp; groceries</c:v>
                </c:pt>
                <c:pt idx="9">
                  <c:v>Flights</c:v>
                </c:pt>
                <c:pt idx="10">
                  <c:v>Hotels</c:v>
                </c:pt>
                <c:pt idx="11">
                  <c:v>Beers, wines &amp; spirits</c:v>
                </c:pt>
                <c:pt idx="12">
                  <c:v>Restaurants</c:v>
                </c:pt>
                <c:pt idx="13">
                  <c:v>Books, music &amp; entertainment</c:v>
                </c:pt>
              </c:strCache>
            </c:strRef>
          </c:cat>
          <c:val>
            <c:numRef>
              <c:f>Sheet1!$G$2:$G$15</c:f>
              <c:numCache>
                <c:formatCode>General</c:formatCode>
                <c:ptCount val="14"/>
                <c:pt idx="0">
                  <c:v>0.09</c:v>
                </c:pt>
                <c:pt idx="1">
                  <c:v>0.11</c:v>
                </c:pt>
                <c:pt idx="2">
                  <c:v>0.1</c:v>
                </c:pt>
                <c:pt idx="3">
                  <c:v>0.09</c:v>
                </c:pt>
                <c:pt idx="4">
                  <c:v>0.06</c:v>
                </c:pt>
                <c:pt idx="5">
                  <c:v>0.06</c:v>
                </c:pt>
                <c:pt idx="6">
                  <c:v>0.05</c:v>
                </c:pt>
                <c:pt idx="7">
                  <c:v>0.04</c:v>
                </c:pt>
                <c:pt idx="8">
                  <c:v>0.02</c:v>
                </c:pt>
                <c:pt idx="9">
                  <c:v>0.05</c:v>
                </c:pt>
                <c:pt idx="10">
                  <c:v>0.04</c:v>
                </c:pt>
                <c:pt idx="11">
                  <c:v>0.04</c:v>
                </c:pt>
                <c:pt idx="12">
                  <c:v>0.03</c:v>
                </c:pt>
                <c:pt idx="13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59-8FBE-4E9A-BD88-477535928066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Don't know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A-8FBE-4E9A-BD88-477535928066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B-8FBE-4E9A-BD88-477535928066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C-8FBE-4E9A-BD88-477535928066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D-8FBE-4E9A-BD88-477535928066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E-8FBE-4E9A-BD88-477535928066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F-8FBE-4E9A-BD88-477535928066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0-8FBE-4E9A-BD88-477535928066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1-8FBE-4E9A-BD88-477535928066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2-8FBE-4E9A-BD88-477535928066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3-8FBE-4E9A-BD88-477535928066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4-8FBE-4E9A-BD88-477535928066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5-8FBE-4E9A-BD88-477535928066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6-8FBE-4E9A-BD88-477535928066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7-8FBE-4E9A-BD88-4775359280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Clothing</c:v>
                </c:pt>
                <c:pt idx="1">
                  <c:v>Footwear</c:v>
                </c:pt>
                <c:pt idx="2">
                  <c:v>Furniture, homeware &amp; DIY</c:v>
                </c:pt>
                <c:pt idx="3">
                  <c:v>Fashion, accessories &amp; jewellery</c:v>
                </c:pt>
                <c:pt idx="4">
                  <c:v>Holidays</c:v>
                </c:pt>
                <c:pt idx="5">
                  <c:v>Health &amp; Wellness</c:v>
                </c:pt>
                <c:pt idx="6">
                  <c:v>Beauty products</c:v>
                </c:pt>
                <c:pt idx="7">
                  <c:v>Electrical products</c:v>
                </c:pt>
                <c:pt idx="8">
                  <c:v>Food &amp; groceries</c:v>
                </c:pt>
                <c:pt idx="9">
                  <c:v>Flights</c:v>
                </c:pt>
                <c:pt idx="10">
                  <c:v>Hotels</c:v>
                </c:pt>
                <c:pt idx="11">
                  <c:v>Beers, wines &amp; spirits</c:v>
                </c:pt>
                <c:pt idx="12">
                  <c:v>Restaurants</c:v>
                </c:pt>
                <c:pt idx="13">
                  <c:v>Books, music &amp; entertainment</c:v>
                </c:pt>
              </c:strCache>
            </c:strRef>
          </c:cat>
          <c:val>
            <c:numRef>
              <c:f>Sheet1!$H$2:$H$15</c:f>
              <c:numCache>
                <c:formatCode>General</c:formatCode>
                <c:ptCount val="14"/>
                <c:pt idx="0">
                  <c:v>7.0000000000000007E-2</c:v>
                </c:pt>
                <c:pt idx="1">
                  <c:v>7.0000000000000007E-2</c:v>
                </c:pt>
                <c:pt idx="2">
                  <c:v>0.09</c:v>
                </c:pt>
                <c:pt idx="3">
                  <c:v>7.0000000000000007E-2</c:v>
                </c:pt>
                <c:pt idx="4">
                  <c:v>0.05</c:v>
                </c:pt>
                <c:pt idx="5">
                  <c:v>7.0000000000000007E-2</c:v>
                </c:pt>
                <c:pt idx="6">
                  <c:v>0.08</c:v>
                </c:pt>
                <c:pt idx="7">
                  <c:v>0.09</c:v>
                </c:pt>
                <c:pt idx="8">
                  <c:v>0.06</c:v>
                </c:pt>
                <c:pt idx="9">
                  <c:v>0.06</c:v>
                </c:pt>
                <c:pt idx="10">
                  <c:v>7.0000000000000007E-2</c:v>
                </c:pt>
                <c:pt idx="11">
                  <c:v>0.08</c:v>
                </c:pt>
                <c:pt idx="12">
                  <c:v>7.0000000000000007E-2</c:v>
                </c:pt>
                <c:pt idx="1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68-8FBE-4E9A-BD88-4775359280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7451136"/>
        <c:axId val="66437120"/>
      </c:barChart>
      <c:catAx>
        <c:axId val="6745113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ax val="1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1BB-4DB3-8EF1-9D95E933FE05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1BB-4DB3-8EF1-9D95E933FE05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1BB-4DB3-8EF1-9D95E933FE05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1BB-4DB3-8EF1-9D95E933FE05}"/>
                </c:ext>
              </c:extLst>
            </c:dLbl>
            <c:dLbl>
              <c:idx val="4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1BB-4DB3-8EF1-9D95E933FE05}"/>
                </c:ext>
              </c:extLst>
            </c:dLbl>
            <c:dLbl>
              <c:idx val="5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1BB-4DB3-8EF1-9D95E933FE05}"/>
                </c:ext>
              </c:extLst>
            </c:dLbl>
            <c:dLbl>
              <c:idx val="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1BB-4DB3-8EF1-9D95E933FE05}"/>
                </c:ext>
              </c:extLst>
            </c:dLbl>
            <c:dLbl>
              <c:idx val="7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1BB-4DB3-8EF1-9D95E933FE05}"/>
                </c:ext>
              </c:extLst>
            </c:dLbl>
            <c:dLbl>
              <c:idx val="8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1BB-4DB3-8EF1-9D95E933FE05}"/>
                </c:ext>
              </c:extLst>
            </c:dLbl>
            <c:dLbl>
              <c:idx val="9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1BB-4DB3-8EF1-9D95E933FE05}"/>
                </c:ext>
              </c:extLst>
            </c:dLbl>
            <c:dLbl>
              <c:idx val="1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1BB-4DB3-8EF1-9D95E933FE05}"/>
                </c:ext>
              </c:extLst>
            </c:dLbl>
            <c:dLbl>
              <c:idx val="1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1BB-4DB3-8EF1-9D95E933FE05}"/>
                </c:ext>
              </c:extLst>
            </c:dLbl>
            <c:dLbl>
              <c:idx val="1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B1BB-4DB3-8EF1-9D95E933FE05}"/>
                </c:ext>
              </c:extLst>
            </c:dLbl>
            <c:dLbl>
              <c:idx val="1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1BB-4DB3-8EF1-9D95E933FE05}"/>
                </c:ext>
              </c:extLst>
            </c:dLbl>
            <c:dLbl>
              <c:idx val="14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B1BB-4DB3-8EF1-9D95E933FE0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Anker Innovation Technology</c:v>
                </c:pt>
                <c:pt idx="1">
                  <c:v>Belkin</c:v>
                </c:pt>
                <c:pt idx="2">
                  <c:v>Mophie</c:v>
                </c:pt>
                <c:pt idx="3">
                  <c:v>PopSockets</c:v>
                </c:pt>
                <c:pt idx="4">
                  <c:v>PowerSphyr</c:v>
                </c:pt>
                <c:pt idx="5">
                  <c:v>MiPow</c:v>
                </c:pt>
                <c:pt idx="6">
                  <c:v>Ambrane India Pvt</c:v>
                </c:pt>
                <c:pt idx="7">
                  <c:v>Gonoise</c:v>
                </c:pt>
                <c:pt idx="8">
                  <c:v>Wi-Charge</c:v>
                </c:pt>
                <c:pt idx="9">
                  <c:v>Casely</c:v>
                </c:pt>
                <c:pt idx="10">
                  <c:v>Courant</c:v>
                </c:pt>
                <c:pt idx="11">
                  <c:v>Humavox</c:v>
                </c:pt>
                <c:pt idx="12">
                  <c:v>i-Blades</c:v>
                </c:pt>
                <c:pt idx="13">
                  <c:v>iMuto</c:v>
                </c:pt>
                <c:pt idx="14">
                  <c:v>iOttie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000</c:v>
                </c:pt>
                <c:pt idx="1">
                  <c:v>645</c:v>
                </c:pt>
                <c:pt idx="2">
                  <c:v>215</c:v>
                </c:pt>
                <c:pt idx="3">
                  <c:v>71</c:v>
                </c:pt>
                <c:pt idx="4">
                  <c:v>19</c:v>
                </c:pt>
                <c:pt idx="5">
                  <c:v>12</c:v>
                </c:pt>
                <c:pt idx="6">
                  <c:v>11</c:v>
                </c:pt>
                <c:pt idx="7">
                  <c:v>10</c:v>
                </c:pt>
                <c:pt idx="8">
                  <c:v>8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1BB-4DB3-8EF1-9D95E933FE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7451136"/>
        <c:axId val="66437120"/>
      </c:barChart>
      <c:catAx>
        <c:axId val="6745113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467152950538202E-2"/>
          <c:y val="8.1115251911609593E-2"/>
          <c:w val="0.93289461697342346"/>
          <c:h val="0.7790120766660980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Electronic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2797272202441166"/>
                  <c:y val="-3.162669542122765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B2B-46EC-8373-9EF6DB3AEA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Variable cost, per pc at 2500 pcs</c:v>
                </c:pt>
              </c:strCache>
            </c:strRef>
          </c:cat>
          <c:val>
            <c:numRef>
              <c:f>Tabelle1!$B$2</c:f>
              <c:numCache>
                <c:formatCode>"CHF"\ #,##0.00</c:formatCode>
                <c:ptCount val="1"/>
                <c:pt idx="0">
                  <c:v>5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2B-46EC-8373-9EF6DB3AEA8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Printed plastic fil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2552140243275132"/>
                  <c:y val="-3.16266954212264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B2B-46EC-8373-9EF6DB3AEA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Variable cost, per pc at 2500 pcs</c:v>
                </c:pt>
              </c:strCache>
            </c:strRef>
          </c:cat>
          <c:val>
            <c:numRef>
              <c:f>Tabelle1!$C$2</c:f>
              <c:numCache>
                <c:formatCode>"CHF"\ #,##0.00</c:formatCode>
                <c:ptCount val="1"/>
                <c:pt idx="0">
                  <c:v>2.25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2B-46EC-8373-9EF6DB3AEA8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FC chip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8.0893546524791152E-2"/>
                  <c:y val="-5.37653822160850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B2B-46EC-8373-9EF6DB3AEA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Variable cost, per pc at 2500 pcs</c:v>
                </c:pt>
              </c:strCache>
            </c:strRef>
          </c:cat>
          <c:val>
            <c:numRef>
              <c:f>Tabelle1!$D$2</c:f>
              <c:numCache>
                <c:formatCode>"CHF"\ #,##0.00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2B-46EC-8373-9EF6DB3AEA8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649717224"/>
        <c:axId val="649726408"/>
      </c:barChart>
      <c:catAx>
        <c:axId val="649717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49726408"/>
        <c:crosses val="autoZero"/>
        <c:auto val="1"/>
        <c:lblAlgn val="ctr"/>
        <c:lblOffset val="100"/>
        <c:noMultiLvlLbl val="0"/>
      </c:catAx>
      <c:valAx>
        <c:axId val="649726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CHF&quot;\ 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49717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461936314717008"/>
          <c:y val="0.93283635426381406"/>
          <c:w val="0.71076108068836907"/>
          <c:h val="6.08383066519407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597-4BC4-9004-0FCBC9BA47C2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597-4BC4-9004-0FCBC9BA47C2}"/>
                </c:ext>
              </c:extLst>
            </c:dLbl>
            <c:dLbl>
              <c:idx val="2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597-4BC4-9004-0FCBC9BA47C2}"/>
                </c:ext>
              </c:extLst>
            </c:dLbl>
            <c:dLbl>
              <c:idx val="3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597-4BC4-9004-0FCBC9BA47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93</c:v>
                </c:pt>
                <c:pt idx="1">
                  <c:v>0.95</c:v>
                </c:pt>
                <c:pt idx="2">
                  <c:v>0.95599999999999996</c:v>
                </c:pt>
                <c:pt idx="3">
                  <c:v>0.97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597-4BC4-9004-0FCBC9BA47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451136"/>
        <c:axId val="66437120"/>
      </c:barChart>
      <c:catAx>
        <c:axId val="674511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%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martphon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15</c:f>
              <c:numCache>
                <c:formatCode>General</c:formatCode>
                <c:ptCount val="14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  <c:pt idx="12">
                  <c:v>2025</c:v>
                </c:pt>
                <c:pt idx="13">
                  <c:v>2026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1.8</c:v>
                </c:pt>
                <c:pt idx="1">
                  <c:v>2</c:v>
                </c:pt>
                <c:pt idx="2">
                  <c:v>2</c:v>
                </c:pt>
                <c:pt idx="3">
                  <c:v>1.8</c:v>
                </c:pt>
                <c:pt idx="4">
                  <c:v>1.8</c:v>
                </c:pt>
                <c:pt idx="5">
                  <c:v>1.8</c:v>
                </c:pt>
                <c:pt idx="6">
                  <c:v>1.8</c:v>
                </c:pt>
                <c:pt idx="7">
                  <c:v>1.6</c:v>
                </c:pt>
                <c:pt idx="8">
                  <c:v>1.7</c:v>
                </c:pt>
                <c:pt idx="9">
                  <c:v>1.8</c:v>
                </c:pt>
                <c:pt idx="10">
                  <c:v>1.9</c:v>
                </c:pt>
                <c:pt idx="11">
                  <c:v>1.9</c:v>
                </c:pt>
                <c:pt idx="12">
                  <c:v>1.9</c:v>
                </c:pt>
                <c:pt idx="1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97-484B-B251-F42604A42C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7451136"/>
        <c:axId val="66437120"/>
      </c:barChart>
      <c:catAx>
        <c:axId val="674511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/>
                  <a:t>Sales in million uni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.0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EC7-45C6-BF43-B04FC51F64C2}"/>
                </c:ext>
              </c:extLst>
            </c:dLbl>
            <c:dLbl>
              <c:idx val="1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EC7-45C6-BF43-B04FC51F64C2}"/>
                </c:ext>
              </c:extLst>
            </c:dLbl>
            <c:dLbl>
              <c:idx val="2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EC7-45C6-BF43-B04FC51F64C2}"/>
                </c:ext>
              </c:extLst>
            </c:dLbl>
            <c:dLbl>
              <c:idx val="3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EC7-45C6-BF43-B04FC51F64C2}"/>
                </c:ext>
              </c:extLst>
            </c:dLbl>
            <c:dLbl>
              <c:idx val="4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EC7-45C6-BF43-B04FC51F64C2}"/>
                </c:ext>
              </c:extLst>
            </c:dLbl>
            <c:dLbl>
              <c:idx val="5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EC7-45C6-BF43-B04FC51F64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&lt;1 year</c:v>
                </c:pt>
                <c:pt idx="1">
                  <c:v>1 year</c:v>
                </c:pt>
                <c:pt idx="2">
                  <c:v>2 years</c:v>
                </c:pt>
                <c:pt idx="3">
                  <c:v>3 years</c:v>
                </c:pt>
                <c:pt idx="4">
                  <c:v>4 years or more</c:v>
                </c:pt>
                <c:pt idx="5">
                  <c:v>I don't know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.9E-2</c:v>
                </c:pt>
                <c:pt idx="1">
                  <c:v>3.9E-2</c:v>
                </c:pt>
                <c:pt idx="2">
                  <c:v>0.21199999999999999</c:v>
                </c:pt>
                <c:pt idx="3">
                  <c:v>0.22900000000000001</c:v>
                </c:pt>
                <c:pt idx="4">
                  <c:v>0.39100000000000001</c:v>
                </c:pt>
                <c:pt idx="5">
                  <c:v>0.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EC7-45C6-BF43-B04FC51F64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451136"/>
        <c:axId val="66437120"/>
      </c:barChart>
      <c:catAx>
        <c:axId val="674511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%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te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732-470A-B41E-96F01C208306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732-470A-B41E-96F01C208306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732-470A-B41E-96F01C208306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732-470A-B41E-96F01C208306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732-470A-B41E-96F01C208306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732-470A-B41E-96F01C208306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732-470A-B41E-96F01C208306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732-470A-B41E-96F01C208306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732-470A-B41E-96F01C208306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732-470A-B41E-96F01C208306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732-470A-B41E-96F01C2083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Android OS</c:v>
                </c:pt>
                <c:pt idx="1">
                  <c:v>IOS (Apple)</c:v>
                </c:pt>
                <c:pt idx="2">
                  <c:v>Windows (Windows Phone)</c:v>
                </c:pt>
                <c:pt idx="3">
                  <c:v>Linux</c:v>
                </c:pt>
                <c:pt idx="4">
                  <c:v>BlackBerry OS</c:v>
                </c:pt>
                <c:pt idx="5">
                  <c:v>Firefox OS</c:v>
                </c:pt>
                <c:pt idx="6">
                  <c:v>KaiOS</c:v>
                </c:pt>
                <c:pt idx="7">
                  <c:v>Symbian OS</c:v>
                </c:pt>
                <c:pt idx="8">
                  <c:v>Tizen</c:v>
                </c:pt>
                <c:pt idx="9">
                  <c:v>Sonstiges</c:v>
                </c:pt>
                <c:pt idx="10">
                  <c:v>Weiß nicht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0.48</c:v>
                </c:pt>
                <c:pt idx="1">
                  <c:v>0.46</c:v>
                </c:pt>
                <c:pt idx="2">
                  <c:v>0.02</c:v>
                </c:pt>
                <c:pt idx="3">
                  <c:v>0.0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01</c:v>
                </c:pt>
                <c:pt idx="10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732-470A-B41E-96F01C208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7451136"/>
        <c:axId val="66437120"/>
      </c:barChart>
      <c:catAx>
        <c:axId val="6745113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ax val="0.52800000000000002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944-4E7F-B3AA-35C449E50638}"/>
                </c:ext>
              </c:extLst>
            </c:dLbl>
            <c:dLbl>
              <c:idx val="1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944-4E7F-B3AA-35C449E50638}"/>
                </c:ext>
              </c:extLst>
            </c:dLbl>
            <c:dLbl>
              <c:idx val="2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944-4E7F-B3AA-35C449E50638}"/>
                </c:ext>
              </c:extLst>
            </c:dLbl>
            <c:dLbl>
              <c:idx val="3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944-4E7F-B3AA-35C449E50638}"/>
                </c:ext>
              </c:extLst>
            </c:dLbl>
            <c:dLbl>
              <c:idx val="4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944-4E7F-B3AA-35C449E50638}"/>
                </c:ext>
              </c:extLst>
            </c:dLbl>
            <c:dLbl>
              <c:idx val="5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944-4E7F-B3AA-35C449E50638}"/>
                </c:ext>
              </c:extLst>
            </c:dLbl>
            <c:dLbl>
              <c:idx val="6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944-4E7F-B3AA-35C449E50638}"/>
                </c:ext>
              </c:extLst>
            </c:dLbl>
            <c:dLbl>
              <c:idx val="7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944-4E7F-B3AA-35C449E50638}"/>
                </c:ext>
              </c:extLst>
            </c:dLbl>
            <c:dLbl>
              <c:idx val="8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944-4E7F-B3AA-35C449E50638}"/>
                </c:ext>
              </c:extLst>
            </c:dLbl>
            <c:dLbl>
              <c:idx val="9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944-4E7F-B3AA-35C449E50638}"/>
                </c:ext>
              </c:extLst>
            </c:dLbl>
            <c:dLbl>
              <c:idx val="10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944-4E7F-B3AA-35C449E506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exp"/>
            <c:dispRSqr val="0"/>
            <c:dispEq val="0"/>
          </c:trendline>
          <c:cat>
            <c:strRef>
              <c:f>Sheet1!$A$2:$A$12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*</c:v>
                </c:pt>
                <c:pt idx="3">
                  <c:v>2023*</c:v>
                </c:pt>
                <c:pt idx="4">
                  <c:v>2024*</c:v>
                </c:pt>
                <c:pt idx="5">
                  <c:v>2025*</c:v>
                </c:pt>
                <c:pt idx="6">
                  <c:v>2026*</c:v>
                </c:pt>
                <c:pt idx="7">
                  <c:v>2027*</c:v>
                </c:pt>
                <c:pt idx="8">
                  <c:v>2028*</c:v>
                </c:pt>
                <c:pt idx="9">
                  <c:v>2029*</c:v>
                </c:pt>
                <c:pt idx="10">
                  <c:v>2030*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2.7</c:v>
                </c:pt>
                <c:pt idx="1">
                  <c:v>17.5</c:v>
                </c:pt>
                <c:pt idx="2">
                  <c:v>23.7</c:v>
                </c:pt>
                <c:pt idx="3">
                  <c:v>31.1</c:v>
                </c:pt>
                <c:pt idx="4">
                  <c:v>40.4</c:v>
                </c:pt>
                <c:pt idx="5">
                  <c:v>52.3</c:v>
                </c:pt>
                <c:pt idx="6">
                  <c:v>67.599999999999994</c:v>
                </c:pt>
                <c:pt idx="7">
                  <c:v>87.2</c:v>
                </c:pt>
                <c:pt idx="8">
                  <c:v>112.4</c:v>
                </c:pt>
                <c:pt idx="9">
                  <c:v>144.6</c:v>
                </c:pt>
                <c:pt idx="10">
                  <c:v>18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944-4E7F-B3AA-35C449E506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451136"/>
        <c:axId val="66437120"/>
      </c:barChart>
      <c:catAx>
        <c:axId val="674511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ax val="2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arket value in billion U.S. dolla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460-45FB-8263-9B25A55A01EE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460-45FB-8263-9B25A55A01EE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460-45FB-8263-9B25A55A01EE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460-45FB-8263-9B25A55A01EE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460-45FB-8263-9B25A55A01EE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460-45FB-8263-9B25A55A01EE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460-45FB-8263-9B25A55A01EE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460-45FB-8263-9B25A55A01EE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460-45FB-8263-9B25A55A01EE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460-45FB-8263-9B25A55A01EE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460-45FB-8263-9B25A55A01EE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460-45FB-8263-9B25A55A01EE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460-45FB-8263-9B25A55A01EE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460-45FB-8263-9B25A55A01EE}"/>
                </c:ext>
              </c:extLst>
            </c:dLbl>
            <c:dLbl>
              <c:idx val="1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E460-45FB-8263-9B25A55A01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Robusteres Bildschirmglas</c:v>
                </c:pt>
                <c:pt idx="1">
                  <c:v>Verarbeitungsqualität</c:v>
                </c:pt>
                <c:pt idx="2">
                  <c:v>Akkulaufzeit</c:v>
                </c:pt>
                <c:pt idx="3">
                  <c:v>Bildschirmqualität</c:v>
                </c:pt>
                <c:pt idx="4">
                  <c:v>Langfristige Updates</c:v>
                </c:pt>
                <c:pt idx="5">
                  <c:v>Speicherplatz</c:v>
                </c:pt>
                <c:pt idx="6">
                  <c:v>Displaygröße</c:v>
                </c:pt>
                <c:pt idx="7">
                  <c:v>Drahtloses Laden</c:v>
                </c:pt>
                <c:pt idx="8">
                  <c:v>Kameraqualität</c:v>
                </c:pt>
                <c:pt idx="9">
                  <c:v>Anzahl der Kameralinsen</c:v>
                </c:pt>
                <c:pt idx="10">
                  <c:v>5G-Kompatibilität</c:v>
                </c:pt>
                <c:pt idx="11">
                  <c:v>Marke</c:v>
                </c:pt>
                <c:pt idx="12">
                  <c:v>Wasserdichtigkeit</c:v>
                </c:pt>
                <c:pt idx="13">
                  <c:v>Fingerabdrucksensor</c:v>
                </c:pt>
                <c:pt idx="14">
                  <c:v>Gesichtserkennung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96</c:v>
                </c:pt>
                <c:pt idx="1">
                  <c:v>0.95</c:v>
                </c:pt>
                <c:pt idx="2">
                  <c:v>0.92</c:v>
                </c:pt>
                <c:pt idx="3">
                  <c:v>0.9</c:v>
                </c:pt>
                <c:pt idx="4">
                  <c:v>0.86</c:v>
                </c:pt>
                <c:pt idx="5">
                  <c:v>0.86</c:v>
                </c:pt>
                <c:pt idx="6">
                  <c:v>0.8</c:v>
                </c:pt>
                <c:pt idx="7">
                  <c:v>0.78</c:v>
                </c:pt>
                <c:pt idx="8">
                  <c:v>0.76</c:v>
                </c:pt>
                <c:pt idx="9">
                  <c:v>0.7</c:v>
                </c:pt>
                <c:pt idx="10">
                  <c:v>0.69</c:v>
                </c:pt>
                <c:pt idx="11">
                  <c:v>0.6</c:v>
                </c:pt>
                <c:pt idx="12">
                  <c:v>0.57999999999999996</c:v>
                </c:pt>
                <c:pt idx="13">
                  <c:v>0.56000000000000005</c:v>
                </c:pt>
                <c:pt idx="14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460-45FB-8263-9B25A55A01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7451136"/>
        <c:axId val="66437120"/>
      </c:barChart>
      <c:catAx>
        <c:axId val="6745113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Pho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85B-4C6A-B506-6714D294D0CA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85B-4C6A-B506-6714D294D0CA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85B-4C6A-B506-6714D294D0CA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85B-4C6A-B506-6714D294D0CA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85B-4C6A-B506-6714D294D0CA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85B-4C6A-B506-6714D294D0CA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85B-4C6A-B506-6714D294D0CA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85B-4C6A-B506-6714D294D0CA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85B-4C6A-B506-6714D294D0CA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85B-4C6A-B506-6714D294D0CA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85B-4C6A-B506-6714D294D0CA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85B-4C6A-B506-6714D294D0CA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85B-4C6A-B506-6714D294D0CA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85B-4C6A-B506-6714D294D0CA}"/>
                </c:ext>
              </c:extLst>
            </c:dLbl>
            <c:dLbl>
              <c:idx val="1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85B-4C6A-B506-6714D294D0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Cable charger</c:v>
                </c:pt>
                <c:pt idx="1">
                  <c:v>Phone case</c:v>
                </c:pt>
                <c:pt idx="2">
                  <c:v>Wired earphones</c:v>
                </c:pt>
                <c:pt idx="3">
                  <c:v>Power bank</c:v>
                </c:pt>
                <c:pt idx="4">
                  <c:v>Screen protector</c:v>
                </c:pt>
                <c:pt idx="5">
                  <c:v>Portable speaker</c:v>
                </c:pt>
                <c:pt idx="6">
                  <c:v>Memory cards</c:v>
                </c:pt>
                <c:pt idx="7">
                  <c:v>Wired headphones</c:v>
                </c:pt>
                <c:pt idx="8">
                  <c:v>Phone stad</c:v>
                </c:pt>
                <c:pt idx="9">
                  <c:v>Wireless headphoness</c:v>
                </c:pt>
                <c:pt idx="10">
                  <c:v>Camera accessories</c:v>
                </c:pt>
                <c:pt idx="11">
                  <c:v>Wireless charger</c:v>
                </c:pt>
                <c:pt idx="12">
                  <c:v>Wireless earphones</c:v>
                </c:pt>
                <c:pt idx="13">
                  <c:v>Phone charging case</c:v>
                </c:pt>
                <c:pt idx="14">
                  <c:v>Phone insurance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</c:v>
                </c:pt>
                <c:pt idx="1">
                  <c:v>0.88</c:v>
                </c:pt>
                <c:pt idx="2">
                  <c:v>0.72</c:v>
                </c:pt>
                <c:pt idx="3">
                  <c:v>0.6</c:v>
                </c:pt>
                <c:pt idx="4">
                  <c:v>0.59</c:v>
                </c:pt>
                <c:pt idx="5">
                  <c:v>0.39</c:v>
                </c:pt>
                <c:pt idx="6">
                  <c:v>0.37</c:v>
                </c:pt>
                <c:pt idx="7">
                  <c:v>0.36</c:v>
                </c:pt>
                <c:pt idx="8">
                  <c:v>0.28000000000000003</c:v>
                </c:pt>
                <c:pt idx="9">
                  <c:v>0.27</c:v>
                </c:pt>
                <c:pt idx="10">
                  <c:v>0.27</c:v>
                </c:pt>
                <c:pt idx="11">
                  <c:v>0.2</c:v>
                </c:pt>
                <c:pt idx="12">
                  <c:v>0.19</c:v>
                </c:pt>
                <c:pt idx="13">
                  <c:v>0.13</c:v>
                </c:pt>
                <c:pt idx="14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985B-4C6A-B506-6714D294D0C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ndroi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85B-4C6A-B506-6714D294D0CA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85B-4C6A-B506-6714D294D0CA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85B-4C6A-B506-6714D294D0CA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985B-4C6A-B506-6714D294D0CA}"/>
                </c:ext>
              </c:extLst>
            </c:dLbl>
            <c:dLbl>
              <c:idx val="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985B-4C6A-B506-6714D294D0CA}"/>
                </c:ext>
              </c:extLst>
            </c:dLbl>
            <c:dLbl>
              <c:idx val="5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985B-4C6A-B506-6714D294D0CA}"/>
                </c:ext>
              </c:extLst>
            </c:dLbl>
            <c:dLbl>
              <c:idx val="6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985B-4C6A-B506-6714D294D0CA}"/>
                </c:ext>
              </c:extLst>
            </c:dLbl>
            <c:dLbl>
              <c:idx val="7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985B-4C6A-B506-6714D294D0CA}"/>
                </c:ext>
              </c:extLst>
            </c:dLbl>
            <c:dLbl>
              <c:idx val="8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985B-4C6A-B506-6714D294D0CA}"/>
                </c:ext>
              </c:extLst>
            </c:dLbl>
            <c:dLbl>
              <c:idx val="9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985B-4C6A-B506-6714D294D0CA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985B-4C6A-B506-6714D294D0CA}"/>
                </c:ext>
              </c:extLst>
            </c:dLbl>
            <c:dLbl>
              <c:idx val="1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985B-4C6A-B506-6714D294D0CA}"/>
                </c:ext>
              </c:extLst>
            </c:dLbl>
            <c:dLbl>
              <c:idx val="1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985B-4C6A-B506-6714D294D0CA}"/>
                </c:ext>
              </c:extLst>
            </c:dLbl>
            <c:dLbl>
              <c:idx val="1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985B-4C6A-B506-6714D294D0CA}"/>
                </c:ext>
              </c:extLst>
            </c:dLbl>
            <c:dLbl>
              <c:idx val="14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985B-4C6A-B506-6714D294D0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Cable charger</c:v>
                </c:pt>
                <c:pt idx="1">
                  <c:v>Phone case</c:v>
                </c:pt>
                <c:pt idx="2">
                  <c:v>Wired earphones</c:v>
                </c:pt>
                <c:pt idx="3">
                  <c:v>Power bank</c:v>
                </c:pt>
                <c:pt idx="4">
                  <c:v>Screen protector</c:v>
                </c:pt>
                <c:pt idx="5">
                  <c:v>Portable speaker</c:v>
                </c:pt>
                <c:pt idx="6">
                  <c:v>Memory cards</c:v>
                </c:pt>
                <c:pt idx="7">
                  <c:v>Wired headphones</c:v>
                </c:pt>
                <c:pt idx="8">
                  <c:v>Phone stad</c:v>
                </c:pt>
                <c:pt idx="9">
                  <c:v>Wireless headphoness</c:v>
                </c:pt>
                <c:pt idx="10">
                  <c:v>Camera accessories</c:v>
                </c:pt>
                <c:pt idx="11">
                  <c:v>Wireless charger</c:v>
                </c:pt>
                <c:pt idx="12">
                  <c:v>Wireless earphones</c:v>
                </c:pt>
                <c:pt idx="13">
                  <c:v>Phone charging case</c:v>
                </c:pt>
                <c:pt idx="14">
                  <c:v>Phone insurance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99</c:v>
                </c:pt>
                <c:pt idx="1">
                  <c:v>0.8</c:v>
                </c:pt>
                <c:pt idx="2">
                  <c:v>0.67</c:v>
                </c:pt>
                <c:pt idx="3">
                  <c:v>0.52</c:v>
                </c:pt>
                <c:pt idx="4">
                  <c:v>0.47</c:v>
                </c:pt>
                <c:pt idx="5">
                  <c:v>0.31</c:v>
                </c:pt>
                <c:pt idx="6">
                  <c:v>0.67</c:v>
                </c:pt>
                <c:pt idx="7">
                  <c:v>0.36</c:v>
                </c:pt>
                <c:pt idx="8">
                  <c:v>0.25</c:v>
                </c:pt>
                <c:pt idx="9">
                  <c:v>0.26</c:v>
                </c:pt>
                <c:pt idx="10">
                  <c:v>0.24</c:v>
                </c:pt>
                <c:pt idx="11">
                  <c:v>0.18</c:v>
                </c:pt>
                <c:pt idx="12">
                  <c:v>0.18</c:v>
                </c:pt>
                <c:pt idx="13">
                  <c:v>0.13</c:v>
                </c:pt>
                <c:pt idx="14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985B-4C6A-B506-6714D294D0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451136"/>
        <c:axId val="66437120"/>
      </c:barChart>
      <c:catAx>
        <c:axId val="674511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/>
                  <a:t>Share of responde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%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E1E-47F1-B3FA-BAC587BB89ED}"/>
                </c:ext>
              </c:extLst>
            </c:dLbl>
            <c:dLbl>
              <c:idx val="1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E1E-47F1-B3FA-BAC587BB89ED}"/>
                </c:ext>
              </c:extLst>
            </c:dLbl>
            <c:dLbl>
              <c:idx val="2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E1E-47F1-B3FA-BAC587BB89ED}"/>
                </c:ext>
              </c:extLst>
            </c:dLbl>
            <c:dLbl>
              <c:idx val="3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E1E-47F1-B3FA-BAC587BB89ED}"/>
                </c:ext>
              </c:extLst>
            </c:dLbl>
            <c:dLbl>
              <c:idx val="4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E1E-47F1-B3FA-BAC587BB89ED}"/>
                </c:ext>
              </c:extLst>
            </c:dLbl>
            <c:dLbl>
              <c:idx val="5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E1E-47F1-B3FA-BAC587BB89ED}"/>
                </c:ext>
              </c:extLst>
            </c:dLbl>
            <c:dLbl>
              <c:idx val="6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E1E-47F1-B3FA-BAC587BB89ED}"/>
                </c:ext>
              </c:extLst>
            </c:dLbl>
            <c:dLbl>
              <c:idx val="7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E1E-47F1-B3FA-BAC587BB89ED}"/>
                </c:ext>
              </c:extLst>
            </c:dLbl>
            <c:dLbl>
              <c:idx val="8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E1E-47F1-B3FA-BAC587BB89ED}"/>
                </c:ext>
              </c:extLst>
            </c:dLbl>
            <c:dLbl>
              <c:idx val="9"/>
              <c:numFmt formatCode="#,##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E1E-47F1-B3FA-BAC587BB89ED}"/>
                </c:ext>
              </c:extLst>
            </c:dLbl>
            <c:dLbl>
              <c:idx val="1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E1E-47F1-B3FA-BAC587BB89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5G capability</c:v>
                </c:pt>
                <c:pt idx="1">
                  <c:v>Flat-edge design</c:v>
                </c:pt>
                <c:pt idx="2">
                  <c:v>Compact 'Mini' size</c:v>
                </c:pt>
                <c:pt idx="3">
                  <c:v>Faster processor (A14 Bionic)</c:v>
                </c:pt>
                <c:pt idx="4">
                  <c:v>Improved XDR OLEDdisplay</c:v>
                </c:pt>
                <c:pt idx="5">
                  <c:v>'Ceramic shield' glass protection</c:v>
                </c:pt>
                <c:pt idx="6">
                  <c:v>Improved camera features</c:v>
                </c:pt>
                <c:pt idx="7">
                  <c:v>MagSafe technology</c:v>
                </c:pt>
                <c:pt idx="8">
                  <c:v>Improved water resistance</c:v>
                </c:pt>
                <c:pt idx="9">
                  <c:v>LiDARscanner</c:v>
                </c:pt>
                <c:pt idx="10">
                  <c:v>New color options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0.53</c:v>
                </c:pt>
                <c:pt idx="1">
                  <c:v>0.379</c:v>
                </c:pt>
                <c:pt idx="2">
                  <c:v>0.41899999999999998</c:v>
                </c:pt>
                <c:pt idx="3">
                  <c:v>0.20899999999999999</c:v>
                </c:pt>
                <c:pt idx="4">
                  <c:v>0.16900000000000001</c:v>
                </c:pt>
                <c:pt idx="5">
                  <c:v>0.308</c:v>
                </c:pt>
                <c:pt idx="6">
                  <c:v>0.25900000000000001</c:v>
                </c:pt>
                <c:pt idx="7">
                  <c:v>0.47799999999999998</c:v>
                </c:pt>
                <c:pt idx="8">
                  <c:v>0.109</c:v>
                </c:pt>
                <c:pt idx="9">
                  <c:v>8.2000000000000003E-2</c:v>
                </c:pt>
                <c:pt idx="1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E1E-47F1-B3FA-BAC587BB89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451136"/>
        <c:axId val="66437120"/>
      </c:barChart>
      <c:catAx>
        <c:axId val="674511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/>
                  <a:t>Share of responde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%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98E594-98F6-3A40-9CB1-890EFD882430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EA8F55-2519-6F41-91E3-24F0254F6FF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30589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DA80C-0032-A04F-8DC3-1D9FA424B670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D8BABC-F464-1C42-81DA-2E65C84DE5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025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CH" dirty="0"/>
              <a:t>RJ: Verantwortung für Produktion Spritzgussteile (sehr innovative Infrastruktur)</a:t>
            </a:r>
          </a:p>
          <a:p>
            <a:pPr marL="171450" indent="-171450">
              <a:buFontTx/>
              <a:buChar char="-"/>
            </a:pPr>
            <a:r>
              <a:rPr lang="de-CH" dirty="0"/>
              <a:t>BU: Produktverantwortung, Elektronikentwicklung und Endmontage; «Business Unit» und RJ ist Teilezulieferer</a:t>
            </a:r>
          </a:p>
          <a:p>
            <a:pPr marL="171450" indent="-171450">
              <a:buFontTx/>
              <a:buChar char="-"/>
            </a:pPr>
            <a:r>
              <a:rPr lang="de-CH" dirty="0"/>
              <a:t>SG: Verkauf und Service</a:t>
            </a:r>
          </a:p>
          <a:p>
            <a:pPr marL="171450" indent="-171450">
              <a:buFontTx/>
              <a:buChar char="-"/>
            </a:pPr>
            <a:r>
              <a:rPr lang="de-CH" dirty="0"/>
              <a:t>Alles vollvernetzt und digital integriert über SAP etc.</a:t>
            </a:r>
          </a:p>
          <a:p>
            <a:pPr marL="171450" indent="-171450">
              <a:buFontTx/>
              <a:buChar char="-"/>
            </a:pPr>
            <a:r>
              <a:rPr lang="de-CH" dirty="0"/>
              <a:t>Story: Task </a:t>
            </a:r>
            <a:r>
              <a:rPr lang="de-CH" dirty="0" err="1"/>
              <a:t>force</a:t>
            </a:r>
            <a:r>
              <a:rPr lang="de-CH" dirty="0"/>
              <a:t> -&gt; Transparenz (</a:t>
            </a:r>
            <a:r>
              <a:rPr lang="de-CH" dirty="0" err="1"/>
              <a:t>wieviele</a:t>
            </a:r>
            <a:r>
              <a:rPr lang="de-CH" dirty="0"/>
              <a:t> haben wir, wann laufen wir wo trocken) und Nachverfolgbarkeit (</a:t>
            </a:r>
            <a:r>
              <a:rPr lang="de-CH" dirty="0" err="1"/>
              <a:t>brokerware</a:t>
            </a:r>
            <a:r>
              <a:rPr lang="de-CH" dirty="0"/>
              <a:t>)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8BABC-F464-1C42-81DA-2E65C84DE5D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1451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mask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1" y="0"/>
            <a:ext cx="12198350" cy="6858000"/>
          </a:xfrm>
          <a:prstGeom prst="rect">
            <a:avLst/>
          </a:prstGeom>
          <a:solidFill>
            <a:schemeClr val="tx1">
              <a:alpha val="10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" name="Freihandform 20"/>
          <p:cNvSpPr/>
          <p:nvPr/>
        </p:nvSpPr>
        <p:spPr>
          <a:xfrm>
            <a:off x="3975404" y="679931"/>
            <a:ext cx="8222947" cy="6187327"/>
          </a:xfrm>
          <a:custGeom>
            <a:avLst/>
            <a:gdLst>
              <a:gd name="connsiteX0" fmla="*/ 5924544 w 8222947"/>
              <a:gd name="connsiteY0" fmla="*/ 885 h 6187327"/>
              <a:gd name="connsiteX1" fmla="*/ 6308590 w 8222947"/>
              <a:gd name="connsiteY1" fmla="*/ 41571 h 6187327"/>
              <a:gd name="connsiteX2" fmla="*/ 8006972 w 8222947"/>
              <a:gd name="connsiteY2" fmla="*/ 1782211 h 6187327"/>
              <a:gd name="connsiteX3" fmla="*/ 8214187 w 8222947"/>
              <a:gd name="connsiteY3" fmla="*/ 2329511 h 6187327"/>
              <a:gd name="connsiteX4" fmla="*/ 8222947 w 8222947"/>
              <a:gd name="connsiteY4" fmla="*/ 2362752 h 6187327"/>
              <a:gd name="connsiteX5" fmla="*/ 8222947 w 8222947"/>
              <a:gd name="connsiteY5" fmla="*/ 4688892 h 6187327"/>
              <a:gd name="connsiteX6" fmla="*/ 8207914 w 8222947"/>
              <a:gd name="connsiteY6" fmla="*/ 4742881 h 6187327"/>
              <a:gd name="connsiteX7" fmla="*/ 7556423 w 8222947"/>
              <a:gd name="connsiteY7" fmla="*/ 6028617 h 6187327"/>
              <a:gd name="connsiteX8" fmla="*/ 7425161 w 8222947"/>
              <a:gd name="connsiteY8" fmla="*/ 6187327 h 6187327"/>
              <a:gd name="connsiteX9" fmla="*/ 1006577 w 8222947"/>
              <a:gd name="connsiteY9" fmla="*/ 6187327 h 6187327"/>
              <a:gd name="connsiteX10" fmla="*/ 850964 w 8222947"/>
              <a:gd name="connsiteY10" fmla="*/ 5995980 h 6187327"/>
              <a:gd name="connsiteX11" fmla="*/ 422250 w 8222947"/>
              <a:gd name="connsiteY11" fmla="*/ 5267019 h 6187327"/>
              <a:gd name="connsiteX12" fmla="*/ 142610 w 8222947"/>
              <a:gd name="connsiteY12" fmla="*/ 2830055 h 6187327"/>
              <a:gd name="connsiteX13" fmla="*/ 3539677 w 8222947"/>
              <a:gd name="connsiteY13" fmla="*/ 2265216 h 6187327"/>
              <a:gd name="connsiteX14" fmla="*/ 5924544 w 8222947"/>
              <a:gd name="connsiteY14" fmla="*/ 885 h 6187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222947" h="6187327">
                <a:moveTo>
                  <a:pt x="5924544" y="885"/>
                </a:moveTo>
                <a:cubicBezTo>
                  <a:pt x="6041007" y="-3625"/>
                  <a:pt x="6168271" y="8957"/>
                  <a:pt x="6308590" y="41571"/>
                </a:cubicBezTo>
                <a:cubicBezTo>
                  <a:pt x="6952725" y="190142"/>
                  <a:pt x="7634399" y="972436"/>
                  <a:pt x="8006972" y="1782211"/>
                </a:cubicBezTo>
                <a:cubicBezTo>
                  <a:pt x="8089782" y="1962218"/>
                  <a:pt x="8158705" y="2145053"/>
                  <a:pt x="8214187" y="2329511"/>
                </a:cubicBezTo>
                <a:lnTo>
                  <a:pt x="8222947" y="2362752"/>
                </a:lnTo>
                <a:lnTo>
                  <a:pt x="8222947" y="4688892"/>
                </a:lnTo>
                <a:lnTo>
                  <a:pt x="8207914" y="4742881"/>
                </a:lnTo>
                <a:cubicBezTo>
                  <a:pt x="8067235" y="5203851"/>
                  <a:pt x="7847382" y="5639692"/>
                  <a:pt x="7556423" y="6028617"/>
                </a:cubicBezTo>
                <a:lnTo>
                  <a:pt x="7425161" y="6187327"/>
                </a:lnTo>
                <a:lnTo>
                  <a:pt x="1006577" y="6187327"/>
                </a:lnTo>
                <a:lnTo>
                  <a:pt x="850964" y="5995980"/>
                </a:lnTo>
                <a:cubicBezTo>
                  <a:pt x="686863" y="5772304"/>
                  <a:pt x="542722" y="5528860"/>
                  <a:pt x="422250" y="5267019"/>
                </a:cubicBezTo>
                <a:cubicBezTo>
                  <a:pt x="50312" y="4458802"/>
                  <a:pt x="-155418" y="3502075"/>
                  <a:pt x="142610" y="2830055"/>
                </a:cubicBezTo>
                <a:cubicBezTo>
                  <a:pt x="788131" y="1375996"/>
                  <a:pt x="2271479" y="2908304"/>
                  <a:pt x="3539677" y="2265216"/>
                </a:cubicBezTo>
                <a:cubicBezTo>
                  <a:pt x="4682264" y="1685095"/>
                  <a:pt x="4798738" y="44473"/>
                  <a:pt x="5924544" y="885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" name="Freihandform 11"/>
          <p:cNvSpPr/>
          <p:nvPr/>
        </p:nvSpPr>
        <p:spPr>
          <a:xfrm>
            <a:off x="5642407" y="1910668"/>
            <a:ext cx="6555944" cy="4947333"/>
          </a:xfrm>
          <a:custGeom>
            <a:avLst/>
            <a:gdLst>
              <a:gd name="connsiteX0" fmla="*/ 4854063 w 6552531"/>
              <a:gd name="connsiteY0" fmla="*/ 7 h 4947333"/>
              <a:gd name="connsiteX1" fmla="*/ 5071206 w 6552531"/>
              <a:gd name="connsiteY1" fmla="*/ 27731 h 4947333"/>
              <a:gd name="connsiteX2" fmla="*/ 6551503 w 6552531"/>
              <a:gd name="connsiteY2" fmla="*/ 1809287 h 4947333"/>
              <a:gd name="connsiteX3" fmla="*/ 6552531 w 6552531"/>
              <a:gd name="connsiteY3" fmla="*/ 1812764 h 4947333"/>
              <a:gd name="connsiteX4" fmla="*/ 6552531 w 6552531"/>
              <a:gd name="connsiteY4" fmla="*/ 3922236 h 4947333"/>
              <a:gd name="connsiteX5" fmla="*/ 6508354 w 6552531"/>
              <a:gd name="connsiteY5" fmla="*/ 4056281 h 4947333"/>
              <a:gd name="connsiteX6" fmla="*/ 6167266 w 6552531"/>
              <a:gd name="connsiteY6" fmla="*/ 4753897 h 4947333"/>
              <a:gd name="connsiteX7" fmla="*/ 6033717 w 6552531"/>
              <a:gd name="connsiteY7" fmla="*/ 4947333 h 4947333"/>
              <a:gd name="connsiteX8" fmla="*/ 688221 w 6552531"/>
              <a:gd name="connsiteY8" fmla="*/ 4947333 h 4947333"/>
              <a:gd name="connsiteX9" fmla="*/ 669155 w 6552531"/>
              <a:gd name="connsiteY9" fmla="*/ 4921952 h 4947333"/>
              <a:gd name="connsiteX10" fmla="*/ 159446 w 6552531"/>
              <a:gd name="connsiteY10" fmla="*/ 3896401 h 4947333"/>
              <a:gd name="connsiteX11" fmla="*/ 44617 w 6552531"/>
              <a:gd name="connsiteY11" fmla="*/ 3440846 h 4947333"/>
              <a:gd name="connsiteX12" fmla="*/ 40529 w 6552531"/>
              <a:gd name="connsiteY12" fmla="*/ 3406626 h 4947333"/>
              <a:gd name="connsiteX13" fmla="*/ 39476 w 6552531"/>
              <a:gd name="connsiteY13" fmla="*/ 3401514 h 4947333"/>
              <a:gd name="connsiteX14" fmla="*/ 482859 w 6552531"/>
              <a:gd name="connsiteY14" fmla="*/ 1876033 h 4947333"/>
              <a:gd name="connsiteX15" fmla="*/ 896951 w 6552531"/>
              <a:gd name="connsiteY15" fmla="*/ 1759366 h 4947333"/>
              <a:gd name="connsiteX16" fmla="*/ 1369778 w 6552531"/>
              <a:gd name="connsiteY16" fmla="*/ 1839493 h 4947333"/>
              <a:gd name="connsiteX17" fmla="*/ 1408346 w 6552531"/>
              <a:gd name="connsiteY17" fmla="*/ 1854656 h 4947333"/>
              <a:gd name="connsiteX18" fmla="*/ 1515289 w 6552531"/>
              <a:gd name="connsiteY18" fmla="*/ 1876395 h 4947333"/>
              <a:gd name="connsiteX19" fmla="*/ 2860708 w 6552531"/>
              <a:gd name="connsiteY19" fmla="*/ 1855646 h 4947333"/>
              <a:gd name="connsiteX20" fmla="*/ 3877062 w 6552531"/>
              <a:gd name="connsiteY20" fmla="*/ 691198 h 4947333"/>
              <a:gd name="connsiteX21" fmla="*/ 4633989 w 6552531"/>
              <a:gd name="connsiteY21" fmla="*/ 13545 h 4947333"/>
              <a:gd name="connsiteX22" fmla="*/ 4683323 w 6552531"/>
              <a:gd name="connsiteY22" fmla="*/ 9490 h 4947333"/>
              <a:gd name="connsiteX23" fmla="*/ 4720135 w 6552531"/>
              <a:gd name="connsiteY23" fmla="*/ 11657 h 4947333"/>
              <a:gd name="connsiteX24" fmla="*/ 4746809 w 6552531"/>
              <a:gd name="connsiteY24" fmla="*/ 6469 h 4947333"/>
              <a:gd name="connsiteX25" fmla="*/ 4854063 w 6552531"/>
              <a:gd name="connsiteY25" fmla="*/ 7 h 4947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552531" h="4947333">
                <a:moveTo>
                  <a:pt x="4854063" y="7"/>
                </a:moveTo>
                <a:cubicBezTo>
                  <a:pt x="4925952" y="311"/>
                  <a:pt x="4998520" y="9743"/>
                  <a:pt x="5071206" y="27731"/>
                </a:cubicBezTo>
                <a:cubicBezTo>
                  <a:pt x="5652694" y="171645"/>
                  <a:pt x="6241767" y="863160"/>
                  <a:pt x="6551503" y="1809287"/>
                </a:cubicBezTo>
                <a:lnTo>
                  <a:pt x="6552531" y="1812764"/>
                </a:lnTo>
                <a:lnTo>
                  <a:pt x="6552531" y="3922236"/>
                </a:lnTo>
                <a:lnTo>
                  <a:pt x="6508354" y="4056281"/>
                </a:lnTo>
                <a:cubicBezTo>
                  <a:pt x="6420252" y="4303320"/>
                  <a:pt x="6305352" y="4537096"/>
                  <a:pt x="6167266" y="4753897"/>
                </a:cubicBezTo>
                <a:lnTo>
                  <a:pt x="6033717" y="4947333"/>
                </a:lnTo>
                <a:lnTo>
                  <a:pt x="688221" y="4947333"/>
                </a:lnTo>
                <a:lnTo>
                  <a:pt x="669155" y="4921952"/>
                </a:lnTo>
                <a:cubicBezTo>
                  <a:pt x="462010" y="4623316"/>
                  <a:pt x="290452" y="4280274"/>
                  <a:pt x="159446" y="3896401"/>
                </a:cubicBezTo>
                <a:cubicBezTo>
                  <a:pt x="110759" y="3753734"/>
                  <a:pt x="70478" y="3595787"/>
                  <a:pt x="44617" y="3440846"/>
                </a:cubicBezTo>
                <a:lnTo>
                  <a:pt x="40529" y="3406626"/>
                </a:lnTo>
                <a:lnTo>
                  <a:pt x="39476" y="3401514"/>
                </a:lnTo>
                <a:cubicBezTo>
                  <a:pt x="-78551" y="2709645"/>
                  <a:pt x="67748" y="2122061"/>
                  <a:pt x="482859" y="1876033"/>
                </a:cubicBezTo>
                <a:cubicBezTo>
                  <a:pt x="607393" y="1802224"/>
                  <a:pt x="747277" y="1764396"/>
                  <a:pt x="896951" y="1759366"/>
                </a:cubicBezTo>
                <a:cubicBezTo>
                  <a:pt x="1046624" y="1754337"/>
                  <a:pt x="1206087" y="1782107"/>
                  <a:pt x="1369778" y="1839493"/>
                </a:cubicBezTo>
                <a:lnTo>
                  <a:pt x="1408346" y="1854656"/>
                </a:lnTo>
                <a:lnTo>
                  <a:pt x="1515289" y="1876395"/>
                </a:lnTo>
                <a:cubicBezTo>
                  <a:pt x="1867428" y="1960511"/>
                  <a:pt x="2467079" y="2053179"/>
                  <a:pt x="2860708" y="1855646"/>
                </a:cubicBezTo>
                <a:cubicBezTo>
                  <a:pt x="3254336" y="1658114"/>
                  <a:pt x="3625995" y="1062372"/>
                  <a:pt x="3877062" y="691198"/>
                </a:cubicBezTo>
                <a:cubicBezTo>
                  <a:pt x="4155238" y="279949"/>
                  <a:pt x="4374413" y="55026"/>
                  <a:pt x="4633989" y="13545"/>
                </a:cubicBezTo>
                <a:cubicBezTo>
                  <a:pt x="4650213" y="10953"/>
                  <a:pt x="4666671" y="9635"/>
                  <a:pt x="4683323" y="9490"/>
                </a:cubicBezTo>
                <a:lnTo>
                  <a:pt x="4720135" y="11657"/>
                </a:lnTo>
                <a:lnTo>
                  <a:pt x="4746809" y="6469"/>
                </a:lnTo>
                <a:cubicBezTo>
                  <a:pt x="4782344" y="1985"/>
                  <a:pt x="4818118" y="-145"/>
                  <a:pt x="4854063" y="7"/>
                </a:cubicBez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38700" y="3239457"/>
            <a:ext cx="6790944" cy="1097269"/>
          </a:xfrm>
        </p:spPr>
        <p:txBody>
          <a:bodyPr lIns="0" tIns="0" bIns="0" anchor="b">
            <a:norm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Titelfolie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F2D6CD5-EBD8-4E95-8859-83C8D04BFA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6177" y="1533510"/>
            <a:ext cx="2691819" cy="1264388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833464" y="5641975"/>
            <a:ext cx="1445099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defRPr sz="1200">
                <a:latin typeface="+mn-lt"/>
              </a:defRPr>
            </a:lvl1pPr>
          </a:lstStyle>
          <a:p>
            <a:fld id="{D6362A6B-94E9-41B8-96B1-228D8DD0D194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69B772D-4EEB-40F5-B989-5B158C414958}"/>
              </a:ext>
            </a:extLst>
          </p:cNvPr>
          <p:cNvSpPr/>
          <p:nvPr/>
        </p:nvSpPr>
        <p:spPr>
          <a:xfrm>
            <a:off x="0" y="6723258"/>
            <a:ext cx="12198350" cy="14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A818FE7-2817-4CCE-892B-6DE76AF6C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38699" y="6200774"/>
            <a:ext cx="5541757" cy="42134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>
              <a:buNone/>
              <a:defRPr sz="1200">
                <a:latin typeface="+mn-lt"/>
              </a:defRPr>
            </a:lvl1pPr>
          </a:lstStyle>
          <a:p>
            <a:pPr lvl="0"/>
            <a:r>
              <a:rPr lang="de-CH" dirty="0"/>
              <a:t>Departement / Abteilun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38700" y="4410388"/>
            <a:ext cx="6790944" cy="8603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000" b="1" baseline="0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833464" y="5342714"/>
            <a:ext cx="5546993" cy="184666"/>
          </a:xfrm>
          <a:prstGeom prst="rect">
            <a:avLst/>
          </a:prstGeom>
        </p:spPr>
        <p:txBody>
          <a:bodyPr wrap="none" lIns="0" tIns="0" rIns="0" bIns="0" anchor="b" anchorCtr="0">
            <a:noAutofit/>
          </a:bodyPr>
          <a:lstStyle>
            <a:lvl1pPr marL="0" marR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+mn-lt"/>
              </a:defRPr>
            </a:lvl1pPr>
            <a:lvl2pPr marL="360362" indent="0">
              <a:buNone/>
              <a:defRPr/>
            </a:lvl2pPr>
            <a:lvl3pPr marL="719138" indent="0">
              <a:buNone/>
              <a:defRPr/>
            </a:lvl3pPr>
            <a:lvl4pPr marL="1077912" indent="0">
              <a:buNone/>
              <a:defRPr/>
            </a:lvl4pPr>
            <a:lvl5pPr marL="1438275" indent="0">
              <a:buNone/>
              <a:defRPr/>
            </a:lvl5pPr>
          </a:lstStyle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2445947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7335">
          <p15:clr>
            <a:srgbClr val="FBAE40"/>
          </p15:clr>
        </p15:guide>
        <p15:guide id="3" pos="304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4468C18-0296-4573-85E5-F0EBD987F94F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</p:spTree>
    <p:extLst>
      <p:ext uri="{BB962C8B-B14F-4D97-AF65-F5344CB8AC3E}">
        <p14:creationId xmlns:p14="http://schemas.microsoft.com/office/powerpoint/2010/main" val="247666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5C0BD-0FF0-4CF1-B120-126345671E27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84216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5323F-67E8-440E-9C8B-CCDEB11691C9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20" hasCustomPrompt="1"/>
          </p:nvPr>
        </p:nvSpPr>
        <p:spPr>
          <a:xfrm>
            <a:off x="0" y="-1"/>
            <a:ext cx="12198350" cy="6200775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Bild über das Bild-Icon einfügen</a:t>
            </a:r>
          </a:p>
        </p:txBody>
      </p:sp>
    </p:spTree>
    <p:extLst>
      <p:ext uri="{BB962C8B-B14F-4D97-AF65-F5344CB8AC3E}">
        <p14:creationId xmlns:p14="http://schemas.microsoft.com/office/powerpoint/2010/main" val="1106125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F2D6CD5-EBD8-4E95-8859-83C8D04BFA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1804" y="5947634"/>
            <a:ext cx="1558409" cy="732008"/>
          </a:xfrm>
          <a:prstGeom prst="rect">
            <a:avLst/>
          </a:prstGeom>
        </p:spPr>
      </p:pic>
      <p:sp>
        <p:nvSpPr>
          <p:cNvPr id="14" name="Bildplatzhalter 13" descr="Hier Titelbild einfügen" title="Titelbild">
            <a:extLst>
              <a:ext uri="{FF2B5EF4-FFF2-40B4-BE49-F238E27FC236}">
                <a16:creationId xmlns:a16="http://schemas.microsoft.com/office/drawing/2014/main" id="{1DE6A71F-9A5B-4F1D-A226-20EDC05C37D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8350" cy="5772670"/>
          </a:xfrm>
          <a:prstGeom prst="rect">
            <a:avLst/>
          </a:prstGeom>
          <a:solidFill>
            <a:schemeClr val="bg2"/>
          </a:solidFill>
        </p:spPr>
        <p:txBody>
          <a:bodyPr lIns="216000" tIns="108000" anchor="t" anchorCtr="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Tipp: Zuerst das Bild einfügen (über das Bild-Icon), dann den Titel eingeben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338531" y="3427353"/>
            <a:ext cx="5957391" cy="797311"/>
          </a:xfrm>
          <a:solidFill>
            <a:srgbClr val="FFFFFF">
              <a:alpha val="80000"/>
            </a:srgbClr>
          </a:solidFill>
        </p:spPr>
        <p:txBody>
          <a:bodyPr wrap="square" lIns="108000" tIns="72000" rIns="108000" bIns="108000" anchor="b" anchorCtr="0">
            <a:spAutoFit/>
          </a:bodyPr>
          <a:lstStyle>
            <a:lvl1pPr algn="l">
              <a:lnSpc>
                <a:spcPct val="100000"/>
              </a:lnSpc>
              <a:defRPr sz="4000" b="1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Titelfoli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329363" y="6453187"/>
            <a:ext cx="3377345" cy="179387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D146AAE-CBA5-4588-BE76-94C76C0B041A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08043DE-5E81-43FD-995B-4B17DF0265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27514" y="4224664"/>
            <a:ext cx="4064000" cy="489534"/>
          </a:xfrm>
          <a:prstGeom prst="rect">
            <a:avLst/>
          </a:prstGeom>
          <a:solidFill>
            <a:srgbClr val="D72864">
              <a:alpha val="80000"/>
            </a:srgbClr>
          </a:solidFill>
        </p:spPr>
        <p:txBody>
          <a:bodyPr wrap="square" lIns="108000" tIns="72000" rIns="108000" bIns="108000" anchor="t" anchorCtr="0">
            <a:sp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29363" y="5949950"/>
            <a:ext cx="3365053" cy="503238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  <a:lvl2pPr marL="360362" indent="0">
              <a:buNone/>
              <a:defRPr/>
            </a:lvl2pPr>
            <a:lvl3pPr marL="719138" indent="0">
              <a:buNone/>
              <a:defRPr/>
            </a:lvl3pPr>
            <a:lvl4pPr marL="1077912" indent="0">
              <a:buNone/>
              <a:defRPr/>
            </a:lvl4pPr>
            <a:lvl5pPr marL="1438275" indent="0">
              <a:buNone/>
              <a:defRPr/>
            </a:lvl5pPr>
          </a:lstStyle>
          <a:p>
            <a:pPr marL="0" marR="0" lvl="0" indent="0" algn="l" defTabSz="609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rname Nachnam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2A818FE7-2817-4CCE-892B-6DE76AF6C5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6450" y="5949950"/>
            <a:ext cx="4532081" cy="6477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>
              <a:buNone/>
              <a:defRPr sz="1200">
                <a:latin typeface="+mn-lt"/>
              </a:defRPr>
            </a:lvl1pPr>
          </a:lstStyle>
          <a:p>
            <a:pPr lvl="0"/>
            <a:r>
              <a:rPr lang="de-CH" dirty="0"/>
              <a:t>Departement / Abteilung</a:t>
            </a:r>
          </a:p>
        </p:txBody>
      </p:sp>
    </p:spTree>
    <p:extLst>
      <p:ext uri="{BB962C8B-B14F-4D97-AF65-F5344CB8AC3E}">
        <p14:creationId xmlns:p14="http://schemas.microsoft.com/office/powerpoint/2010/main" val="2044621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108">
          <p15:clr>
            <a:srgbClr val="FBAE40"/>
          </p15:clr>
        </p15:guide>
        <p15:guide id="2" pos="2663">
          <p15:clr>
            <a:srgbClr val="FBAE40"/>
          </p15:clr>
        </p15:guide>
        <p15:guide id="3" orient="horz" pos="2659">
          <p15:clr>
            <a:srgbClr val="FBAE40"/>
          </p15:clr>
        </p15:guide>
        <p15:guide id="8" pos="5223">
          <p15:clr>
            <a:srgbClr val="FBAE40"/>
          </p15:clr>
        </p15:guide>
        <p15:guide id="9" orient="horz" pos="3748">
          <p15:clr>
            <a:srgbClr val="FBAE40"/>
          </p15:clr>
        </p15:guide>
        <p15:guide id="10" pos="336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foli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F49F7-91B5-4B63-A699-810DB2E5E598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0" hasCustomPrompt="1"/>
          </p:nvPr>
        </p:nvSpPr>
        <p:spPr>
          <a:xfrm>
            <a:off x="6494462" y="333375"/>
            <a:ext cx="5365751" cy="5867400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Bild über das Bild-Icon einfügen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449" y="2213149"/>
            <a:ext cx="5364164" cy="191773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806450" y="333375"/>
            <a:ext cx="5364163" cy="183515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3200" baseline="0"/>
            </a:lvl1pPr>
          </a:lstStyle>
          <a:p>
            <a:r>
              <a:rPr lang="de-DE" dirty="0"/>
              <a:t>Titel Abschnittsfoli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60501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orient="horz" pos="136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foli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7"/>
          <p:cNvSpPr>
            <a:spLocks noGrp="1"/>
          </p:cNvSpPr>
          <p:nvPr>
            <p:ph type="pic" sz="quarter" idx="21" hasCustomPrompt="1"/>
          </p:nvPr>
        </p:nvSpPr>
        <p:spPr>
          <a:xfrm>
            <a:off x="0" y="3850783"/>
            <a:ext cx="12198350" cy="2349992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Bild über das Bild-Icon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06450" y="333375"/>
            <a:ext cx="11053763" cy="183515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de-DE" dirty="0"/>
              <a:t>Titel Abschnittsfolie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25780-1B28-47EC-BAF2-A6F2F799CE64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450" y="2213149"/>
            <a:ext cx="7371633" cy="1398501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21904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orient="horz" pos="136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06450" y="1449387"/>
            <a:ext cx="11053763" cy="4751387"/>
          </a:xfrm>
          <a:prstGeom prst="rect">
            <a:avLst/>
          </a:prstGeom>
        </p:spPr>
        <p:txBody>
          <a:bodyPr numCol="2" spcCol="288000">
            <a:normAutofit/>
          </a:bodyPr>
          <a:lstStyle>
            <a:lvl1pPr marL="342900" marR="0" indent="-342900" algn="l" defTabSz="609768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tabLst/>
              <a:defRPr sz="2000" baseline="0"/>
            </a:lvl1pPr>
            <a:lvl2pPr marL="360363" indent="-360363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SzPct val="120000"/>
              <a:buFontTx/>
              <a:buBlip>
                <a:blip r:embed="rId2"/>
              </a:buBlip>
              <a:defRPr sz="2000" b="1" baseline="0"/>
            </a:lvl2pPr>
            <a:lvl3pPr marL="628650" indent="-26828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aseline="0"/>
            </a:lvl3pPr>
            <a:lvl4pPr marL="895350" indent="-206375">
              <a:spcBef>
                <a:spcPts val="400"/>
              </a:spcBef>
              <a:spcAft>
                <a:spcPts val="0"/>
              </a:spcAft>
              <a:defRPr/>
            </a:lvl4pPr>
            <a:lvl5pPr marL="1163638" indent="-230188">
              <a:spcBef>
                <a:spcPts val="4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Thema 1 [Ebene 1]</a:t>
            </a:r>
          </a:p>
          <a:p>
            <a:pPr lvl="1"/>
            <a:r>
              <a:rPr lang="de-DE" dirty="0"/>
              <a:t>Thema 2 aktiv [Ebene 2]</a:t>
            </a:r>
          </a:p>
          <a:p>
            <a:pPr lvl="2"/>
            <a:r>
              <a:rPr lang="de-DE" dirty="0"/>
              <a:t>Unterthema 1 [Ebene 3]</a:t>
            </a:r>
          </a:p>
          <a:p>
            <a:pPr lvl="2"/>
            <a:r>
              <a:rPr lang="de-DE" dirty="0"/>
              <a:t>Unterthema 2 [Ebene 3]</a:t>
            </a:r>
          </a:p>
          <a:p>
            <a:pPr marL="342900" marR="0" lvl="0" indent="-342900" algn="l" defTabSz="609768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Thema 3 [Ebene 1]</a:t>
            </a:r>
          </a:p>
          <a:p>
            <a:pPr lvl="0"/>
            <a:endParaRPr lang="de-DE" dirty="0"/>
          </a:p>
          <a:p>
            <a:pPr lvl="2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8E42ADF-F5B2-43B8-AB96-1EFC272BC7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8468" y="6244316"/>
            <a:ext cx="1340225" cy="629524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806450" y="333376"/>
            <a:ext cx="11053763" cy="287337"/>
          </a:xfrm>
        </p:spPr>
        <p:txBody>
          <a:bodyPr/>
          <a:lstStyle>
            <a:lvl1pPr>
              <a:defRPr lang="de-DE" sz="2000" b="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Agenda-Titel eingeb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30436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851B4-342B-4669-BF47-B66E8F5F17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083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851B4-342B-4669-BF47-B66E8F5F17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umsplatzhalt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5A87A3A-A709-4214-9BA6-54390D9EDE58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21"/>
          </p:nvPr>
        </p:nvSpPr>
        <p:spPr>
          <a:xfrm>
            <a:off x="806450" y="1449388"/>
            <a:ext cx="11053763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</p:spTree>
    <p:extLst>
      <p:ext uri="{BB962C8B-B14F-4D97-AF65-F5344CB8AC3E}">
        <p14:creationId xmlns:p14="http://schemas.microsoft.com/office/powerpoint/2010/main" val="1933275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BBA8E1-F518-4EFC-BD6E-D35F0E48EB43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6"/>
          </p:nvPr>
        </p:nvSpPr>
        <p:spPr>
          <a:xfrm>
            <a:off x="806450" y="1449388"/>
            <a:ext cx="5364163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Inhaltsplatzhalter 6"/>
          <p:cNvSpPr>
            <a:spLocks noGrp="1"/>
          </p:cNvSpPr>
          <p:nvPr>
            <p:ph sz="quarter" idx="27"/>
          </p:nvPr>
        </p:nvSpPr>
        <p:spPr>
          <a:xfrm>
            <a:off x="6496050" y="1449388"/>
            <a:ext cx="5364163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97685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6BD6E93-67E2-4483-A376-EADC18D8C01E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451" y="1449388"/>
            <a:ext cx="5364576" cy="358775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05072" y="1449388"/>
            <a:ext cx="5353967" cy="358775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11053764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Inhaltsplatzhalter 4"/>
          <p:cNvSpPr>
            <a:spLocks noGrp="1"/>
          </p:cNvSpPr>
          <p:nvPr>
            <p:ph sz="quarter" idx="25"/>
          </p:nvPr>
        </p:nvSpPr>
        <p:spPr>
          <a:xfrm>
            <a:off x="806450" y="1881188"/>
            <a:ext cx="5364163" cy="43195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4"/>
          <p:cNvSpPr>
            <a:spLocks noGrp="1"/>
          </p:cNvSpPr>
          <p:nvPr>
            <p:ph sz="quarter" idx="26"/>
          </p:nvPr>
        </p:nvSpPr>
        <p:spPr>
          <a:xfrm>
            <a:off x="6494463" y="1881188"/>
            <a:ext cx="5364163" cy="43195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56247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orient="horz" pos="113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7"/>
          <p:cNvSpPr>
            <a:spLocks noGrp="1"/>
          </p:cNvSpPr>
          <p:nvPr>
            <p:ph type="pic" sz="quarter" idx="21" hasCustomPrompt="1"/>
          </p:nvPr>
        </p:nvSpPr>
        <p:spPr>
          <a:xfrm>
            <a:off x="7431782" y="333375"/>
            <a:ext cx="4428432" cy="5867400"/>
          </a:xfrm>
          <a:prstGeom prst="rect">
            <a:avLst/>
          </a:prstGeom>
          <a:solidFill>
            <a:schemeClr val="bg2"/>
          </a:solidFill>
        </p:spPr>
        <p:txBody>
          <a:bodyPr lIns="216000" tIns="108000">
            <a:normAutofit/>
          </a:bodyPr>
          <a:lstStyle>
            <a:lvl1pPr marL="0" indent="0">
              <a:buNone/>
              <a:defRPr sz="2000" baseline="0"/>
            </a:lvl1pPr>
          </a:lstStyle>
          <a:p>
            <a:r>
              <a:rPr lang="de-CH" dirty="0"/>
              <a:t>Bild über das Bild-Icon einfüg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041674-8009-42AC-94BC-5517BB71E474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22"/>
          </p:nvPr>
        </p:nvSpPr>
        <p:spPr>
          <a:xfrm>
            <a:off x="806450" y="1449388"/>
            <a:ext cx="6337300" cy="47513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19B420C7-7824-4382-99B3-E842F4995A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6449" y="334039"/>
            <a:ext cx="6337301" cy="286673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06451" y="692150"/>
            <a:ext cx="6337300" cy="684213"/>
          </a:xfrm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22903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0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BFC0551-870D-4A43-B313-0B36D6E7EC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6386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59" imgH="360" progId="TCLayout.ActiveDocument.1">
                  <p:embed/>
                </p:oleObj>
              </mc:Choice>
              <mc:Fallback>
                <p:oleObj name="think-cell Folie" r:id="rId15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BFC0551-870D-4A43-B313-0B36D6E7EC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elplatzhalter 1"/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de-DE" dirty="0"/>
              <a:t>Titel Inhaltsfolie einzeilig</a:t>
            </a:r>
            <a:endParaRPr lang="de-CH" dirty="0"/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DCCF8EB6-970F-4B91-8E46-5B6411EAA2E4}"/>
              </a:ext>
            </a:extLst>
          </p:cNvPr>
          <p:cNvCxnSpPr>
            <a:cxnSpLocks/>
          </p:cNvCxnSpPr>
          <p:nvPr/>
        </p:nvCxnSpPr>
        <p:spPr>
          <a:xfrm>
            <a:off x="802958" y="6454845"/>
            <a:ext cx="5875" cy="40315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Datumsplatzhalter 2">
            <a:extLst>
              <a:ext uri="{FF2B5EF4-FFF2-40B4-BE49-F238E27FC236}">
                <a16:creationId xmlns:a16="http://schemas.microsoft.com/office/drawing/2014/main" id="{DD859570-9479-4CD6-9E5E-B8BCB591EF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94464" y="6453187"/>
            <a:ext cx="3376650" cy="17938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200"/>
            </a:lvl1pPr>
          </a:lstStyle>
          <a:p>
            <a:fld id="{9796ADD2-5D4E-4F29-B348-F099DDBA1BF7}" type="datetime4">
              <a:rPr lang="de-CH" smtClean="0"/>
              <a:t>1. August 2022</a:t>
            </a:fld>
            <a:endParaRPr lang="de-CH" dirty="0"/>
          </a:p>
        </p:txBody>
      </p:sp>
      <p:sp>
        <p:nvSpPr>
          <p:cNvPr id="52" name="Fußzeilenplatzhalter 3">
            <a:extLst>
              <a:ext uri="{FF2B5EF4-FFF2-40B4-BE49-F238E27FC236}">
                <a16:creationId xmlns:a16="http://schemas.microsoft.com/office/drawing/2014/main" id="{2A1BCD4E-392B-40D0-9259-9419E76355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lvl1pPr algn="l">
              <a:defRPr sz="1200"/>
            </a:lvl1pPr>
          </a:lstStyle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53" name="Foliennummernplatzhalter 4">
            <a:extLst>
              <a:ext uri="{FF2B5EF4-FFF2-40B4-BE49-F238E27FC236}">
                <a16:creationId xmlns:a16="http://schemas.microsoft.com/office/drawing/2014/main" id="{F6E723C3-915C-402C-9570-E97A66A840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EAC321B-7500-4259-A00F-915439A35E15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8E42ADF-F5B2-43B8-AB96-1EFC272BC700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8468" y="6244316"/>
            <a:ext cx="1340225" cy="629524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802958" y="1449388"/>
            <a:ext cx="11057254" cy="47513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726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</p:sldLayoutIdLst>
  <p:hf hdr="0" dt="0"/>
  <p:txStyles>
    <p:titleStyle>
      <a:lvl1pPr algn="l" defTabSz="609768" rtl="0" eaLnBrk="1" latinLnBrk="0" hangingPunct="1">
        <a:lnSpc>
          <a:spcPct val="120000"/>
        </a:lnSpc>
        <a:spcBef>
          <a:spcPct val="0"/>
        </a:spcBef>
        <a:buNone/>
        <a:defRPr sz="3200" b="1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609768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609768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609768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SzPct val="9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609768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marR="0" indent="-252000" algn="l" defTabSz="609768" rtl="0" eaLnBrk="1" fontAlgn="auto" latinLnBrk="0" hangingPunct="1">
        <a:lnSpc>
          <a:spcPct val="110000"/>
        </a:lnSpc>
        <a:spcBef>
          <a:spcPts val="1200"/>
        </a:spcBef>
        <a:spcAft>
          <a:spcPts val="0"/>
        </a:spcAft>
        <a:buClrTx/>
        <a:buSzTx/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512000" indent="-252000" algn="l" defTabSz="611188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64000" indent="-252000" algn="l" defTabSz="609768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6097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6097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60976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508">
          <p15:clr>
            <a:srgbClr val="547EBF"/>
          </p15:clr>
        </p15:guide>
        <p15:guide id="7" pos="7471">
          <p15:clr>
            <a:srgbClr val="547EBF"/>
          </p15:clr>
        </p15:guide>
        <p15:guide id="8" orient="horz" pos="210">
          <p15:clr>
            <a:srgbClr val="547EBF"/>
          </p15:clr>
        </p15:guide>
        <p15:guide id="9" orient="horz" pos="4065">
          <p15:clr>
            <a:srgbClr val="C35EA4"/>
          </p15:clr>
        </p15:guide>
        <p15:guide id="10" orient="horz" pos="4156" userDrawn="1">
          <p15:clr>
            <a:srgbClr val="547EBF"/>
          </p15:clr>
        </p15:guide>
        <p15:guide id="12" orient="horz" pos="391">
          <p15:clr>
            <a:srgbClr val="C35EA4"/>
          </p15:clr>
        </p15:guide>
        <p15:guide id="13" orient="horz" pos="913">
          <p15:clr>
            <a:srgbClr val="C35EA4"/>
          </p15:clr>
        </p15:guide>
        <p15:guide id="14" orient="horz" pos="3906">
          <p15:clr>
            <a:srgbClr val="C35EA4"/>
          </p15:clr>
        </p15:guide>
        <p15:guide id="15" pos="3987">
          <p15:clr>
            <a:srgbClr val="9FCC3B"/>
          </p15:clr>
        </p15:guide>
        <p15:guide id="16" pos="4091">
          <p15:clr>
            <a:srgbClr val="C35EA4"/>
          </p15:clr>
        </p15:guide>
        <p15:guide id="17" pos="3887">
          <p15:clr>
            <a:srgbClr val="C35EA4"/>
          </p15:clr>
        </p15:guide>
        <p15:guide id="18" orient="horz" pos="867">
          <p15:clr>
            <a:srgbClr val="C35EA4"/>
          </p15:clr>
        </p15:guide>
        <p15:guide id="19" orient="horz" pos="436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6" Type="http://schemas.openxmlformats.org/officeDocument/2006/relationships/chart" Target="../charts/chart3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.xml"/><Relationship Id="rId6" Type="http://schemas.openxmlformats.org/officeDocument/2006/relationships/image" Target="../media/image14.emf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.xml"/><Relationship Id="rId6" Type="http://schemas.openxmlformats.org/officeDocument/2006/relationships/image" Target="../media/image14.emf"/><Relationship Id="rId5" Type="http://schemas.openxmlformats.org/officeDocument/2006/relationships/chart" Target="../charts/chart5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chart" Target="../charts/chart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6.xml"/><Relationship Id="rId6" Type="http://schemas.openxmlformats.org/officeDocument/2006/relationships/hyperlink" Target="http://www.statista.com/statistics/1256342/worldwide-wireless-charging-market-revenues" TargetMode="Externa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hyperlink" Target="http://de.statista.com/statistik/daten/studie/180389/umfrage/gruende-fuer-kaufentscheidung-von-smartphones" TargetMode="Externa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6" Type="http://schemas.openxmlformats.org/officeDocument/2006/relationships/chart" Target="../charts/chart7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hyperlink" Target="http://www.statista.com/statistics/1097587/ownership-of-iphone-android-accessories-in-belgium" TargetMode="Externa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8.xml"/><Relationship Id="rId6" Type="http://schemas.openxmlformats.org/officeDocument/2006/relationships/image" Target="../media/image14.emf"/><Relationship Id="rId5" Type="http://schemas.openxmlformats.org/officeDocument/2006/relationships/chart" Target="../charts/chart8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18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14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6" Type="http://schemas.openxmlformats.org/officeDocument/2006/relationships/chart" Target="../charts/chart9.xml"/><Relationship Id="rId5" Type="http://schemas.openxmlformats.org/officeDocument/2006/relationships/image" Target="../media/image19.jp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1.xml"/><Relationship Id="rId6" Type="http://schemas.openxmlformats.org/officeDocument/2006/relationships/image" Target="../media/image14.emf"/><Relationship Id="rId5" Type="http://schemas.openxmlformats.org/officeDocument/2006/relationships/chart" Target="../charts/chart10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chart" Target="../charts/chart1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2.xml"/><Relationship Id="rId6" Type="http://schemas.openxmlformats.org/officeDocument/2006/relationships/hyperlink" Target="http://www.statista.com/statistics/1097587/ownership-of-iphone-android-accessories-in-belgium" TargetMode="Externa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3.xml"/><Relationship Id="rId6" Type="http://schemas.openxmlformats.org/officeDocument/2006/relationships/hyperlink" Target="http://www.statista.com/statistics/462684/premium-willing-to-pay-personalized-products-or-services-great-britain" TargetMode="External"/><Relationship Id="rId5" Type="http://schemas.openxmlformats.org/officeDocument/2006/relationships/chart" Target="../charts/chart12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4.xml"/><Relationship Id="rId6" Type="http://schemas.openxmlformats.org/officeDocument/2006/relationships/image" Target="../media/image14.emf"/><Relationship Id="rId11" Type="http://schemas.openxmlformats.org/officeDocument/2006/relationships/image" Target="../media/image25.png"/><Relationship Id="rId5" Type="http://schemas.openxmlformats.org/officeDocument/2006/relationships/chart" Target="../charts/chart13.xml"/><Relationship Id="rId10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5.xml"/><Relationship Id="rId6" Type="http://schemas.openxmlformats.org/officeDocument/2006/relationships/image" Target="../media/image22.png"/><Relationship Id="rId5" Type="http://schemas.openxmlformats.org/officeDocument/2006/relationships/image" Target="../media/image26.png"/><Relationship Id="rId4" Type="http://schemas.openxmlformats.org/officeDocument/2006/relationships/image" Target="../media/image1.emf"/><Relationship Id="rId9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6" Type="http://schemas.openxmlformats.org/officeDocument/2006/relationships/image" Target="../media/image31.png"/><Relationship Id="rId5" Type="http://schemas.openxmlformats.org/officeDocument/2006/relationships/image" Target="../media/image30.jp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7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42.png"/><Relationship Id="rId3" Type="http://schemas.openxmlformats.org/officeDocument/2006/relationships/tags" Target="../tags/tag32.xml"/><Relationship Id="rId7" Type="http://schemas.openxmlformats.org/officeDocument/2006/relationships/oleObject" Target="../embeddings/oleObject29.bin"/><Relationship Id="rId12" Type="http://schemas.openxmlformats.org/officeDocument/2006/relationships/image" Target="../media/image41.svg"/><Relationship Id="rId2" Type="http://schemas.openxmlformats.org/officeDocument/2006/relationships/tags" Target="../tags/tag31.xml"/><Relationship Id="rId16" Type="http://schemas.openxmlformats.org/officeDocument/2006/relationships/image" Target="../media/image45.svg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0.png"/><Relationship Id="rId5" Type="http://schemas.openxmlformats.org/officeDocument/2006/relationships/tags" Target="../tags/tag34.xml"/><Relationship Id="rId15" Type="http://schemas.openxmlformats.org/officeDocument/2006/relationships/image" Target="../media/image44.png"/><Relationship Id="rId10" Type="http://schemas.openxmlformats.org/officeDocument/2006/relationships/image" Target="../media/image39.svg"/><Relationship Id="rId4" Type="http://schemas.openxmlformats.org/officeDocument/2006/relationships/tags" Target="../tags/tag33.xml"/><Relationship Id="rId9" Type="http://schemas.openxmlformats.org/officeDocument/2006/relationships/image" Target="../media/image38.png"/><Relationship Id="rId14" Type="http://schemas.openxmlformats.org/officeDocument/2006/relationships/image" Target="../media/image43.sv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oleObject" Target="../embeddings/oleObject30.bin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5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6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oleObject" Target="../embeddings/oleObject32.bin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7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8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oleObject" Target="../embeddings/oleObject34.bin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9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oleObject" Target="../embeddings/oleObject35.bin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0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36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1.xml"/><Relationship Id="rId6" Type="http://schemas.openxmlformats.org/officeDocument/2006/relationships/image" Target="../media/image51.svg"/><Relationship Id="rId5" Type="http://schemas.openxmlformats.org/officeDocument/2006/relationships/image" Target="../media/image50.png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2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3.xml"/><Relationship Id="rId5" Type="http://schemas.openxmlformats.org/officeDocument/2006/relationships/image" Target="../media/image52.png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4.xml"/><Relationship Id="rId5" Type="http://schemas.openxmlformats.org/officeDocument/2006/relationships/image" Target="../media/image52.png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5.xml"/><Relationship Id="rId5" Type="http://schemas.openxmlformats.org/officeDocument/2006/relationships/image" Target="../media/image52.png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6.xml"/><Relationship Id="rId5" Type="http://schemas.openxmlformats.org/officeDocument/2006/relationships/image" Target="../media/image52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11" Type="http://schemas.openxmlformats.org/officeDocument/2006/relationships/image" Target="../media/image6.jpg"/><Relationship Id="rId5" Type="http://schemas.openxmlformats.org/officeDocument/2006/relationships/image" Target="../media/image1.emf"/><Relationship Id="rId10" Type="http://schemas.openxmlformats.org/officeDocument/2006/relationships/image" Target="../media/image11.jp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oleObject" Target="../embeddings/oleObject43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8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oleObject" Target="../embeddings/oleObject44.bin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9.xml"/><Relationship Id="rId6" Type="http://schemas.openxmlformats.org/officeDocument/2006/relationships/image" Target="../media/image53.png"/><Relationship Id="rId5" Type="http://schemas.openxmlformats.org/officeDocument/2006/relationships/chart" Target="../charts/chart14.xml"/><Relationship Id="rId4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1.xml"/><Relationship Id="rId6" Type="http://schemas.openxmlformats.org/officeDocument/2006/relationships/image" Target="../media/image8.png"/><Relationship Id="rId5" Type="http://schemas.openxmlformats.org/officeDocument/2006/relationships/image" Target="../media/image58.png"/><Relationship Id="rId4" Type="http://schemas.openxmlformats.org/officeDocument/2006/relationships/image" Target="../media/image1.emf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oleObject" Target="../embeddings/oleObject47.bin"/><Relationship Id="rId7" Type="http://schemas.openxmlformats.org/officeDocument/2006/relationships/image" Target="../media/image9.jp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2.xml"/><Relationship Id="rId6" Type="http://schemas.openxmlformats.org/officeDocument/2006/relationships/image" Target="../media/image4.emf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3.xml"/><Relationship Id="rId6" Type="http://schemas.openxmlformats.org/officeDocument/2006/relationships/image" Target="../media/image60.png"/><Relationship Id="rId5" Type="http://schemas.openxmlformats.org/officeDocument/2006/relationships/image" Target="../media/image59.JP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12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6" Type="http://schemas.openxmlformats.org/officeDocument/2006/relationships/image" Target="../media/image14.emf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6" Type="http://schemas.openxmlformats.org/officeDocument/2006/relationships/image" Target="../media/image14.emf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0E602E3-5BC8-4546-9907-64928186EA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1607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0E602E3-5BC8-4546-9907-64928186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59B8CAD-D78E-4560-AC6E-ACEBB9597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OST-Gadget: a real-</a:t>
            </a:r>
            <a:r>
              <a:rPr lang="de-CH" dirty="0" err="1"/>
              <a:t>world</a:t>
            </a:r>
            <a:r>
              <a:rPr lang="de-CH" dirty="0"/>
              <a:t> </a:t>
            </a:r>
            <a:r>
              <a:rPr lang="de-CH" dirty="0" err="1"/>
              <a:t>business</a:t>
            </a:r>
            <a:r>
              <a:rPr lang="de-CH" dirty="0"/>
              <a:t> </a:t>
            </a:r>
            <a:r>
              <a:rPr lang="de-CH" dirty="0" err="1"/>
              <a:t>planning</a:t>
            </a:r>
            <a:r>
              <a:rPr lang="de-CH" dirty="0"/>
              <a:t> </a:t>
            </a:r>
            <a:r>
              <a:rPr lang="de-CH" dirty="0" err="1"/>
              <a:t>case</a:t>
            </a:r>
            <a:r>
              <a:rPr lang="de-CH" dirty="0"/>
              <a:t> </a:t>
            </a:r>
            <a:r>
              <a:rPr lang="de-CH" dirty="0" err="1"/>
              <a:t>study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57383F6-E550-49CD-8752-8C3DA9AE15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M. Alberding, 07/2022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EF5961-5049-4ACC-9345-B51F4043D2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/>
              <a:t>Sample Solution: </a:t>
            </a:r>
            <a:r>
              <a:rPr lang="de-CH"/>
              <a:t>Today’s </a:t>
            </a:r>
            <a:r>
              <a:rPr lang="de-CH" dirty="0"/>
              <a:t>OST-Gadge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B9BA18A-01D7-467A-93F6-DE99410888D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1D8B951-4509-4130-A7E9-35943B4F3D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19794" y="6154403"/>
            <a:ext cx="1678556" cy="572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577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62181BC-C76C-4401-9CD1-4A754E93AB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0442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62181BC-C76C-4401-9CD1-4A754E93AB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786A29-5C33-488B-87FB-01B9AA0F6C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0C00D31-181F-42DB-9E14-02A2F038E9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0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FB48300-A203-4A12-92D2-8418006DC2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1.8M </a:t>
            </a:r>
            <a:r>
              <a:rPr lang="de-CH" dirty="0" err="1"/>
              <a:t>smartphon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sold</a:t>
            </a:r>
            <a:r>
              <a:rPr lang="de-CH" dirty="0"/>
              <a:t> in </a:t>
            </a:r>
            <a:r>
              <a:rPr lang="de-CH" dirty="0" err="1"/>
              <a:t>Switzerland</a:t>
            </a:r>
            <a:r>
              <a:rPr lang="de-CH" dirty="0"/>
              <a:t> in 2022. </a:t>
            </a:r>
            <a:r>
              <a:rPr lang="de-CH" dirty="0" err="1"/>
              <a:t>With</a:t>
            </a:r>
            <a:r>
              <a:rPr lang="de-CH" dirty="0"/>
              <a:t> 6%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opulation</a:t>
            </a:r>
            <a:r>
              <a:rPr lang="de-CH" dirty="0"/>
              <a:t>, Kanton St. Gallen </a:t>
            </a:r>
            <a:r>
              <a:rPr lang="de-CH" dirty="0" err="1"/>
              <a:t>would</a:t>
            </a:r>
            <a:r>
              <a:rPr lang="de-CH" dirty="0"/>
              <a:t> </a:t>
            </a:r>
            <a:r>
              <a:rPr lang="de-CH" dirty="0" err="1"/>
              <a:t>accoun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~100k.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2E84D3B-C0A1-42B2-B638-C17E252E259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sz="2000" b="1" dirty="0" err="1">
                <a:solidFill>
                  <a:srgbClr val="191919"/>
                </a:solidFill>
              </a:rPr>
              <a:t>How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th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marke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characterized</a:t>
            </a:r>
            <a:r>
              <a:rPr lang="de-CH" sz="2000" b="1" dirty="0">
                <a:solidFill>
                  <a:srgbClr val="191919"/>
                </a:solidFill>
              </a:rPr>
              <a:t>? </a:t>
            </a:r>
          </a:p>
        </p:txBody>
      </p:sp>
      <p:sp>
        <p:nvSpPr>
          <p:cNvPr id="7" name="New shape">
            <a:extLst>
              <a:ext uri="{FF2B5EF4-FFF2-40B4-BE49-F238E27FC236}">
                <a16:creationId xmlns:a16="http://schemas.microsoft.com/office/drawing/2014/main" id="{C4FC4BAF-BFE3-4667-B15E-66DFB8BE9E7F}"/>
              </a:ext>
            </a:extLst>
          </p:cNvPr>
          <p:cNvSpPr/>
          <p:nvPr/>
        </p:nvSpPr>
        <p:spPr>
          <a:xfrm>
            <a:off x="806449" y="1556156"/>
            <a:ext cx="11196000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sz="1200" b="1" dirty="0">
                <a:solidFill>
                  <a:schemeClr val="tx1"/>
                </a:solidFill>
              </a:rPr>
              <a:t>Smartphone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sales</a:t>
            </a:r>
            <a:r>
              <a:rPr lang="de-CH" sz="1200" b="1" dirty="0">
                <a:solidFill>
                  <a:schemeClr val="tx1"/>
                </a:solidFill>
              </a:rPr>
              <a:t> in </a:t>
            </a:r>
            <a:r>
              <a:rPr lang="de-CH" sz="1200" b="1" dirty="0" err="1">
                <a:solidFill>
                  <a:schemeClr val="tx1"/>
                </a:solidFill>
              </a:rPr>
              <a:t>Switzerland</a:t>
            </a:r>
            <a:endParaRPr sz="1200" b="1" dirty="0">
              <a:solidFill>
                <a:schemeClr val="tx1"/>
              </a:solidFill>
            </a:endParaRPr>
          </a:p>
        </p:txBody>
      </p:sp>
      <p:sp>
        <p:nvSpPr>
          <p:cNvPr id="8" name="New shape">
            <a:extLst>
              <a:ext uri="{FF2B5EF4-FFF2-40B4-BE49-F238E27FC236}">
                <a16:creationId xmlns:a16="http://schemas.microsoft.com/office/drawing/2014/main" id="{3CBDBE2C-46C8-4E33-BAD0-6B1F2570D56E}"/>
              </a:ext>
            </a:extLst>
          </p:cNvPr>
          <p:cNvSpPr/>
          <p:nvPr/>
        </p:nvSpPr>
        <p:spPr>
          <a:xfrm>
            <a:off x="10447200" y="5994958"/>
            <a:ext cx="1170000" cy="23760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graphicFrame>
        <p:nvGraphicFramePr>
          <p:cNvPr id="19" name="ChartObject">
            <a:extLst>
              <a:ext uri="{FF2B5EF4-FFF2-40B4-BE49-F238E27FC236}">
                <a16:creationId xmlns:a16="http://schemas.microsoft.com/office/drawing/2014/main" id="{6809B308-E024-4B41-8442-7ECD94113E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0035567"/>
              </p:ext>
            </p:extLst>
          </p:nvPr>
        </p:nvGraphicFramePr>
        <p:xfrm>
          <a:off x="844213" y="1869356"/>
          <a:ext cx="11016000" cy="4148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5" name="New shape">
            <a:extLst>
              <a:ext uri="{FF2B5EF4-FFF2-40B4-BE49-F238E27FC236}">
                <a16:creationId xmlns:a16="http://schemas.microsoft.com/office/drawing/2014/main" id="{22A3809B-E850-4B8A-A723-A5C425DF9178}"/>
              </a:ext>
            </a:extLst>
          </p:cNvPr>
          <p:cNvSpPr/>
          <p:nvPr/>
        </p:nvSpPr>
        <p:spPr>
          <a:xfrm>
            <a:off x="1311175" y="1448987"/>
            <a:ext cx="9576000" cy="527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endParaRPr sz="600" b="0" dirty="0">
              <a:solidFill>
                <a:srgbClr val="0F2741"/>
              </a:solidFill>
              <a:latin typeface="Open Sans"/>
            </a:endParaRPr>
          </a:p>
        </p:txBody>
      </p:sp>
      <p:sp>
        <p:nvSpPr>
          <p:cNvPr id="26" name="New shape">
            <a:extLst>
              <a:ext uri="{FF2B5EF4-FFF2-40B4-BE49-F238E27FC236}">
                <a16:creationId xmlns:a16="http://schemas.microsoft.com/office/drawing/2014/main" id="{161CF2C3-BAB4-42A9-B830-223D4F0B0EB3}"/>
              </a:ext>
            </a:extLst>
          </p:cNvPr>
          <p:cNvSpPr/>
          <p:nvPr/>
        </p:nvSpPr>
        <p:spPr>
          <a:xfrm>
            <a:off x="896450" y="5999055"/>
            <a:ext cx="9576000" cy="527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r>
              <a:rPr lang="de-CH" sz="800" b="1" dirty="0">
                <a:solidFill>
                  <a:schemeClr val="tx1"/>
                </a:solidFill>
              </a:rPr>
              <a:t>Hinweis(e): </a:t>
            </a:r>
            <a:r>
              <a:rPr lang="de-CH" sz="800" b="0" dirty="0">
                <a:solidFill>
                  <a:schemeClr val="tx1"/>
                </a:solidFill>
              </a:rPr>
              <a:t>Schweiz</a:t>
            </a:r>
          </a:p>
          <a:p>
            <a:r>
              <a:rPr lang="de-CH" sz="800" b="1" dirty="0">
                <a:solidFill>
                  <a:schemeClr val="tx1"/>
                </a:solidFill>
              </a:rPr>
              <a:t>Quelle(n): </a:t>
            </a:r>
            <a:r>
              <a:rPr lang="de-CH" sz="800" b="0" dirty="0">
                <a:solidFill>
                  <a:schemeClr val="tx1"/>
                </a:solidFill>
              </a:rPr>
              <a:t>Statista; Statista Consumer Market Outlook </a:t>
            </a:r>
          </a:p>
        </p:txBody>
      </p:sp>
    </p:spTree>
    <p:extLst>
      <p:ext uri="{BB962C8B-B14F-4D97-AF65-F5344CB8AC3E}">
        <p14:creationId xmlns:p14="http://schemas.microsoft.com/office/powerpoint/2010/main" val="39936306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023429-F126-4570-ACB4-38481BE776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923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023429-F126-4570-ACB4-38481BE776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32E9A3-5D65-4981-82C6-750401F06A5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879F2B4-59E7-4DE6-97F0-EA341EBFFB8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46FFD4C-D485-43BA-9966-C7CD2B5B6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b="1" dirty="0">
                <a:solidFill>
                  <a:schemeClr val="tx2"/>
                </a:solidFill>
              </a:rPr>
              <a:t>Smartphones in Switzerland are typically used ≥4 years</a:t>
            </a:r>
            <a:endParaRPr lang="de-CH" sz="3200" b="1" dirty="0">
              <a:solidFill>
                <a:schemeClr val="tx2"/>
              </a:solidFill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2945864-19B8-4AAF-9996-D6FC1AA248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sz="2000" b="1" dirty="0" err="1">
                <a:solidFill>
                  <a:srgbClr val="191919"/>
                </a:solidFill>
              </a:rPr>
              <a:t>How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th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marke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characterized</a:t>
            </a:r>
            <a:r>
              <a:rPr lang="de-CH" sz="2000" b="1" dirty="0">
                <a:solidFill>
                  <a:srgbClr val="191919"/>
                </a:solidFill>
              </a:rPr>
              <a:t>? </a:t>
            </a:r>
          </a:p>
        </p:txBody>
      </p:sp>
      <p:graphicFrame>
        <p:nvGraphicFramePr>
          <p:cNvPr id="6" name="ChartObject">
            <a:extLst>
              <a:ext uri="{FF2B5EF4-FFF2-40B4-BE49-F238E27FC236}">
                <a16:creationId xmlns:a16="http://schemas.microsoft.com/office/drawing/2014/main" id="{2553717D-5B7C-4E78-834B-526B50FDAC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5411974"/>
              </p:ext>
            </p:extLst>
          </p:nvPr>
        </p:nvGraphicFramePr>
        <p:xfrm>
          <a:off x="844213" y="1691210"/>
          <a:ext cx="11016000" cy="4148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New shape">
            <a:extLst>
              <a:ext uri="{FF2B5EF4-FFF2-40B4-BE49-F238E27FC236}">
                <a16:creationId xmlns:a16="http://schemas.microsoft.com/office/drawing/2014/main" id="{59C20699-111C-4EB9-ACDA-D542A9E650D1}"/>
              </a:ext>
            </a:extLst>
          </p:cNvPr>
          <p:cNvSpPr/>
          <p:nvPr/>
        </p:nvSpPr>
        <p:spPr>
          <a:xfrm>
            <a:off x="806449" y="1447801"/>
            <a:ext cx="11196000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de-CH" sz="1200" b="1" dirty="0" err="1">
                <a:solidFill>
                  <a:schemeClr val="tx1"/>
                </a:solidFill>
              </a:rPr>
              <a:t>How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long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are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you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using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your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smartphone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before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buying</a:t>
            </a:r>
            <a:r>
              <a:rPr lang="de-CH" sz="1200" b="1" dirty="0">
                <a:solidFill>
                  <a:schemeClr val="tx1"/>
                </a:solidFill>
              </a:rPr>
              <a:t> a </a:t>
            </a:r>
            <a:r>
              <a:rPr lang="de-CH" sz="1200" b="1" dirty="0" err="1">
                <a:solidFill>
                  <a:schemeClr val="tx1"/>
                </a:solidFill>
              </a:rPr>
              <a:t>new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one</a:t>
            </a:r>
            <a:r>
              <a:rPr lang="de-CH" sz="1200" b="1" dirty="0">
                <a:solidFill>
                  <a:schemeClr val="tx1"/>
                </a:solidFill>
              </a:rPr>
              <a:t>? (</a:t>
            </a:r>
            <a:r>
              <a:rPr lang="de-CH" sz="1200" b="1" dirty="0" err="1">
                <a:solidFill>
                  <a:schemeClr val="tx1"/>
                </a:solidFill>
              </a:rPr>
              <a:t>Switzerland</a:t>
            </a:r>
            <a:r>
              <a:rPr lang="de-CH" sz="1200" b="1" dirty="0">
                <a:solidFill>
                  <a:schemeClr val="tx1"/>
                </a:solidFill>
              </a:rPr>
              <a:t>, 2021)</a:t>
            </a:r>
            <a:endParaRPr sz="1200" b="1" dirty="0">
              <a:solidFill>
                <a:schemeClr val="tx1"/>
              </a:solidFill>
            </a:endParaRPr>
          </a:p>
        </p:txBody>
      </p:sp>
      <p:sp>
        <p:nvSpPr>
          <p:cNvPr id="12" name="New shape">
            <a:extLst>
              <a:ext uri="{FF2B5EF4-FFF2-40B4-BE49-F238E27FC236}">
                <a16:creationId xmlns:a16="http://schemas.microsoft.com/office/drawing/2014/main" id="{6D33646A-C7FA-47B7-8817-5398A8B55D2D}"/>
              </a:ext>
            </a:extLst>
          </p:cNvPr>
          <p:cNvSpPr/>
          <p:nvPr/>
        </p:nvSpPr>
        <p:spPr>
          <a:xfrm>
            <a:off x="10447200" y="5994958"/>
            <a:ext cx="1170000" cy="2376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3" name="New shape">
            <a:extLst>
              <a:ext uri="{FF2B5EF4-FFF2-40B4-BE49-F238E27FC236}">
                <a16:creationId xmlns:a16="http://schemas.microsoft.com/office/drawing/2014/main" id="{A834DC6D-DF3D-40AB-A540-67BE96726105}"/>
              </a:ext>
            </a:extLst>
          </p:cNvPr>
          <p:cNvSpPr/>
          <p:nvPr/>
        </p:nvSpPr>
        <p:spPr>
          <a:xfrm>
            <a:off x="896450" y="5999055"/>
            <a:ext cx="9576000" cy="527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r>
              <a:rPr lang="de-CH" sz="800" b="1" dirty="0">
                <a:solidFill>
                  <a:schemeClr val="tx1"/>
                </a:solidFill>
              </a:rPr>
              <a:t>Hinweis(e): </a:t>
            </a:r>
            <a:r>
              <a:rPr lang="de-CH" sz="800" b="0" dirty="0">
                <a:solidFill>
                  <a:schemeClr val="tx1"/>
                </a:solidFill>
              </a:rPr>
              <a:t>Schweiz; Oktober 2021; 2042 Befragte; repräsentative Befragung in allen Regionen der Schweiz; geplante Nutzungsdauer aktuelles Handy</a:t>
            </a:r>
          </a:p>
          <a:p>
            <a:r>
              <a:rPr lang="de-CH" sz="800" b="1" dirty="0">
                <a:solidFill>
                  <a:schemeClr val="tx1"/>
                </a:solidFill>
              </a:rPr>
              <a:t>Quelle(n): </a:t>
            </a:r>
            <a:r>
              <a:rPr lang="de-CH" sz="800" b="0" dirty="0">
                <a:solidFill>
                  <a:schemeClr val="tx1"/>
                </a:solidFill>
              </a:rPr>
              <a:t>Comparis </a:t>
            </a:r>
          </a:p>
        </p:txBody>
      </p:sp>
    </p:spTree>
    <p:extLst>
      <p:ext uri="{BB962C8B-B14F-4D97-AF65-F5344CB8AC3E}">
        <p14:creationId xmlns:p14="http://schemas.microsoft.com/office/powerpoint/2010/main" val="30926448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46D2767-FDBF-4386-AC47-B650B6CD1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6146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46D2767-FDBF-4386-AC47-B650B6CD1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74878D2-6054-476B-A330-AB083EBFDFB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C564045-06FD-4FB6-9A2D-9D68CC0BECC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93035EE-F1C3-4380-A5BA-8607F81C2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Android and Apple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dominating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983F79-883A-439D-A3DE-149AF0B5478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sz="2000" b="1" dirty="0" err="1">
                <a:solidFill>
                  <a:srgbClr val="191919"/>
                </a:solidFill>
              </a:rPr>
              <a:t>How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th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marke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characterized</a:t>
            </a:r>
            <a:r>
              <a:rPr lang="de-CH" sz="2000" b="1" dirty="0">
                <a:solidFill>
                  <a:srgbClr val="191919"/>
                </a:solidFill>
              </a:rPr>
              <a:t>? </a:t>
            </a:r>
          </a:p>
        </p:txBody>
      </p:sp>
      <p:graphicFrame>
        <p:nvGraphicFramePr>
          <p:cNvPr id="6" name="ChartObject">
            <a:extLst>
              <a:ext uri="{FF2B5EF4-FFF2-40B4-BE49-F238E27FC236}">
                <a16:creationId xmlns:a16="http://schemas.microsoft.com/office/drawing/2014/main" id="{3F22B522-E425-4B1A-A12C-A5115A9100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9381373"/>
              </p:ext>
            </p:extLst>
          </p:nvPr>
        </p:nvGraphicFramePr>
        <p:xfrm>
          <a:off x="586800" y="2098700"/>
          <a:ext cx="11016000" cy="393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8" name="New shape">
            <a:extLst>
              <a:ext uri="{FF2B5EF4-FFF2-40B4-BE49-F238E27FC236}">
                <a16:creationId xmlns:a16="http://schemas.microsoft.com/office/drawing/2014/main" id="{ED6B45D8-7822-4CBD-9C76-C58C86AC32C1}"/>
              </a:ext>
            </a:extLst>
          </p:cNvPr>
          <p:cNvSpPr/>
          <p:nvPr/>
        </p:nvSpPr>
        <p:spPr>
          <a:xfrm>
            <a:off x="806449" y="1447801"/>
            <a:ext cx="11196000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de-CH" sz="1200" b="1" dirty="0" err="1">
                <a:solidFill>
                  <a:schemeClr val="tx1"/>
                </a:solidFill>
              </a:rPr>
              <a:t>What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operating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system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are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you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using</a:t>
            </a:r>
            <a:r>
              <a:rPr lang="de-CH" sz="1200" b="1" dirty="0">
                <a:solidFill>
                  <a:schemeClr val="tx1"/>
                </a:solidFill>
              </a:rPr>
              <a:t>? (</a:t>
            </a:r>
            <a:r>
              <a:rPr lang="de-CH" sz="1200" b="1" dirty="0" err="1">
                <a:solidFill>
                  <a:schemeClr val="tx1"/>
                </a:solidFill>
              </a:rPr>
              <a:t>Switzerland</a:t>
            </a:r>
            <a:r>
              <a:rPr lang="de-CH" sz="1200" b="1" dirty="0">
                <a:solidFill>
                  <a:schemeClr val="tx1"/>
                </a:solidFill>
              </a:rPr>
              <a:t>, 2021)</a:t>
            </a:r>
            <a:endParaRPr sz="1200" b="1" dirty="0">
              <a:solidFill>
                <a:schemeClr val="tx1"/>
              </a:solidFill>
            </a:endParaRPr>
          </a:p>
        </p:txBody>
      </p:sp>
      <p:sp>
        <p:nvSpPr>
          <p:cNvPr id="19" name="New shape">
            <a:extLst>
              <a:ext uri="{FF2B5EF4-FFF2-40B4-BE49-F238E27FC236}">
                <a16:creationId xmlns:a16="http://schemas.microsoft.com/office/drawing/2014/main" id="{6B88EC40-C173-4C24-AFFE-9501A591DF60}"/>
              </a:ext>
            </a:extLst>
          </p:cNvPr>
          <p:cNvSpPr/>
          <p:nvPr/>
        </p:nvSpPr>
        <p:spPr>
          <a:xfrm>
            <a:off x="10447200" y="5994958"/>
            <a:ext cx="1170000" cy="2376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0" name="New shape">
            <a:extLst>
              <a:ext uri="{FF2B5EF4-FFF2-40B4-BE49-F238E27FC236}">
                <a16:creationId xmlns:a16="http://schemas.microsoft.com/office/drawing/2014/main" id="{52C80FB2-24F7-4E0B-913E-1AF15B93891B}"/>
              </a:ext>
            </a:extLst>
          </p:cNvPr>
          <p:cNvSpPr/>
          <p:nvPr/>
        </p:nvSpPr>
        <p:spPr>
          <a:xfrm>
            <a:off x="896450" y="5999055"/>
            <a:ext cx="9576000" cy="527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r>
              <a:rPr lang="de-CH" sz="800" b="1" dirty="0">
                <a:solidFill>
                  <a:schemeClr val="tx1"/>
                </a:solidFill>
              </a:rPr>
              <a:t>Hinweis(e): </a:t>
            </a:r>
            <a:r>
              <a:rPr lang="de-CH" sz="800" dirty="0">
                <a:solidFill>
                  <a:schemeClr val="tx1"/>
                </a:solidFill>
              </a:rPr>
              <a:t>Schweiz; 07.10. bis 22.12.2021 und 06.07.2021 bis 20.09.2021 und 06.04.2021 bis 16.06.2021 und 07.01.2021 bis 17.03.2021; 1968 Befragte; 18 bis 64 Jahre; Befragte, die ein Smartphone nutzen</a:t>
            </a:r>
          </a:p>
          <a:p>
            <a:r>
              <a:rPr lang="de-CH" sz="800" b="1" dirty="0">
                <a:solidFill>
                  <a:schemeClr val="tx1"/>
                </a:solidFill>
              </a:rPr>
              <a:t>Quelle(n): </a:t>
            </a:r>
            <a:r>
              <a:rPr lang="de-CH" sz="800" dirty="0">
                <a:solidFill>
                  <a:schemeClr val="tx1"/>
                </a:solidFill>
              </a:rPr>
              <a:t>Statista Global Consumer Survey (GCS) </a:t>
            </a:r>
          </a:p>
        </p:txBody>
      </p:sp>
    </p:spTree>
    <p:extLst>
      <p:ext uri="{BB962C8B-B14F-4D97-AF65-F5344CB8AC3E}">
        <p14:creationId xmlns:p14="http://schemas.microsoft.com/office/powerpoint/2010/main" val="7755240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6AC11E9-AB7B-4424-9F13-6CA3041F0B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367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6AC11E9-AB7B-4424-9F13-6CA3041F0B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9FCDD2-E429-48A8-B6EC-DF93426E100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BCAF7DA-B9F8-4655-9B54-4DF987DE3E9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3</a:t>
            </a:fld>
            <a:endParaRPr lang="de-CH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91F6D949-63C3-418C-BE2D-2B199B96AC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harge</a:t>
            </a:r>
            <a:r>
              <a:rPr lang="de-CH" dirty="0"/>
              <a:t> </a:t>
            </a:r>
            <a:r>
              <a:rPr lang="de-CH" dirty="0" err="1"/>
              <a:t>smartphones</a:t>
            </a:r>
            <a:r>
              <a:rPr lang="de-CH" dirty="0"/>
              <a:t> and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devices</a:t>
            </a:r>
            <a:r>
              <a:rPr lang="de-CH" dirty="0"/>
              <a:t>, </a:t>
            </a:r>
            <a:r>
              <a:rPr lang="de-CH" dirty="0" err="1"/>
              <a:t>wireless</a:t>
            </a:r>
            <a:r>
              <a:rPr lang="de-CH" dirty="0"/>
              <a:t> </a:t>
            </a:r>
            <a:r>
              <a:rPr lang="de-CH" dirty="0" err="1"/>
              <a:t>charg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echnolog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decade</a:t>
            </a:r>
            <a:r>
              <a:rPr lang="de-CH"/>
              <a:t>, CAGR 2020-2030 +29.4%</a:t>
            </a:r>
            <a:endParaRPr lang="de-CH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908BD69-D6A4-4EB7-9D12-2E7F5BC9BEE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pPr lvl="0">
              <a:spcBef>
                <a:spcPts val="600"/>
              </a:spcBef>
              <a:buClr>
                <a:srgbClr val="8C195F"/>
              </a:buClr>
            </a:pPr>
            <a:r>
              <a:rPr lang="de-CH" sz="2000" b="1" dirty="0" err="1">
                <a:solidFill>
                  <a:srgbClr val="191919"/>
                </a:solidFill>
              </a:rPr>
              <a:t>How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th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marke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characterized</a:t>
            </a:r>
            <a:r>
              <a:rPr lang="de-CH" sz="2000" b="1" dirty="0">
                <a:solidFill>
                  <a:srgbClr val="191919"/>
                </a:solidFill>
              </a:rPr>
              <a:t>? </a:t>
            </a:r>
          </a:p>
        </p:txBody>
      </p:sp>
      <p:sp>
        <p:nvSpPr>
          <p:cNvPr id="17" name="New shape">
            <a:extLst>
              <a:ext uri="{FF2B5EF4-FFF2-40B4-BE49-F238E27FC236}">
                <a16:creationId xmlns:a16="http://schemas.microsoft.com/office/drawing/2014/main" id="{8DB6AF1C-3485-42C3-82A2-84DE81F61D79}"/>
              </a:ext>
            </a:extLst>
          </p:cNvPr>
          <p:cNvSpPr/>
          <p:nvPr/>
        </p:nvSpPr>
        <p:spPr>
          <a:xfrm>
            <a:off x="10447200" y="5994958"/>
            <a:ext cx="1170000" cy="23760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New shape">
            <a:extLst>
              <a:ext uri="{FF2B5EF4-FFF2-40B4-BE49-F238E27FC236}">
                <a16:creationId xmlns:a16="http://schemas.microsoft.com/office/drawing/2014/main" id="{ACA568DC-185D-4A87-B529-E8944A833CAB}"/>
              </a:ext>
            </a:extLst>
          </p:cNvPr>
          <p:cNvSpPr/>
          <p:nvPr/>
        </p:nvSpPr>
        <p:spPr>
          <a:xfrm>
            <a:off x="896450" y="5999055"/>
            <a:ext cx="9576000" cy="527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r>
              <a:rPr sz="800" b="1" dirty="0">
                <a:solidFill>
                  <a:schemeClr val="tx1"/>
                </a:solidFill>
              </a:rPr>
              <a:t>Note(s): </a:t>
            </a:r>
            <a:r>
              <a:rPr sz="800" b="0" dirty="0">
                <a:solidFill>
                  <a:schemeClr val="tx1"/>
                </a:solidFill>
              </a:rPr>
              <a:t>Worldwide; 2020 to 2021; * Forecast. CAGR 2020-2030: 29.4% </a:t>
            </a:r>
            <a:r>
              <a:rPr sz="800" b="0" dirty="0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ad more</a:t>
            </a:r>
          </a:p>
          <a:p>
            <a:r>
              <a:rPr sz="800" b="1" dirty="0">
                <a:solidFill>
                  <a:schemeClr val="tx1"/>
                </a:solidFill>
              </a:rPr>
              <a:t>Source(s): </a:t>
            </a:r>
            <a:r>
              <a:rPr sz="800" b="0" dirty="0">
                <a:solidFill>
                  <a:schemeClr val="tx1"/>
                </a:solidFill>
              </a:rPr>
              <a:t>Next Move Strategy Consulting </a:t>
            </a:r>
          </a:p>
        </p:txBody>
      </p:sp>
      <p:graphicFrame>
        <p:nvGraphicFramePr>
          <p:cNvPr id="20" name="ChartObject">
            <a:extLst>
              <a:ext uri="{FF2B5EF4-FFF2-40B4-BE49-F238E27FC236}">
                <a16:creationId xmlns:a16="http://schemas.microsoft.com/office/drawing/2014/main" id="{A84ECCD3-1286-486A-B10D-B117E274B0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241014"/>
              </p:ext>
            </p:extLst>
          </p:nvPr>
        </p:nvGraphicFramePr>
        <p:xfrm>
          <a:off x="896450" y="1825512"/>
          <a:ext cx="11016000" cy="4148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New shape">
            <a:extLst>
              <a:ext uri="{FF2B5EF4-FFF2-40B4-BE49-F238E27FC236}">
                <a16:creationId xmlns:a16="http://schemas.microsoft.com/office/drawing/2014/main" id="{8D6261D3-36E1-4098-81B0-618A6EBC631F}"/>
              </a:ext>
            </a:extLst>
          </p:cNvPr>
          <p:cNvSpPr/>
          <p:nvPr/>
        </p:nvSpPr>
        <p:spPr>
          <a:xfrm>
            <a:off x="735331" y="1564597"/>
            <a:ext cx="11196000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sz="1200" b="1" dirty="0">
                <a:solidFill>
                  <a:schemeClr val="tx1"/>
                </a:solidFill>
              </a:rPr>
              <a:t>Wireless charging market revenues worldwide 2020-2030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7B0B28A-07B4-44D2-B6C1-3CC44CDEB507}"/>
              </a:ext>
            </a:extLst>
          </p:cNvPr>
          <p:cNvSpPr txBox="1"/>
          <p:nvPr/>
        </p:nvSpPr>
        <p:spPr>
          <a:xfrm>
            <a:off x="5419429" y="4096958"/>
            <a:ext cx="985021" cy="252435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200" i="1" dirty="0">
                <a:solidFill>
                  <a:schemeClr val="bg1"/>
                </a:solidFill>
                <a:ea typeface="Roboto Medium" panose="02000000000000000000" pitchFamily="2" charset="0"/>
              </a:rPr>
              <a:t>CAGR 29.4%</a:t>
            </a:r>
          </a:p>
        </p:txBody>
      </p:sp>
    </p:spTree>
    <p:extLst>
      <p:ext uri="{BB962C8B-B14F-4D97-AF65-F5344CB8AC3E}">
        <p14:creationId xmlns:p14="http://schemas.microsoft.com/office/powerpoint/2010/main" val="18303804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74ADF1BC-4F7D-4A9B-AB89-39ADD2059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06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74ADF1BC-4F7D-4A9B-AB89-39ADD2059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35579E4-6DB0-48A8-889A-7449D63CED4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5E6113D-211F-4AE9-9D40-ED3A471A3E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4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D0FAC96-6629-419E-B4D1-CAC716CBED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At least 78%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smartphone</a:t>
            </a:r>
            <a:r>
              <a:rPr lang="de-CH" dirty="0"/>
              <a:t> </a:t>
            </a:r>
            <a:r>
              <a:rPr lang="de-CH" dirty="0" err="1"/>
              <a:t>buyers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a </a:t>
            </a:r>
            <a:r>
              <a:rPr lang="de-CH" dirty="0" err="1"/>
              <a:t>wireless</a:t>
            </a:r>
            <a:r>
              <a:rPr lang="de-CH" dirty="0"/>
              <a:t> </a:t>
            </a:r>
            <a:r>
              <a:rPr lang="de-CH" dirty="0" err="1"/>
              <a:t>charger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0A004DA-EED9-49A0-9181-173C98FE5A4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sz="2000" b="1" dirty="0" err="1">
                <a:solidFill>
                  <a:srgbClr val="191919"/>
                </a:solidFill>
              </a:rPr>
              <a:t>How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th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marke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characterized</a:t>
            </a:r>
            <a:r>
              <a:rPr lang="de-CH" sz="2000" b="1" dirty="0">
                <a:solidFill>
                  <a:srgbClr val="191919"/>
                </a:solidFill>
              </a:rPr>
              <a:t>? </a:t>
            </a:r>
          </a:p>
        </p:txBody>
      </p:sp>
      <p:sp>
        <p:nvSpPr>
          <p:cNvPr id="19" name="New shape">
            <a:extLst>
              <a:ext uri="{FF2B5EF4-FFF2-40B4-BE49-F238E27FC236}">
                <a16:creationId xmlns:a16="http://schemas.microsoft.com/office/drawing/2014/main" id="{82823C9A-2D5F-413E-AC90-7C0B10FACA37}"/>
              </a:ext>
            </a:extLst>
          </p:cNvPr>
          <p:cNvSpPr/>
          <p:nvPr/>
        </p:nvSpPr>
        <p:spPr>
          <a:xfrm>
            <a:off x="10447200" y="5994958"/>
            <a:ext cx="1170000" cy="23760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2" name="New shape">
            <a:extLst>
              <a:ext uri="{FF2B5EF4-FFF2-40B4-BE49-F238E27FC236}">
                <a16:creationId xmlns:a16="http://schemas.microsoft.com/office/drawing/2014/main" id="{FA76B1A0-8F3F-48C7-B9A4-CB61B649CEE8}"/>
              </a:ext>
            </a:extLst>
          </p:cNvPr>
          <p:cNvSpPr/>
          <p:nvPr/>
        </p:nvSpPr>
        <p:spPr>
          <a:xfrm>
            <a:off x="806450" y="1590623"/>
            <a:ext cx="11196000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de-CH" sz="1200" b="1" dirty="0" err="1">
                <a:solidFill>
                  <a:schemeClr val="tx1"/>
                </a:solidFill>
              </a:rPr>
              <a:t>What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features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are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important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to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you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when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buying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your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next</a:t>
            </a:r>
            <a:r>
              <a:rPr lang="de-CH" sz="1200" b="1" dirty="0">
                <a:solidFill>
                  <a:schemeClr val="tx1"/>
                </a:solidFill>
              </a:rPr>
              <a:t> </a:t>
            </a:r>
            <a:r>
              <a:rPr lang="de-CH" sz="1200" b="1" dirty="0" err="1">
                <a:solidFill>
                  <a:schemeClr val="tx1"/>
                </a:solidFill>
              </a:rPr>
              <a:t>smartphone</a:t>
            </a:r>
            <a:r>
              <a:rPr lang="de-CH" sz="1200" b="1" dirty="0">
                <a:solidFill>
                  <a:schemeClr val="tx1"/>
                </a:solidFill>
              </a:rPr>
              <a:t>? (2022)</a:t>
            </a:r>
            <a:endParaRPr lang="en-US" sz="1200" b="1" dirty="0">
              <a:solidFill>
                <a:schemeClr val="tx1"/>
              </a:solidFill>
            </a:endParaRPr>
          </a:p>
        </p:txBody>
      </p:sp>
      <p:graphicFrame>
        <p:nvGraphicFramePr>
          <p:cNvPr id="23" name="ChartObject">
            <a:extLst>
              <a:ext uri="{FF2B5EF4-FFF2-40B4-BE49-F238E27FC236}">
                <a16:creationId xmlns:a16="http://schemas.microsoft.com/office/drawing/2014/main" id="{1A669388-935B-412B-946B-DE47F7EDD5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0903769"/>
              </p:ext>
            </p:extLst>
          </p:nvPr>
        </p:nvGraphicFramePr>
        <p:xfrm>
          <a:off x="824466" y="1911198"/>
          <a:ext cx="10742400" cy="390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5CF61BC3-034D-4D27-BD8F-BEC28B606ED1}"/>
              </a:ext>
            </a:extLst>
          </p:cNvPr>
          <p:cNvSpPr/>
          <p:nvPr/>
        </p:nvSpPr>
        <p:spPr>
          <a:xfrm>
            <a:off x="1451296" y="3861598"/>
            <a:ext cx="7248088" cy="225685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 fontScale="47500" lnSpcReduction="20000"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  <p:sp>
        <p:nvSpPr>
          <p:cNvPr id="27" name="New shape">
            <a:extLst>
              <a:ext uri="{FF2B5EF4-FFF2-40B4-BE49-F238E27FC236}">
                <a16:creationId xmlns:a16="http://schemas.microsoft.com/office/drawing/2014/main" id="{B9FA5CBE-CC73-4C2C-974D-EF992164B666}"/>
              </a:ext>
            </a:extLst>
          </p:cNvPr>
          <p:cNvSpPr/>
          <p:nvPr/>
        </p:nvSpPr>
        <p:spPr>
          <a:xfrm>
            <a:off x="896450" y="5999055"/>
            <a:ext cx="9576000" cy="527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de-CH" sz="800" b="1" dirty="0">
                <a:solidFill>
                  <a:schemeClr val="tx1"/>
                </a:solidFill>
              </a:rPr>
              <a:t>Hinweis(e):</a:t>
            </a:r>
            <a:r>
              <a:rPr lang="de-CH" sz="800" dirty="0">
                <a:solidFill>
                  <a:schemeClr val="tx1"/>
                </a:solidFill>
              </a:rPr>
              <a:t> Deutschland; Februar 2022; ab 16 Jahre; 835 Smartphone-Nutzer</a:t>
            </a:r>
          </a:p>
          <a:p>
            <a:pPr algn="l"/>
            <a:r>
              <a:rPr lang="de-CH" sz="800" b="1" dirty="0">
                <a:solidFill>
                  <a:schemeClr val="tx1"/>
                </a:solidFill>
              </a:rPr>
              <a:t>Quelle(n): </a:t>
            </a:r>
            <a:r>
              <a:rPr lang="de-CH" sz="800" dirty="0">
                <a:solidFill>
                  <a:schemeClr val="tx1"/>
                </a:solidFill>
              </a:rPr>
              <a:t>Bitkom Research; </a:t>
            </a:r>
            <a:r>
              <a:rPr lang="de-CH" sz="8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D 180389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1F9126D2-25F5-4531-8C20-37CF31FCF2B6}"/>
              </a:ext>
            </a:extLst>
          </p:cNvPr>
          <p:cNvSpPr txBox="1"/>
          <p:nvPr/>
        </p:nvSpPr>
        <p:spPr>
          <a:xfrm>
            <a:off x="8752624" y="3792451"/>
            <a:ext cx="2051945" cy="386054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800" dirty="0">
                <a:solidFill>
                  <a:schemeClr val="tx2"/>
                </a:solidFill>
                <a:ea typeface="Roboto Medium" panose="02000000000000000000" pitchFamily="2" charset="0"/>
              </a:rPr>
              <a:t>Wireless </a:t>
            </a:r>
            <a:r>
              <a:rPr lang="de-CH" sz="1800" dirty="0" err="1">
                <a:solidFill>
                  <a:schemeClr val="tx2"/>
                </a:solidFill>
                <a:ea typeface="Roboto Medium" panose="02000000000000000000" pitchFamily="2" charset="0"/>
              </a:rPr>
              <a:t>charging</a:t>
            </a:r>
            <a:endParaRPr lang="de-CH" sz="1800" dirty="0">
              <a:solidFill>
                <a:schemeClr val="tx2"/>
              </a:solidFill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9912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41FC733-6609-415B-B0FC-E0EA47A535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3406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41FC733-6609-415B-B0FC-E0EA47A53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2BC3450-8351-4ABD-B83F-E6EC6FE9D7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B06C2F-AD99-47A0-B2FD-243EEE46B0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5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D24A587-6A69-4DE2-B3BC-22DE4F768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de-CH" dirty="0"/>
              <a:t>20%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smartphon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wn a </a:t>
            </a:r>
            <a:r>
              <a:rPr lang="de-CH" dirty="0" err="1"/>
              <a:t>wireless</a:t>
            </a:r>
            <a:r>
              <a:rPr lang="de-CH" dirty="0"/>
              <a:t> </a:t>
            </a:r>
            <a:r>
              <a:rPr lang="de-CH" dirty="0" err="1"/>
              <a:t>charger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F85DF8-1390-4F6B-AF62-12EFD4B69C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sz="2000" b="1" dirty="0" err="1">
                <a:solidFill>
                  <a:srgbClr val="191919"/>
                </a:solidFill>
              </a:rPr>
              <a:t>How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th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marke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characterized</a:t>
            </a:r>
            <a:r>
              <a:rPr lang="de-CH" sz="2000" b="1" dirty="0">
                <a:solidFill>
                  <a:srgbClr val="191919"/>
                </a:solidFill>
              </a:rPr>
              <a:t>? </a:t>
            </a:r>
          </a:p>
        </p:txBody>
      </p:sp>
      <p:graphicFrame>
        <p:nvGraphicFramePr>
          <p:cNvPr id="6" name="ChartObject">
            <a:extLst>
              <a:ext uri="{FF2B5EF4-FFF2-40B4-BE49-F238E27FC236}">
                <a16:creationId xmlns:a16="http://schemas.microsoft.com/office/drawing/2014/main" id="{CDE98719-8D84-4F9B-97DA-32F79B04EC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5157635"/>
              </p:ext>
            </p:extLst>
          </p:nvPr>
        </p:nvGraphicFramePr>
        <p:xfrm>
          <a:off x="676800" y="1882800"/>
          <a:ext cx="10742400" cy="41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New shape">
            <a:extLst>
              <a:ext uri="{FF2B5EF4-FFF2-40B4-BE49-F238E27FC236}">
                <a16:creationId xmlns:a16="http://schemas.microsoft.com/office/drawing/2014/main" id="{60890FAC-A6C1-47CF-9F16-9C73D343DE87}"/>
              </a:ext>
            </a:extLst>
          </p:cNvPr>
          <p:cNvSpPr/>
          <p:nvPr/>
        </p:nvSpPr>
        <p:spPr>
          <a:xfrm>
            <a:off x="806450" y="1590623"/>
            <a:ext cx="11196000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en-US" sz="1200" b="1" dirty="0">
                <a:solidFill>
                  <a:schemeClr val="tx1"/>
                </a:solidFill>
              </a:rPr>
              <a:t>Ownership of iPhone and Android accessories in Belgium 2019</a:t>
            </a:r>
          </a:p>
        </p:txBody>
      </p:sp>
      <p:sp>
        <p:nvSpPr>
          <p:cNvPr id="12" name="New shape">
            <a:extLst>
              <a:ext uri="{FF2B5EF4-FFF2-40B4-BE49-F238E27FC236}">
                <a16:creationId xmlns:a16="http://schemas.microsoft.com/office/drawing/2014/main" id="{1CC41E8F-1725-40D6-985C-966F0808E594}"/>
              </a:ext>
            </a:extLst>
          </p:cNvPr>
          <p:cNvSpPr/>
          <p:nvPr/>
        </p:nvSpPr>
        <p:spPr>
          <a:xfrm>
            <a:off x="10447200" y="5994958"/>
            <a:ext cx="1170000" cy="2376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New shape">
            <a:extLst>
              <a:ext uri="{FF2B5EF4-FFF2-40B4-BE49-F238E27FC236}">
                <a16:creationId xmlns:a16="http://schemas.microsoft.com/office/drawing/2014/main" id="{2FD7B4F8-729A-4E62-9272-FD4708C9F516}"/>
              </a:ext>
            </a:extLst>
          </p:cNvPr>
          <p:cNvSpPr/>
          <p:nvPr/>
        </p:nvSpPr>
        <p:spPr>
          <a:xfrm>
            <a:off x="943332" y="5481994"/>
            <a:ext cx="8280000" cy="73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b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sz="800" b="1" dirty="0">
                <a:solidFill>
                  <a:schemeClr val="tx1"/>
                </a:solidFill>
              </a:rPr>
              <a:t>Note(s):</a:t>
            </a:r>
            <a:r>
              <a:rPr sz="800" dirty="0">
                <a:solidFill>
                  <a:schemeClr val="tx1"/>
                </a:solidFill>
              </a:rPr>
              <a:t> Belgium; 2019; 18-75 years</a:t>
            </a:r>
          </a:p>
          <a:p>
            <a:pPr algn="l"/>
            <a:r>
              <a:rPr sz="800" b="1" dirty="0">
                <a:solidFill>
                  <a:schemeClr val="tx1"/>
                </a:solidFill>
              </a:rPr>
              <a:t>Source(s): </a:t>
            </a:r>
            <a:r>
              <a:rPr sz="800" dirty="0">
                <a:solidFill>
                  <a:schemeClr val="tx1"/>
                </a:solidFill>
              </a:rPr>
              <a:t>Deloitte; </a:t>
            </a:r>
            <a:r>
              <a:rPr sz="8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D 1097587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EA724CB-A117-40C1-BD1A-0F82BC3C0283}"/>
              </a:ext>
            </a:extLst>
          </p:cNvPr>
          <p:cNvSpPr/>
          <p:nvPr/>
        </p:nvSpPr>
        <p:spPr>
          <a:xfrm>
            <a:off x="8711603" y="3428999"/>
            <a:ext cx="637564" cy="957273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993283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DD629EF8-AC1B-41EA-A3EE-87A19C56E2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7204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DD629EF8-AC1B-41EA-A3EE-87A19C56E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7B5A4F7-3272-4588-B547-3A77FADABC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0694351-4FDA-4AE2-8A03-FBDF62AED0D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6</a:t>
            </a:fld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94F0CB7-71FC-4C42-AE68-DCA8544DB53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451" y="1614254"/>
            <a:ext cx="5364576" cy="358775"/>
          </a:xfrm>
        </p:spPr>
        <p:txBody>
          <a:bodyPr/>
          <a:lstStyle/>
          <a:p>
            <a:r>
              <a:rPr lang="de-CH" dirty="0"/>
              <a:t>Qi </a:t>
            </a:r>
            <a:r>
              <a:rPr lang="de-CH" dirty="0" err="1"/>
              <a:t>certificati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compatibility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0EF5E84-5869-4DFD-B7A7-E0B8928C5C3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05072" y="1614254"/>
            <a:ext cx="5353967" cy="358775"/>
          </a:xfrm>
        </p:spPr>
        <p:txBody>
          <a:bodyPr>
            <a:normAutofit/>
          </a:bodyPr>
          <a:lstStyle/>
          <a:p>
            <a:r>
              <a:rPr lang="en-US" dirty="0"/>
              <a:t>Sufficient wattage for charging speed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D4F32F9-7189-4B22-A40E-521071FC04F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do </a:t>
            </a:r>
            <a:r>
              <a:rPr lang="de-CH" dirty="0" err="1"/>
              <a:t>customers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B867C63-6C8F-4AE3-A805-60035E8F8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/>
              <a:t>Desk </a:t>
            </a:r>
            <a:r>
              <a:rPr lang="de-CH" dirty="0" err="1"/>
              <a:t>research</a:t>
            </a:r>
            <a:r>
              <a:rPr lang="de-CH" dirty="0"/>
              <a:t> </a:t>
            </a:r>
            <a:r>
              <a:rPr lang="de-CH" dirty="0" err="1"/>
              <a:t>identifies</a:t>
            </a:r>
            <a:r>
              <a:rPr lang="de-CH" dirty="0"/>
              <a:t> </a:t>
            </a:r>
            <a:r>
              <a:rPr lang="de-CH" dirty="0" err="1"/>
              <a:t>compatibility</a:t>
            </a:r>
            <a:r>
              <a:rPr lang="de-CH" dirty="0"/>
              <a:t> and </a:t>
            </a:r>
            <a:r>
              <a:rPr lang="de-CH" dirty="0" err="1"/>
              <a:t>charging</a:t>
            </a:r>
            <a:r>
              <a:rPr lang="de-CH" dirty="0"/>
              <a:t> </a:t>
            </a:r>
            <a:r>
              <a:rPr lang="de-CH" dirty="0" err="1"/>
              <a:t>spe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key</a:t>
            </a:r>
            <a:r>
              <a:rPr lang="de-CH" dirty="0"/>
              <a:t> </a:t>
            </a:r>
            <a:r>
              <a:rPr lang="de-CH" dirty="0" err="1"/>
              <a:t>consumer</a:t>
            </a:r>
            <a:r>
              <a:rPr lang="de-CH" dirty="0"/>
              <a:t> </a:t>
            </a:r>
            <a:r>
              <a:rPr lang="de-CH" dirty="0" err="1"/>
              <a:t>ease-of-use</a:t>
            </a:r>
            <a:r>
              <a:rPr lang="de-CH" dirty="0"/>
              <a:t> </a:t>
            </a:r>
            <a:r>
              <a:rPr lang="de-CH" dirty="0" err="1"/>
              <a:t>needs</a:t>
            </a:r>
            <a:endParaRPr lang="de-CH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EABC1B3-7DF2-4A78-9F66-F230DFFAB19D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Qi has become the accepted standard for wireless charging, allowing compatibility and safety of wireless chargers with a range of devices.</a:t>
            </a:r>
            <a:endParaRPr lang="de-CH" sz="1600" dirty="0"/>
          </a:p>
          <a:p>
            <a:endParaRPr lang="de-CH" sz="1600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F09FF309-F035-4270-90C8-20E76B16E88D}"/>
              </a:ext>
            </a:extLst>
          </p:cNvPr>
          <p:cNvSpPr>
            <a:spLocks noGrp="1"/>
          </p:cNvSpPr>
          <p:nvPr>
            <p:ph sz="quarter" idx="26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More Watts = more charging speed. </a:t>
            </a:r>
            <a:br>
              <a:rPr lang="en-US" sz="1600" dirty="0"/>
            </a:br>
            <a:r>
              <a:rPr lang="en-US" sz="1600" dirty="0"/>
              <a:t>Qi wireless charging technology can transfer up to 15W.</a:t>
            </a:r>
            <a:br>
              <a:rPr lang="en-US" sz="1600" dirty="0"/>
            </a:br>
            <a:r>
              <a:rPr lang="en-US" sz="1600" dirty="0"/>
              <a:t>iPhones currently capped at 7.5W (15W with </a:t>
            </a:r>
            <a:r>
              <a:rPr lang="en-US" sz="1600" dirty="0" err="1"/>
              <a:t>MagSafe</a:t>
            </a:r>
            <a:r>
              <a:rPr lang="en-US" sz="1600" dirty="0"/>
              <a:t>).</a:t>
            </a:r>
            <a:br>
              <a:rPr lang="en-US" sz="1600" dirty="0"/>
            </a:br>
            <a:endParaRPr lang="de-CH" sz="16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11F4015-62AF-4844-B0AB-D082A4BC99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6389" y="2162245"/>
            <a:ext cx="1404406" cy="2195034"/>
          </a:xfrm>
          <a:prstGeom prst="rect">
            <a:avLst/>
          </a:prstGeom>
        </p:spPr>
      </p:pic>
      <p:pic>
        <p:nvPicPr>
          <p:cNvPr id="16" name="Grafik 15" descr="Messgerät mit einfarbiger Füllung">
            <a:extLst>
              <a:ext uri="{FF2B5EF4-FFF2-40B4-BE49-F238E27FC236}">
                <a16:creationId xmlns:a16="http://schemas.microsoft.com/office/drawing/2014/main" id="{78CF7296-9ED2-453C-9554-76F698B177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10552" y="2159105"/>
            <a:ext cx="2326579" cy="2326579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04FB70F-C859-4AE8-8070-A1A34386810B}"/>
              </a:ext>
            </a:extLst>
          </p:cNvPr>
          <p:cNvSpPr txBox="1"/>
          <p:nvPr/>
        </p:nvSpPr>
        <p:spPr>
          <a:xfrm>
            <a:off x="7053834" y="3408152"/>
            <a:ext cx="756718" cy="386054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800" dirty="0">
                <a:ea typeface="Roboto Medium" panose="02000000000000000000" pitchFamily="2" charset="0"/>
              </a:rPr>
              <a:t>7.5W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2EC0D559-29C2-41BF-A5FC-9167C07885DA}"/>
              </a:ext>
            </a:extLst>
          </p:cNvPr>
          <p:cNvSpPr txBox="1"/>
          <p:nvPr/>
        </p:nvSpPr>
        <p:spPr>
          <a:xfrm>
            <a:off x="10137131" y="3423797"/>
            <a:ext cx="692598" cy="386054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800" dirty="0">
                <a:ea typeface="Roboto Medium" panose="02000000000000000000" pitchFamily="2" charset="0"/>
              </a:rPr>
              <a:t>15W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A6B2311-CCFA-450F-80FF-6472A10F7FD3}"/>
              </a:ext>
            </a:extLst>
          </p:cNvPr>
          <p:cNvSpPr txBox="1"/>
          <p:nvPr/>
        </p:nvSpPr>
        <p:spPr>
          <a:xfrm>
            <a:off x="8597892" y="2248170"/>
            <a:ext cx="692598" cy="386054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800" dirty="0">
                <a:ea typeface="Roboto Medium" panose="02000000000000000000" pitchFamily="2" charset="0"/>
              </a:rPr>
              <a:t>10W</a:t>
            </a:r>
          </a:p>
        </p:txBody>
      </p:sp>
    </p:spTree>
    <p:extLst>
      <p:ext uri="{BB962C8B-B14F-4D97-AF65-F5344CB8AC3E}">
        <p14:creationId xmlns:p14="http://schemas.microsoft.com/office/powerpoint/2010/main" val="12050094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6A309C26-472E-4B8E-8093-77240C03EC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8064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6A309C26-472E-4B8E-8093-77240C03E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6FFA8E0-E5F0-48BF-A25C-18C5B2DA409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3ADF3F7-6916-4C5D-AF77-AB9F6C1D63F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7</a:t>
            </a:fld>
            <a:endParaRPr lang="de-CH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58DC5C8-A4B4-4F50-A453-A9FD27065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CH" dirty="0"/>
              <a:t>Simple </a:t>
            </a:r>
            <a:r>
              <a:rPr lang="de-CH" dirty="0" err="1"/>
              <a:t>position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relevant </a:t>
            </a:r>
            <a:r>
              <a:rPr lang="de-CH" dirty="0" err="1"/>
              <a:t>ease-of-use</a:t>
            </a:r>
            <a:r>
              <a:rPr lang="de-CH" dirty="0"/>
              <a:t> </a:t>
            </a:r>
            <a:r>
              <a:rPr lang="de-CH" dirty="0" err="1"/>
              <a:t>request</a:t>
            </a:r>
            <a:r>
              <a:rPr lang="de-CH" dirty="0"/>
              <a:t>, </a:t>
            </a:r>
            <a:r>
              <a:rPr lang="de-CH" dirty="0" err="1"/>
              <a:t>consumers</a:t>
            </a:r>
            <a:r>
              <a:rPr lang="de-CH" dirty="0"/>
              <a:t> </a:t>
            </a:r>
            <a:r>
              <a:rPr lang="de-CH" dirty="0" err="1"/>
              <a:t>welcome</a:t>
            </a:r>
            <a:r>
              <a:rPr lang="de-CH" dirty="0"/>
              <a:t> </a:t>
            </a:r>
            <a:r>
              <a:rPr lang="de-CH" dirty="0" err="1"/>
              <a:t>Apple’s</a:t>
            </a:r>
            <a:r>
              <a:rPr lang="de-CH" dirty="0"/>
              <a:t> MagSafe featur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5CA1C7C-7319-4099-AA9E-293B31BCA98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do </a:t>
            </a:r>
            <a:r>
              <a:rPr lang="de-CH" dirty="0" err="1"/>
              <a:t>customers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?</a:t>
            </a:r>
          </a:p>
        </p:txBody>
      </p:sp>
      <p:pic>
        <p:nvPicPr>
          <p:cNvPr id="15" name="Grafik 14" descr="Ein Bild, das Elektronik, Lautsprecher enthält.&#10;&#10;Automatisch generierte Beschreibung">
            <a:extLst>
              <a:ext uri="{FF2B5EF4-FFF2-40B4-BE49-F238E27FC236}">
                <a16:creationId xmlns:a16="http://schemas.microsoft.com/office/drawing/2014/main" id="{7C10D8D6-6BB1-4838-AF20-E629DA45E7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71856" y="1608528"/>
            <a:ext cx="3327963" cy="3327963"/>
          </a:xfrm>
          <a:prstGeom prst="rect">
            <a:avLst/>
          </a:prstGeom>
        </p:spPr>
      </p:pic>
      <p:sp>
        <p:nvSpPr>
          <p:cNvPr id="65" name="Textfeld 64">
            <a:extLst>
              <a:ext uri="{FF2B5EF4-FFF2-40B4-BE49-F238E27FC236}">
                <a16:creationId xmlns:a16="http://schemas.microsoft.com/office/drawing/2014/main" id="{D937F1EF-D49A-40C9-8122-F4A52902C855}"/>
              </a:ext>
            </a:extLst>
          </p:cNvPr>
          <p:cNvSpPr txBox="1"/>
          <p:nvPr/>
        </p:nvSpPr>
        <p:spPr>
          <a:xfrm>
            <a:off x="8453804" y="4681023"/>
            <a:ext cx="3338818" cy="1384995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Wireless chargers need to be precisely aligned with the device they are charging.</a:t>
            </a:r>
          </a:p>
          <a:p>
            <a:pPr algn="ctr"/>
            <a:r>
              <a:rPr lang="en-US" sz="1400" dirty="0" err="1"/>
              <a:t>MagSafe</a:t>
            </a:r>
            <a:r>
              <a:rPr lang="en-US" sz="1400" dirty="0"/>
              <a:t> is an Apple standard for  positioning the phone via magnets for maximum charging efficiency.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175BCB21-CA8E-46CE-AA81-396C559D36C8}"/>
              </a:ext>
            </a:extLst>
          </p:cNvPr>
          <p:cNvSpPr txBox="1"/>
          <p:nvPr/>
        </p:nvSpPr>
        <p:spPr>
          <a:xfrm>
            <a:off x="10742106" y="4448858"/>
            <a:ext cx="867326" cy="232165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800" dirty="0">
                <a:ea typeface="Roboto Medium" panose="02000000000000000000" pitchFamily="2" charset="0"/>
              </a:rPr>
              <a:t>Source: Apple</a:t>
            </a:r>
          </a:p>
        </p:txBody>
      </p:sp>
      <p:graphicFrame>
        <p:nvGraphicFramePr>
          <p:cNvPr id="68" name="ChartObject">
            <a:extLst>
              <a:ext uri="{FF2B5EF4-FFF2-40B4-BE49-F238E27FC236}">
                <a16:creationId xmlns:a16="http://schemas.microsoft.com/office/drawing/2014/main" id="{21F99691-117A-4EC0-B352-439B675636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2589848"/>
              </p:ext>
            </p:extLst>
          </p:nvPr>
        </p:nvGraphicFramePr>
        <p:xfrm>
          <a:off x="718228" y="1882800"/>
          <a:ext cx="7158000" cy="41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9" name="New shape">
            <a:extLst>
              <a:ext uri="{FF2B5EF4-FFF2-40B4-BE49-F238E27FC236}">
                <a16:creationId xmlns:a16="http://schemas.microsoft.com/office/drawing/2014/main" id="{F0D94D63-08A7-44BC-8D0C-B8F71DCC834C}"/>
              </a:ext>
            </a:extLst>
          </p:cNvPr>
          <p:cNvSpPr/>
          <p:nvPr/>
        </p:nvSpPr>
        <p:spPr>
          <a:xfrm>
            <a:off x="806450" y="1590623"/>
            <a:ext cx="11196000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en-US" sz="1200" b="1" dirty="0">
                <a:solidFill>
                  <a:schemeClr val="tx1"/>
                </a:solidFill>
              </a:rPr>
              <a:t>iPhone users most liked new features of the iPhone 12</a:t>
            </a:r>
          </a:p>
        </p:txBody>
      </p:sp>
      <p:sp>
        <p:nvSpPr>
          <p:cNvPr id="70" name="New shape">
            <a:extLst>
              <a:ext uri="{FF2B5EF4-FFF2-40B4-BE49-F238E27FC236}">
                <a16:creationId xmlns:a16="http://schemas.microsoft.com/office/drawing/2014/main" id="{0E74AE22-DA7D-4E7F-B318-FF7C9C9269F8}"/>
              </a:ext>
            </a:extLst>
          </p:cNvPr>
          <p:cNvSpPr/>
          <p:nvPr/>
        </p:nvSpPr>
        <p:spPr>
          <a:xfrm>
            <a:off x="943332" y="5481994"/>
            <a:ext cx="8280000" cy="73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b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en-US" sz="800" b="1" dirty="0">
                <a:solidFill>
                  <a:schemeClr val="tx1"/>
                </a:solidFill>
              </a:rPr>
              <a:t>Note(s): </a:t>
            </a:r>
            <a:r>
              <a:rPr lang="en-US" sz="800" dirty="0">
                <a:solidFill>
                  <a:schemeClr val="tx1"/>
                </a:solidFill>
              </a:rPr>
              <a:t>United States; October 18-26 2020; 18 years and older; 3023 respondents; U.S. based iPhone users</a:t>
            </a:r>
          </a:p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en-US" sz="800" b="1" dirty="0">
                <a:solidFill>
                  <a:schemeClr val="tx1"/>
                </a:solidFill>
              </a:rPr>
              <a:t>Source(s): </a:t>
            </a:r>
            <a:r>
              <a:rPr lang="en-US" sz="800" dirty="0">
                <a:solidFill>
                  <a:schemeClr val="tx1"/>
                </a:solidFill>
              </a:rPr>
              <a:t>SellCell.com; ID 1199139</a:t>
            </a:r>
          </a:p>
        </p:txBody>
      </p:sp>
      <p:sp>
        <p:nvSpPr>
          <p:cNvPr id="71" name="New shape">
            <a:extLst>
              <a:ext uri="{FF2B5EF4-FFF2-40B4-BE49-F238E27FC236}">
                <a16:creationId xmlns:a16="http://schemas.microsoft.com/office/drawing/2014/main" id="{2F2A4D26-DFC0-4CBE-BA02-ECCDE9AD93DB}"/>
              </a:ext>
            </a:extLst>
          </p:cNvPr>
          <p:cNvSpPr/>
          <p:nvPr/>
        </p:nvSpPr>
        <p:spPr>
          <a:xfrm>
            <a:off x="6706228" y="5457605"/>
            <a:ext cx="1170000" cy="237600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6B8E11EE-DAE1-4FD6-A1DA-E4C093BDC341}"/>
              </a:ext>
            </a:extLst>
          </p:cNvPr>
          <p:cNvSpPr/>
          <p:nvPr/>
        </p:nvSpPr>
        <p:spPr>
          <a:xfrm>
            <a:off x="5448994" y="2135940"/>
            <a:ext cx="583069" cy="2080800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276351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41FC733-6609-415B-B0FC-E0EA47A535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7831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41FC733-6609-415B-B0FC-E0EA47A53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2BC3450-8351-4ABD-B83F-E6EC6FE9D7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B06C2F-AD99-47A0-B2FD-243EEE46B0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8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D24A587-6A69-4DE2-B3BC-22DE4F768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Generally, </a:t>
            </a:r>
            <a:r>
              <a:rPr lang="de-CH" dirty="0" err="1"/>
              <a:t>durability</a:t>
            </a:r>
            <a:r>
              <a:rPr lang="de-CH" dirty="0"/>
              <a:t> and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key</a:t>
            </a:r>
            <a:r>
              <a:rPr lang="de-CH" dirty="0"/>
              <a:t> </a:t>
            </a:r>
            <a:r>
              <a:rPr lang="de-CH" dirty="0" err="1"/>
              <a:t>customer</a:t>
            </a:r>
            <a:r>
              <a:rPr lang="de-CH" dirty="0"/>
              <a:t> </a:t>
            </a:r>
            <a:r>
              <a:rPr lang="de-CH" dirty="0" err="1"/>
              <a:t>preference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mobile </a:t>
            </a:r>
            <a:r>
              <a:rPr lang="de-CH" dirty="0" err="1"/>
              <a:t>phones</a:t>
            </a:r>
            <a:r>
              <a:rPr lang="de-CH" dirty="0"/>
              <a:t> and digital </a:t>
            </a:r>
            <a:r>
              <a:rPr lang="de-CH" dirty="0" err="1"/>
              <a:t>gadgets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F85DF8-1390-4F6B-AF62-12EFD4B69C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do </a:t>
            </a:r>
            <a:r>
              <a:rPr lang="de-CH" dirty="0" err="1"/>
              <a:t>customers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?</a:t>
            </a:r>
          </a:p>
        </p:txBody>
      </p:sp>
      <p:graphicFrame>
        <p:nvGraphicFramePr>
          <p:cNvPr id="6" name="ChartObject">
            <a:extLst>
              <a:ext uri="{FF2B5EF4-FFF2-40B4-BE49-F238E27FC236}">
                <a16:creationId xmlns:a16="http://schemas.microsoft.com/office/drawing/2014/main" id="{CDE98719-8D84-4F9B-97DA-32F79B04EC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3019208"/>
              </p:ext>
            </p:extLst>
          </p:nvPr>
        </p:nvGraphicFramePr>
        <p:xfrm>
          <a:off x="676800" y="1882800"/>
          <a:ext cx="10742400" cy="41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New shape">
            <a:extLst>
              <a:ext uri="{FF2B5EF4-FFF2-40B4-BE49-F238E27FC236}">
                <a16:creationId xmlns:a16="http://schemas.microsoft.com/office/drawing/2014/main" id="{60890FAC-A6C1-47CF-9F16-9C73D343DE87}"/>
              </a:ext>
            </a:extLst>
          </p:cNvPr>
          <p:cNvSpPr/>
          <p:nvPr/>
        </p:nvSpPr>
        <p:spPr>
          <a:xfrm>
            <a:off x="806450" y="1590623"/>
            <a:ext cx="11196000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en-US" sz="1200" b="1" dirty="0">
                <a:solidFill>
                  <a:schemeClr val="tx1"/>
                </a:solidFill>
              </a:rPr>
              <a:t>Main attributes driving purchase behavior for consumer electronics (mobile phones and digital gadgets)</a:t>
            </a:r>
          </a:p>
        </p:txBody>
      </p:sp>
      <p:sp>
        <p:nvSpPr>
          <p:cNvPr id="12" name="New shape">
            <a:extLst>
              <a:ext uri="{FF2B5EF4-FFF2-40B4-BE49-F238E27FC236}">
                <a16:creationId xmlns:a16="http://schemas.microsoft.com/office/drawing/2014/main" id="{1CC41E8F-1725-40D6-985C-966F0808E594}"/>
              </a:ext>
            </a:extLst>
          </p:cNvPr>
          <p:cNvSpPr/>
          <p:nvPr/>
        </p:nvSpPr>
        <p:spPr>
          <a:xfrm>
            <a:off x="10447200" y="5994958"/>
            <a:ext cx="1170000" cy="2376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New shape">
            <a:extLst>
              <a:ext uri="{FF2B5EF4-FFF2-40B4-BE49-F238E27FC236}">
                <a16:creationId xmlns:a16="http://schemas.microsoft.com/office/drawing/2014/main" id="{2FD7B4F8-729A-4E62-9272-FD4708C9F516}"/>
              </a:ext>
            </a:extLst>
          </p:cNvPr>
          <p:cNvSpPr/>
          <p:nvPr/>
        </p:nvSpPr>
        <p:spPr>
          <a:xfrm>
            <a:off x="943332" y="5481994"/>
            <a:ext cx="8280000" cy="73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b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en-US" sz="800" b="1" dirty="0">
                <a:solidFill>
                  <a:schemeClr val="tx1"/>
                </a:solidFill>
              </a:rPr>
              <a:t>Note(s): </a:t>
            </a:r>
            <a:r>
              <a:rPr lang="en-US" sz="800" dirty="0">
                <a:solidFill>
                  <a:schemeClr val="tx1"/>
                </a:solidFill>
              </a:rPr>
              <a:t>Vietnam; June to July 2020; 1,000 respondents; among households in Hanoi, Ho Chi Minh City, Can </a:t>
            </a:r>
            <a:r>
              <a:rPr lang="en-US" sz="800" dirty="0" err="1">
                <a:solidFill>
                  <a:schemeClr val="tx1"/>
                </a:solidFill>
              </a:rPr>
              <a:t>Tho</a:t>
            </a:r>
            <a:r>
              <a:rPr lang="en-US" sz="800" dirty="0">
                <a:solidFill>
                  <a:schemeClr val="tx1"/>
                </a:solidFill>
              </a:rPr>
              <a:t> and Da Nan</a:t>
            </a:r>
            <a:r>
              <a:rPr lang="en-US" sz="800" b="1" dirty="0">
                <a:solidFill>
                  <a:schemeClr val="tx1"/>
                </a:solidFill>
              </a:rPr>
              <a:t>g</a:t>
            </a:r>
          </a:p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en-US" sz="800" b="1" dirty="0">
                <a:solidFill>
                  <a:schemeClr val="tx1"/>
                </a:solidFill>
              </a:rPr>
              <a:t>Source(s): </a:t>
            </a:r>
            <a:r>
              <a:rPr lang="en-US" sz="800" dirty="0">
                <a:solidFill>
                  <a:schemeClr val="tx1"/>
                </a:solidFill>
              </a:rPr>
              <a:t>Deloitte; ID 1110932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FFE9947-869E-4C6D-ACD2-14A0A9D9A54F}"/>
              </a:ext>
            </a:extLst>
          </p:cNvPr>
          <p:cNvSpPr/>
          <p:nvPr/>
        </p:nvSpPr>
        <p:spPr>
          <a:xfrm>
            <a:off x="1659732" y="2051066"/>
            <a:ext cx="1828799" cy="3767468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880867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973B4CD-6B2E-4962-8F2C-AEF27AA67B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228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973B4CD-6B2E-4962-8F2C-AEF27AA67B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B212A93-1FE5-46ED-BB6C-013D098F87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0B7D99F-B108-419F-B24E-8BEA42E8015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19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6CEF0AA-F21E-4C91-90C8-30EBED0E9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US" dirty="0"/>
              <a:t>As battery anxiety is a key concern, consumers want to see wireless power available to them in more places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B4C0030-46CA-4837-A231-087960FFD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do </a:t>
            </a:r>
            <a:r>
              <a:rPr lang="de-CH" dirty="0" err="1"/>
              <a:t>customers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?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1DE1F2C-9F97-4ABB-B312-436CBB87B6E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676229" y="1725162"/>
            <a:ext cx="6183983" cy="4121110"/>
          </a:xfrm>
          <a:prstGeom prst="rect">
            <a:avLst/>
          </a:prstGeom>
        </p:spPr>
      </p:pic>
      <p:sp>
        <p:nvSpPr>
          <p:cNvPr id="14" name="New shape">
            <a:extLst>
              <a:ext uri="{FF2B5EF4-FFF2-40B4-BE49-F238E27FC236}">
                <a16:creationId xmlns:a16="http://schemas.microsoft.com/office/drawing/2014/main" id="{59DD1EE5-573F-4C5D-BAC9-9B7C625303AF}"/>
              </a:ext>
            </a:extLst>
          </p:cNvPr>
          <p:cNvSpPr/>
          <p:nvPr/>
        </p:nvSpPr>
        <p:spPr>
          <a:xfrm>
            <a:off x="3661365" y="5429736"/>
            <a:ext cx="8280000" cy="73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b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en-US" sz="800" b="1" dirty="0">
                <a:solidFill>
                  <a:schemeClr val="tx1"/>
                </a:solidFill>
              </a:rPr>
              <a:t>Note(s):</a:t>
            </a:r>
            <a:r>
              <a:rPr lang="en-US" sz="800" dirty="0">
                <a:solidFill>
                  <a:schemeClr val="tx1"/>
                </a:solidFill>
              </a:rPr>
              <a:t> 3,500 consumers across U.S., U.K., Germany, China, India, Indonesia and Japan</a:t>
            </a:r>
          </a:p>
          <a:p>
            <a:pPr algn="l"/>
            <a:r>
              <a:rPr lang="en-US" sz="800" b="1" dirty="0">
                <a:solidFill>
                  <a:schemeClr val="tx1"/>
                </a:solidFill>
              </a:rPr>
              <a:t>Source: </a:t>
            </a:r>
            <a:r>
              <a:rPr lang="en-US" sz="800" dirty="0">
                <a:solidFill>
                  <a:schemeClr val="tx1"/>
                </a:solidFill>
              </a:rPr>
              <a:t>WPC Global Consumer Perceptions Study 2019</a:t>
            </a:r>
            <a:endParaRPr lang="en-US" sz="800" dirty="0">
              <a:solidFill>
                <a:schemeClr val="tx1"/>
              </a:solidFill>
              <a:hlinkClick r:id="rId6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graphicFrame>
        <p:nvGraphicFramePr>
          <p:cNvPr id="10" name="ChartObject">
            <a:extLst>
              <a:ext uri="{FF2B5EF4-FFF2-40B4-BE49-F238E27FC236}">
                <a16:creationId xmlns:a16="http://schemas.microsoft.com/office/drawing/2014/main" id="{F5A93986-58C1-44B6-9F7F-0AFB9E0DE4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2349211"/>
              </p:ext>
            </p:extLst>
          </p:nvPr>
        </p:nvGraphicFramePr>
        <p:xfrm>
          <a:off x="691705" y="1858303"/>
          <a:ext cx="4334135" cy="39879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ew shape">
            <a:extLst>
              <a:ext uri="{FF2B5EF4-FFF2-40B4-BE49-F238E27FC236}">
                <a16:creationId xmlns:a16="http://schemas.microsoft.com/office/drawing/2014/main" id="{5093A338-F9A1-4E84-BF4B-D9F8256DB620}"/>
              </a:ext>
            </a:extLst>
          </p:cNvPr>
          <p:cNvSpPr/>
          <p:nvPr/>
        </p:nvSpPr>
        <p:spPr>
          <a:xfrm>
            <a:off x="691705" y="1556421"/>
            <a:ext cx="5211575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en-US" sz="1200" b="1" dirty="0">
                <a:solidFill>
                  <a:schemeClr val="tx1"/>
                </a:solidFill>
              </a:rPr>
              <a:t>Consumers experiencing battery anxiety (fear to run out of battery)</a:t>
            </a:r>
          </a:p>
        </p:txBody>
      </p:sp>
      <p:sp>
        <p:nvSpPr>
          <p:cNvPr id="15" name="New shape">
            <a:extLst>
              <a:ext uri="{FF2B5EF4-FFF2-40B4-BE49-F238E27FC236}">
                <a16:creationId xmlns:a16="http://schemas.microsoft.com/office/drawing/2014/main" id="{3FA740CB-B684-46C8-A254-3900E2817115}"/>
              </a:ext>
            </a:extLst>
          </p:cNvPr>
          <p:cNvSpPr/>
          <p:nvPr/>
        </p:nvSpPr>
        <p:spPr>
          <a:xfrm>
            <a:off x="6099175" y="1545103"/>
            <a:ext cx="6366063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lang="en-US" sz="1200" b="1" dirty="0">
                <a:solidFill>
                  <a:schemeClr val="tx1"/>
                </a:solidFill>
              </a:rPr>
              <a:t>Consumers wishing wireless charging options </a:t>
            </a:r>
          </a:p>
        </p:txBody>
      </p:sp>
    </p:spTree>
    <p:extLst>
      <p:ext uri="{BB962C8B-B14F-4D97-AF65-F5344CB8AC3E}">
        <p14:creationId xmlns:p14="http://schemas.microsoft.com/office/powerpoint/2010/main" val="28608128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C13324F6-5FF0-4F0C-8C83-405BC3937B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5980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C13324F6-5FF0-4F0C-8C83-405BC3937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FC6FAA-9D10-4867-BD4F-F01A2399862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D53D765-93C4-4E76-8A2B-980FA6C3CFA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4CA3EE8-D0F1-40A4-8AF1-E08031EB1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CH" dirty="0"/>
              <a:t>As </a:t>
            </a:r>
            <a:r>
              <a:rPr lang="de-CH" dirty="0" err="1"/>
              <a:t>produc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mart </a:t>
            </a:r>
            <a:r>
              <a:rPr lang="de-CH" dirty="0" err="1"/>
              <a:t>factory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opo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br>
              <a:rPr lang="de-CH" dirty="0"/>
            </a:br>
            <a:r>
              <a:rPr lang="de-CH" dirty="0"/>
              <a:t>«OST-Gadget», a </a:t>
            </a:r>
            <a:r>
              <a:rPr lang="de-CH" dirty="0" err="1"/>
              <a:t>wireless</a:t>
            </a:r>
            <a:r>
              <a:rPr lang="de-CH" dirty="0"/>
              <a:t> </a:t>
            </a:r>
            <a:r>
              <a:rPr lang="de-CH" dirty="0" err="1"/>
              <a:t>charg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phone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60E83BD-9E84-428B-8CED-BED854D8AC6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/>
              <a:t>Executive Summary</a:t>
            </a:r>
          </a:p>
        </p:txBody>
      </p:sp>
      <p:sp>
        <p:nvSpPr>
          <p:cNvPr id="7" name="Pfeil: Fünfeck 6">
            <a:extLst>
              <a:ext uri="{FF2B5EF4-FFF2-40B4-BE49-F238E27FC236}">
                <a16:creationId xmlns:a16="http://schemas.microsoft.com/office/drawing/2014/main" id="{F9518361-6D57-4390-88CE-474041812CBC}"/>
              </a:ext>
            </a:extLst>
          </p:cNvPr>
          <p:cNvSpPr/>
          <p:nvPr/>
        </p:nvSpPr>
        <p:spPr>
          <a:xfrm>
            <a:off x="833010" y="1795168"/>
            <a:ext cx="3780000" cy="536972"/>
          </a:xfrm>
          <a:prstGeom prst="homePlate">
            <a:avLst/>
          </a:prstGeom>
          <a:solidFill>
            <a:schemeClr val="tx2"/>
          </a:solidFill>
          <a:ln w="25400"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de-CH" sz="1600" b="1" dirty="0">
                <a:solidFill>
                  <a:schemeClr val="bg1"/>
                </a:solidFill>
              </a:rPr>
              <a:t>Market </a:t>
            </a:r>
            <a:r>
              <a:rPr lang="de-CH" sz="1600" b="1" dirty="0" err="1">
                <a:solidFill>
                  <a:schemeClr val="bg1"/>
                </a:solidFill>
              </a:rPr>
              <a:t>analysis</a:t>
            </a:r>
            <a:endParaRPr lang="de-CH" sz="1600" dirty="0">
              <a:solidFill>
                <a:schemeClr val="bg1"/>
              </a:solidFill>
            </a:endParaRPr>
          </a:p>
        </p:txBody>
      </p:sp>
      <p:sp>
        <p:nvSpPr>
          <p:cNvPr id="8" name="Pfeil: Chevron 7">
            <a:extLst>
              <a:ext uri="{FF2B5EF4-FFF2-40B4-BE49-F238E27FC236}">
                <a16:creationId xmlns:a16="http://schemas.microsoft.com/office/drawing/2014/main" id="{0C537F3C-58B9-4EF6-8523-D343C1620DB9}"/>
              </a:ext>
            </a:extLst>
          </p:cNvPr>
          <p:cNvSpPr/>
          <p:nvPr/>
        </p:nvSpPr>
        <p:spPr>
          <a:xfrm>
            <a:off x="4456612" y="1795167"/>
            <a:ext cx="3780000" cy="536973"/>
          </a:xfrm>
          <a:prstGeom prst="chevron">
            <a:avLst/>
          </a:prstGeom>
          <a:solidFill>
            <a:schemeClr val="tx2"/>
          </a:solidFill>
          <a:ln w="25400"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de-CH" sz="1600" b="1" dirty="0">
                <a:solidFill>
                  <a:schemeClr val="bg1"/>
                </a:solidFill>
              </a:rPr>
              <a:t>Marketing </a:t>
            </a:r>
            <a:r>
              <a:rPr lang="de-CH" sz="1600" b="1" dirty="0" err="1">
                <a:solidFill>
                  <a:schemeClr val="bg1"/>
                </a:solidFill>
              </a:rPr>
              <a:t>strategy</a:t>
            </a:r>
            <a:endParaRPr lang="de-CH" sz="1600" dirty="0">
              <a:solidFill>
                <a:schemeClr val="bg1"/>
              </a:solidFill>
            </a:endParaRPr>
          </a:p>
        </p:txBody>
      </p:sp>
      <p:sp>
        <p:nvSpPr>
          <p:cNvPr id="9" name="Pfeil: Chevron 8">
            <a:extLst>
              <a:ext uri="{FF2B5EF4-FFF2-40B4-BE49-F238E27FC236}">
                <a16:creationId xmlns:a16="http://schemas.microsoft.com/office/drawing/2014/main" id="{005BBA9A-34B5-424A-8E5F-A512B2396972}"/>
              </a:ext>
            </a:extLst>
          </p:cNvPr>
          <p:cNvSpPr/>
          <p:nvPr/>
        </p:nvSpPr>
        <p:spPr>
          <a:xfrm>
            <a:off x="8080213" y="1795409"/>
            <a:ext cx="3780000" cy="536731"/>
          </a:xfrm>
          <a:prstGeom prst="chevron">
            <a:avLst/>
          </a:prstGeom>
          <a:solidFill>
            <a:schemeClr val="tx2"/>
          </a:solidFill>
          <a:ln w="25400"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de-CH" sz="1600" b="1" dirty="0">
                <a:solidFill>
                  <a:schemeClr val="bg1"/>
                </a:solidFill>
              </a:rPr>
              <a:t>Marketing mix</a:t>
            </a:r>
            <a:endParaRPr lang="de-CH" sz="1600" dirty="0">
              <a:solidFill>
                <a:schemeClr val="bg1"/>
              </a:solidFill>
            </a:endParaRPr>
          </a:p>
        </p:txBody>
      </p:sp>
      <p:pic>
        <p:nvPicPr>
          <p:cNvPr id="14" name="Picture 10">
            <a:extLst>
              <a:ext uri="{FF2B5EF4-FFF2-40B4-BE49-F238E27FC236}">
                <a16:creationId xmlns:a16="http://schemas.microsoft.com/office/drawing/2014/main" id="{BB908C48-1DFF-4AF9-A11D-FAD645ACBE8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10286515" y="559872"/>
            <a:ext cx="1348573" cy="948768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E7D32263-90A9-4EC8-8BE1-CFD01DBDFFA4}"/>
              </a:ext>
            </a:extLst>
          </p:cNvPr>
          <p:cNvSpPr txBox="1"/>
          <p:nvPr/>
        </p:nvSpPr>
        <p:spPr>
          <a:xfrm>
            <a:off x="806449" y="2430521"/>
            <a:ext cx="3453764" cy="3100998"/>
          </a:xfrm>
          <a:prstGeom prst="rect">
            <a:avLst/>
          </a:prstGeom>
          <a:noFill/>
        </p:spPr>
        <p:txBody>
          <a:bodyPr wrap="square" lIns="108000" tIns="36000" rIns="108000" bIns="72000" rtlCol="0">
            <a:noAutofit/>
          </a:bodyPr>
          <a:lstStyle/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Wireless is the charging </a:t>
            </a:r>
            <a:r>
              <a:rPr lang="en-US" sz="1200" b="1" dirty="0"/>
              <a:t>technology of the next decade, CAGR +29.4%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Wireless charging is a </a:t>
            </a:r>
            <a:r>
              <a:rPr lang="en-US" sz="1200" b="1" dirty="0"/>
              <a:t>key priority feature for 78% of smartphone users</a:t>
            </a:r>
            <a:r>
              <a:rPr lang="en-US" sz="1200" dirty="0"/>
              <a:t>, 20% own already a wireless charger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b="1" dirty="0"/>
              <a:t>Compatibility</a:t>
            </a:r>
            <a:r>
              <a:rPr lang="en-US" sz="1200" dirty="0"/>
              <a:t> (Qi standard) and </a:t>
            </a:r>
            <a:r>
              <a:rPr lang="en-US" sz="1200" b="1" dirty="0"/>
              <a:t>charging speed</a:t>
            </a:r>
            <a:r>
              <a:rPr lang="en-US" sz="1200" dirty="0"/>
              <a:t> are key ease-of-use needs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As </a:t>
            </a:r>
            <a:r>
              <a:rPr lang="en-US" sz="1200" b="1" dirty="0"/>
              <a:t>battery anxiety </a:t>
            </a:r>
            <a:r>
              <a:rPr lang="en-US" sz="1200" dirty="0"/>
              <a:t>is a key concern, consumers want to see wireless power available to them in more places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Prices range from ~10-150 CHF, most products around </a:t>
            </a:r>
            <a:r>
              <a:rPr lang="en-US" sz="1200" b="1" dirty="0"/>
              <a:t>40CHF</a:t>
            </a:r>
          </a:p>
          <a:p>
            <a:pPr algn="l">
              <a:spcAft>
                <a:spcPts val="600"/>
              </a:spcAft>
              <a:buClr>
                <a:schemeClr val="tx2"/>
              </a:buClr>
            </a:pP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BDD43A2-EA59-4500-92F1-3DE4E03BEAFB}"/>
              </a:ext>
            </a:extLst>
          </p:cNvPr>
          <p:cNvSpPr txBox="1"/>
          <p:nvPr/>
        </p:nvSpPr>
        <p:spPr>
          <a:xfrm>
            <a:off x="4430051" y="2430521"/>
            <a:ext cx="3554874" cy="3100998"/>
          </a:xfrm>
          <a:prstGeom prst="rect">
            <a:avLst/>
          </a:prstGeom>
          <a:noFill/>
        </p:spPr>
        <p:txBody>
          <a:bodyPr wrap="square" lIns="108000" tIns="36000" rIns="108000" bIns="72000" rtlCol="0">
            <a:noAutofit/>
          </a:bodyPr>
          <a:lstStyle/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b="1" dirty="0"/>
              <a:t>Digital manufacturing know-how </a:t>
            </a:r>
            <a:r>
              <a:rPr lang="en-US" sz="1200" dirty="0"/>
              <a:t>is our strength, our weakness is that we are not a real and competitive enterprise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We recommend targeting the segments </a:t>
            </a:r>
            <a:r>
              <a:rPr lang="en-US" sz="1200" b="1" dirty="0"/>
              <a:t>OST merchandise</a:t>
            </a:r>
            <a:r>
              <a:rPr lang="en-US" sz="1200" dirty="0"/>
              <a:t> </a:t>
            </a:r>
            <a:r>
              <a:rPr lang="en-US" sz="1200" b="1" dirty="0"/>
              <a:t>with expected 300 chargers per year</a:t>
            </a:r>
            <a:r>
              <a:rPr lang="en-US" sz="1200" dirty="0"/>
              <a:t> and </a:t>
            </a:r>
            <a:r>
              <a:rPr lang="en-US" sz="1200" b="1" dirty="0"/>
              <a:t>OST students &amp; staff with expected 200 chargers per year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We propose a </a:t>
            </a:r>
            <a:r>
              <a:rPr lang="en-US" sz="1200" b="1" dirty="0"/>
              <a:t>focus strategy</a:t>
            </a:r>
            <a:r>
              <a:rPr lang="en-US" sz="1200" dirty="0"/>
              <a:t> with </a:t>
            </a:r>
            <a:r>
              <a:rPr lang="en-US" sz="1200" b="1" dirty="0"/>
              <a:t>personalized design</a:t>
            </a:r>
            <a:r>
              <a:rPr lang="en-US" sz="1200" dirty="0"/>
              <a:t> is at the core of our differentiation, combined with</a:t>
            </a:r>
            <a:r>
              <a:rPr lang="en-US" sz="1200" b="1" dirty="0"/>
              <a:t> OST branding</a:t>
            </a:r>
            <a:r>
              <a:rPr lang="en-US" sz="1200" dirty="0"/>
              <a:t> and </a:t>
            </a:r>
            <a:r>
              <a:rPr lang="en-US" sz="1200" b="1" dirty="0"/>
              <a:t>sustainable materials</a:t>
            </a:r>
            <a:r>
              <a:rPr lang="en-US" sz="1200" dirty="0"/>
              <a:t>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b="1" dirty="0"/>
              <a:t>Qi certification, sufficient wattage, and durability </a:t>
            </a:r>
            <a:r>
              <a:rPr lang="en-US" sz="1200" dirty="0"/>
              <a:t>are must-haves</a:t>
            </a:r>
            <a:r>
              <a:rPr lang="en-US" sz="1200" b="1" dirty="0"/>
              <a:t>. </a:t>
            </a:r>
            <a:r>
              <a:rPr lang="en-US" sz="1200" dirty="0"/>
              <a:t>We prefer a </a:t>
            </a:r>
            <a:r>
              <a:rPr lang="en-US" sz="1200" b="1" dirty="0"/>
              <a:t>compact, mobile charger. </a:t>
            </a:r>
            <a:r>
              <a:rPr lang="en-US" sz="1200" dirty="0" err="1"/>
              <a:t>MagSafe</a:t>
            </a:r>
            <a:r>
              <a:rPr lang="en-US" sz="1200" dirty="0"/>
              <a:t> and/or USB hub are nice-to-have. </a:t>
            </a:r>
            <a:endParaRPr lang="en-US" sz="1200" b="1" dirty="0"/>
          </a:p>
          <a:p>
            <a:pPr algn="l">
              <a:spcAft>
                <a:spcPts val="600"/>
              </a:spcAft>
              <a:buClr>
                <a:schemeClr val="tx2"/>
              </a:buClr>
            </a:pP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F98A685-68A7-45D3-AFA1-6A6AF1B142FE}"/>
              </a:ext>
            </a:extLst>
          </p:cNvPr>
          <p:cNvSpPr txBox="1"/>
          <p:nvPr/>
        </p:nvSpPr>
        <p:spPr>
          <a:xfrm>
            <a:off x="8053653" y="2430520"/>
            <a:ext cx="3554874" cy="3100998"/>
          </a:xfrm>
          <a:prstGeom prst="rect">
            <a:avLst/>
          </a:prstGeom>
          <a:noFill/>
        </p:spPr>
        <p:txBody>
          <a:bodyPr wrap="square" lIns="108000" tIns="36000" rIns="108000" bIns="72000" rtlCol="0">
            <a:noAutofit/>
          </a:bodyPr>
          <a:lstStyle/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Physical product only –</a:t>
            </a:r>
            <a:r>
              <a:rPr lang="en-US" sz="1200" b="1" dirty="0"/>
              <a:t> no frills, no service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b="1" dirty="0"/>
              <a:t>We make the housing </a:t>
            </a:r>
            <a:r>
              <a:rPr lang="en-US" sz="1200" dirty="0"/>
              <a:t>to demonstrate our strengths in digital manufacturing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b="1" dirty="0"/>
              <a:t>We buy the electronics</a:t>
            </a:r>
            <a:r>
              <a:rPr lang="en-US" sz="1200" dirty="0"/>
              <a:t> to avoid certification and speed up time to market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Roboto Medium" panose="02000000000000000000" pitchFamily="2" charset="0"/>
              </a:rPr>
              <a:t>Est. cost</a:t>
            </a:r>
            <a:r>
              <a:rPr lang="en-US" sz="1200" b="1" dirty="0">
                <a:ea typeface="Roboto Medium" panose="02000000000000000000" pitchFamily="2" charset="0"/>
              </a:rPr>
              <a:t> variable 8CHF, fixed</a:t>
            </a:r>
            <a:r>
              <a:rPr lang="en-US" sz="1200" dirty="0">
                <a:ea typeface="Roboto Medium" panose="02000000000000000000" pitchFamily="2" charset="0"/>
              </a:rPr>
              <a:t> </a:t>
            </a:r>
            <a:r>
              <a:rPr lang="en-US" sz="1200" b="1" dirty="0">
                <a:ea typeface="Roboto Medium" panose="02000000000000000000" pitchFamily="2" charset="0"/>
              </a:rPr>
              <a:t>50kCHF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Roboto Medium" panose="02000000000000000000" pitchFamily="2" charset="0"/>
              </a:rPr>
              <a:t>We estimate a </a:t>
            </a:r>
            <a:r>
              <a:rPr lang="en-US" sz="1200" b="1" dirty="0">
                <a:ea typeface="Roboto Medium" panose="02000000000000000000" pitchFamily="2" charset="0"/>
              </a:rPr>
              <a:t>25 CHF price; </a:t>
            </a:r>
            <a:r>
              <a:rPr lang="en-US" sz="1200" dirty="0">
                <a:ea typeface="Roboto Medium" panose="02000000000000000000" pitchFamily="2" charset="0"/>
              </a:rPr>
              <a:t>we could still sell at market’s average 40 CHF if quantities are -50% lower than expected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Roboto Medium" panose="02000000000000000000" pitchFamily="2" charset="0"/>
              </a:rPr>
              <a:t>Students &amp; staff can </a:t>
            </a:r>
            <a:r>
              <a:rPr lang="en-US" sz="1200" b="1" dirty="0">
                <a:ea typeface="Roboto Medium" panose="02000000000000000000" pitchFamily="2" charset="0"/>
              </a:rPr>
              <a:t>order online and pick up at the reception</a:t>
            </a:r>
            <a:r>
              <a:rPr lang="en-US" sz="1200" dirty="0">
                <a:ea typeface="Roboto Medium" panose="02000000000000000000" pitchFamily="2" charset="0"/>
              </a:rPr>
              <a:t>, smart factory visitors can watch the product being made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ea typeface="Roboto Medium" panose="02000000000000000000" pitchFamily="2" charset="0"/>
              </a:rPr>
              <a:t>Promotion </a:t>
            </a:r>
            <a:r>
              <a:rPr lang="en-US" sz="1200" dirty="0">
                <a:ea typeface="Roboto Medium" panose="02000000000000000000" pitchFamily="2" charset="0"/>
              </a:rPr>
              <a:t>to students via </a:t>
            </a:r>
            <a:r>
              <a:rPr lang="en-US" sz="1200" b="1" dirty="0">
                <a:ea typeface="Roboto Medium" panose="02000000000000000000" pitchFamily="2" charset="0"/>
              </a:rPr>
              <a:t>classes</a:t>
            </a:r>
            <a:r>
              <a:rPr lang="en-US" sz="1200" dirty="0">
                <a:ea typeface="Roboto Medium" panose="02000000000000000000" pitchFamily="2" charset="0"/>
              </a:rPr>
              <a:t> utilizing the smart factory, to staff via </a:t>
            </a:r>
            <a:r>
              <a:rPr lang="en-US" sz="1200" b="1" dirty="0">
                <a:ea typeface="Roboto Medium" panose="02000000000000000000" pitchFamily="2" charset="0"/>
              </a:rPr>
              <a:t>intranet</a:t>
            </a:r>
            <a:endParaRPr lang="de-CH" sz="1200" b="1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91808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7619F4C-4BEA-471F-B7B0-623407C2C2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123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7619F4C-4BEA-471F-B7B0-623407C2C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462B137-96CD-4ED8-B154-102E7317C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26F251B-1F8E-4607-AA18-64208C38D01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0</a:t>
            </a:fld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D57165-C4F4-4311-87C9-C4AD5C0FBF8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do </a:t>
            </a:r>
            <a:r>
              <a:rPr lang="de-CH" dirty="0" err="1"/>
              <a:t>customers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?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636D16C-7382-4A28-BE63-5DBBEE2B7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digital </a:t>
            </a:r>
            <a:r>
              <a:rPr lang="de-CH" dirty="0" err="1"/>
              <a:t>manufacturing</a:t>
            </a:r>
            <a:r>
              <a:rPr lang="de-CH" dirty="0"/>
              <a:t> in </a:t>
            </a:r>
            <a:r>
              <a:rPr lang="de-CH" dirty="0" err="1"/>
              <a:t>mind</a:t>
            </a:r>
            <a:r>
              <a:rPr lang="de-CH" dirty="0"/>
              <a:t>: 69%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nsumer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will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pay</a:t>
            </a:r>
            <a:r>
              <a:rPr lang="de-CH" dirty="0"/>
              <a:t> a premium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ersonalized</a:t>
            </a:r>
            <a:r>
              <a:rPr lang="de-CH" dirty="0"/>
              <a:t> </a:t>
            </a:r>
            <a:r>
              <a:rPr lang="de-CH" dirty="0" err="1"/>
              <a:t>electrical</a:t>
            </a:r>
            <a:r>
              <a:rPr lang="de-CH" dirty="0"/>
              <a:t> </a:t>
            </a:r>
            <a:r>
              <a:rPr lang="de-CH" dirty="0" err="1"/>
              <a:t>products</a:t>
            </a:r>
            <a:endParaRPr lang="de-CH" dirty="0"/>
          </a:p>
        </p:txBody>
      </p:sp>
      <p:graphicFrame>
        <p:nvGraphicFramePr>
          <p:cNvPr id="40" name="ChartObject">
            <a:extLst>
              <a:ext uri="{FF2B5EF4-FFF2-40B4-BE49-F238E27FC236}">
                <a16:creationId xmlns:a16="http://schemas.microsoft.com/office/drawing/2014/main" id="{9F47CC8C-520E-4925-B9AC-A9537712CB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1809966"/>
              </p:ext>
            </p:extLst>
          </p:nvPr>
        </p:nvGraphicFramePr>
        <p:xfrm>
          <a:off x="676800" y="2086000"/>
          <a:ext cx="10742400" cy="390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1" name="Rechteck 40">
            <a:extLst>
              <a:ext uri="{FF2B5EF4-FFF2-40B4-BE49-F238E27FC236}">
                <a16:creationId xmlns:a16="http://schemas.microsoft.com/office/drawing/2014/main" id="{FA9A4904-B30F-4721-9F77-6082C561486B}"/>
              </a:ext>
            </a:extLst>
          </p:cNvPr>
          <p:cNvSpPr/>
          <p:nvPr/>
        </p:nvSpPr>
        <p:spPr>
          <a:xfrm>
            <a:off x="1639684" y="3993160"/>
            <a:ext cx="9491736" cy="184557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 fontScale="32500" lnSpcReduction="20000"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  <p:sp>
        <p:nvSpPr>
          <p:cNvPr id="50" name="New shape">
            <a:extLst>
              <a:ext uri="{FF2B5EF4-FFF2-40B4-BE49-F238E27FC236}">
                <a16:creationId xmlns:a16="http://schemas.microsoft.com/office/drawing/2014/main" id="{A1F56A74-0565-4020-A768-D7614AC1549D}"/>
              </a:ext>
            </a:extLst>
          </p:cNvPr>
          <p:cNvSpPr/>
          <p:nvPr/>
        </p:nvSpPr>
        <p:spPr>
          <a:xfrm>
            <a:off x="752613" y="1688178"/>
            <a:ext cx="10836000" cy="327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 fontScale="97500"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sz="1200" b="1" dirty="0">
                <a:solidFill>
                  <a:schemeClr val="tx1"/>
                </a:solidFill>
              </a:rPr>
              <a:t>Premium consumers willing to pay for personalized products in Great Britain 2015</a:t>
            </a:r>
          </a:p>
        </p:txBody>
      </p:sp>
      <p:sp>
        <p:nvSpPr>
          <p:cNvPr id="53" name="New shape">
            <a:extLst>
              <a:ext uri="{FF2B5EF4-FFF2-40B4-BE49-F238E27FC236}">
                <a16:creationId xmlns:a16="http://schemas.microsoft.com/office/drawing/2014/main" id="{B7F8402D-2007-406F-846E-19F8D33760E7}"/>
              </a:ext>
            </a:extLst>
          </p:cNvPr>
          <p:cNvSpPr/>
          <p:nvPr/>
        </p:nvSpPr>
        <p:spPr>
          <a:xfrm>
            <a:off x="892998" y="5617800"/>
            <a:ext cx="8280000" cy="73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b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sz="800" b="1" dirty="0">
                <a:solidFill>
                  <a:schemeClr val="tx1"/>
                </a:solidFill>
              </a:rPr>
              <a:t>Note(s):</a:t>
            </a:r>
            <a:r>
              <a:rPr sz="800" dirty="0">
                <a:solidFill>
                  <a:schemeClr val="tx1"/>
                </a:solidFill>
              </a:rPr>
              <a:t> United Kingdom (Great Britain); June 2015 ; 16 years and older; 1,560 respondents; All interested in customized products and/or services</a:t>
            </a:r>
          </a:p>
          <a:p>
            <a:pPr algn="l"/>
            <a:r>
              <a:rPr sz="800" b="1" dirty="0">
                <a:solidFill>
                  <a:schemeClr val="tx1"/>
                </a:solidFill>
              </a:rPr>
              <a:t>Source(s): </a:t>
            </a:r>
            <a:r>
              <a:rPr sz="800" dirty="0">
                <a:solidFill>
                  <a:schemeClr val="tx1"/>
                </a:solidFill>
              </a:rPr>
              <a:t>Deloitte; YouGov; </a:t>
            </a:r>
            <a:r>
              <a:rPr sz="800" dirty="0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D 462684</a:t>
            </a:r>
          </a:p>
        </p:txBody>
      </p:sp>
    </p:spTree>
    <p:extLst>
      <p:ext uri="{BB962C8B-B14F-4D97-AF65-F5344CB8AC3E}">
        <p14:creationId xmlns:p14="http://schemas.microsoft.com/office/powerpoint/2010/main" val="2899816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C9010167-D4CF-4AFD-9F81-61E401FE72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9932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C9010167-D4CF-4AFD-9F81-61E401FE7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45AA586-7A0B-4358-9633-08E237CE8C8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6A31CD4-9C76-44F5-9F63-B2484D73361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1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231F607-EEA1-45CD-A5BF-229CA5A0E7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de-CH" dirty="0"/>
              <a:t>Anker and </a:t>
            </a:r>
            <a:r>
              <a:rPr lang="de-CH" dirty="0" err="1"/>
              <a:t>Belkin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ading</a:t>
            </a:r>
            <a:r>
              <a:rPr lang="de-CH" dirty="0"/>
              <a:t> </a:t>
            </a:r>
            <a:r>
              <a:rPr lang="de-CH" dirty="0" err="1"/>
              <a:t>brands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55C7AA8-A530-4D61-9B98-CEAB9C9AA09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mpetition</a:t>
            </a:r>
            <a:r>
              <a:rPr lang="de-CH" dirty="0"/>
              <a:t>?</a:t>
            </a:r>
          </a:p>
        </p:txBody>
      </p:sp>
      <p:graphicFrame>
        <p:nvGraphicFramePr>
          <p:cNvPr id="6" name="ChartObject">
            <a:extLst>
              <a:ext uri="{FF2B5EF4-FFF2-40B4-BE49-F238E27FC236}">
                <a16:creationId xmlns:a16="http://schemas.microsoft.com/office/drawing/2014/main" id="{F65A3612-60C7-49D4-8125-3A86A55EB1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7489976"/>
              </p:ext>
            </p:extLst>
          </p:nvPr>
        </p:nvGraphicFramePr>
        <p:xfrm>
          <a:off x="806449" y="1810177"/>
          <a:ext cx="11016000" cy="393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New shape">
            <a:extLst>
              <a:ext uri="{FF2B5EF4-FFF2-40B4-BE49-F238E27FC236}">
                <a16:creationId xmlns:a16="http://schemas.microsoft.com/office/drawing/2014/main" id="{88FAF32C-2D89-43A4-A758-6FC7466A1340}"/>
              </a:ext>
            </a:extLst>
          </p:cNvPr>
          <p:cNvSpPr/>
          <p:nvPr/>
        </p:nvSpPr>
        <p:spPr>
          <a:xfrm>
            <a:off x="10447200" y="5994958"/>
            <a:ext cx="1170000" cy="2376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New shape">
            <a:extLst>
              <a:ext uri="{FF2B5EF4-FFF2-40B4-BE49-F238E27FC236}">
                <a16:creationId xmlns:a16="http://schemas.microsoft.com/office/drawing/2014/main" id="{59E55243-8D92-48F7-AA2E-5D764C879B67}"/>
              </a:ext>
            </a:extLst>
          </p:cNvPr>
          <p:cNvSpPr/>
          <p:nvPr/>
        </p:nvSpPr>
        <p:spPr>
          <a:xfrm>
            <a:off x="896450" y="5849989"/>
            <a:ext cx="9576000" cy="527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r>
              <a:rPr lang="en-US" sz="800" b="1" dirty="0">
                <a:solidFill>
                  <a:schemeClr val="tx1"/>
                </a:solidFill>
              </a:rPr>
              <a:t>Note(s): </a:t>
            </a:r>
            <a:r>
              <a:rPr lang="en-US" sz="800" b="0" dirty="0">
                <a:solidFill>
                  <a:schemeClr val="tx1"/>
                </a:solidFill>
              </a:rPr>
              <a:t>Worldwide; May 2022</a:t>
            </a:r>
          </a:p>
          <a:p>
            <a:r>
              <a:rPr lang="en-US" sz="800" b="1" dirty="0">
                <a:solidFill>
                  <a:schemeClr val="tx1"/>
                </a:solidFill>
              </a:rPr>
              <a:t>Source(s): </a:t>
            </a:r>
            <a:r>
              <a:rPr lang="en-US" sz="800" b="0" dirty="0">
                <a:solidFill>
                  <a:schemeClr val="tx1"/>
                </a:solidFill>
              </a:rPr>
              <a:t>Statista; ZoomInfo </a:t>
            </a:r>
          </a:p>
        </p:txBody>
      </p:sp>
      <p:sp>
        <p:nvSpPr>
          <p:cNvPr id="13" name="New shape">
            <a:extLst>
              <a:ext uri="{FF2B5EF4-FFF2-40B4-BE49-F238E27FC236}">
                <a16:creationId xmlns:a16="http://schemas.microsoft.com/office/drawing/2014/main" id="{14EADDD4-9ACE-42B7-9E1A-F4FFF93F584A}"/>
              </a:ext>
            </a:extLst>
          </p:cNvPr>
          <p:cNvSpPr/>
          <p:nvPr/>
        </p:nvSpPr>
        <p:spPr>
          <a:xfrm>
            <a:off x="735331" y="1497167"/>
            <a:ext cx="11196000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sz="1200" b="1" dirty="0">
                <a:solidFill>
                  <a:schemeClr val="tx1"/>
                </a:solidFill>
              </a:rPr>
              <a:t>Wireless charging companies worldwide 2022, by revenue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BEB64B02-0178-4D0A-AFB2-F0E0548D893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5922"/>
          <a:stretch/>
        </p:blipFill>
        <p:spPr>
          <a:xfrm>
            <a:off x="4952052" y="2828792"/>
            <a:ext cx="6900121" cy="15265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CC25812-3E56-45F8-889D-3E7CE82CAD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23905" y="2861056"/>
            <a:ext cx="759204" cy="237823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700A3F9A-D31A-4E06-A5DE-2BACE788927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4173" y="2848906"/>
            <a:ext cx="1847376" cy="22928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FE3B8309-2F3F-4B29-B749-FF68819952B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030" b="22863"/>
          <a:stretch/>
        </p:blipFill>
        <p:spPr>
          <a:xfrm>
            <a:off x="4951703" y="4398570"/>
            <a:ext cx="6900121" cy="15136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9B115AB9-573B-436E-88A6-B47E4306864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21286" y="4414020"/>
            <a:ext cx="1847376" cy="220882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4F750BFC-B66B-4564-B556-B3F1F0A09B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38528" y="4421546"/>
            <a:ext cx="759204" cy="23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9784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3BF17923-14BD-4B39-B6C3-28651EDCD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415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3BF17923-14BD-4B39-B6C3-28651EDCD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7BDD789-8678-476C-8668-F36C7ADD580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A8FD971-D874-402C-B155-C802D76FFA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2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C844990-2F91-4420-A6DC-03AE3FEFB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Prices </a:t>
            </a:r>
            <a:r>
              <a:rPr lang="de-CH" dirty="0" err="1"/>
              <a:t>range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~10-150 CHF, </a:t>
            </a:r>
            <a:r>
              <a:rPr lang="de-CH" dirty="0" err="1"/>
              <a:t>most</a:t>
            </a:r>
            <a:r>
              <a:rPr lang="de-CH" dirty="0"/>
              <a:t> </a:t>
            </a:r>
            <a:r>
              <a:rPr lang="de-CH" dirty="0" err="1"/>
              <a:t>products</a:t>
            </a:r>
            <a:r>
              <a:rPr lang="de-CH" dirty="0"/>
              <a:t> </a:t>
            </a:r>
            <a:r>
              <a:rPr lang="de-CH" dirty="0" err="1"/>
              <a:t>around</a:t>
            </a:r>
            <a:r>
              <a:rPr lang="de-CH" dirty="0"/>
              <a:t> 40CHF, but also strong </a:t>
            </a:r>
            <a:r>
              <a:rPr lang="de-CH" dirty="0" err="1"/>
              <a:t>deman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premium </a:t>
            </a:r>
            <a:r>
              <a:rPr lang="de-CH" dirty="0" err="1"/>
              <a:t>products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445A1E-FE56-4B99-A699-5C91191A118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mpetition</a:t>
            </a:r>
            <a:r>
              <a:rPr lang="de-CH" dirty="0"/>
              <a:t>?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3389EF0-6C14-4D32-A137-D41B74EB96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6449" y="2247452"/>
            <a:ext cx="2021796" cy="1311801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A873969E-4A15-4E76-A267-2015376B54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7480" y="1565068"/>
            <a:ext cx="1580952" cy="495238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7CBEBAA4-A572-4878-B55A-7E883AF7DA5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519"/>
          <a:stretch/>
        </p:blipFill>
        <p:spPr>
          <a:xfrm>
            <a:off x="2828245" y="1488982"/>
            <a:ext cx="7674772" cy="4891259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67F327CD-5FFF-4960-84A1-A9EC7740D1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59806" y="1565068"/>
            <a:ext cx="1159860" cy="25954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553CD8B-E91A-41FC-9F49-039C92E04F3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6497" y="3714172"/>
            <a:ext cx="1917671" cy="2130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4906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6924653-280A-4BA3-9914-E698645886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577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6924653-280A-4BA3-9914-E698645886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20" descr="Ein Bild, das Text enthält.&#10;&#10;Automatisch generierte Beschreibung">
            <a:extLst>
              <a:ext uri="{FF2B5EF4-FFF2-40B4-BE49-F238E27FC236}">
                <a16:creationId xmlns:a16="http://schemas.microsoft.com/office/drawing/2014/main" id="{5D9E98DB-690F-4418-A320-42FD431EBA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29505" y="2938403"/>
            <a:ext cx="3933009" cy="2949757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44A6C13-3E6A-4DCF-9BE1-23F1CFF7035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0ABC263-B67D-448E-892B-7CB7274F553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3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BB7E497-1117-447A-B806-CB97E759DE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de-CH" dirty="0"/>
              <a:t>The </a:t>
            </a:r>
            <a:r>
              <a:rPr lang="de-CH" dirty="0" err="1"/>
              <a:t>major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hargers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 </a:t>
            </a:r>
            <a:r>
              <a:rPr lang="de-CH" dirty="0" err="1"/>
              <a:t>single</a:t>
            </a:r>
            <a:r>
              <a:rPr lang="de-CH" dirty="0"/>
              <a:t> </a:t>
            </a:r>
            <a:r>
              <a:rPr lang="de-CH" dirty="0" err="1"/>
              <a:t>charging</a:t>
            </a:r>
            <a:r>
              <a:rPr lang="de-CH" dirty="0"/>
              <a:t> </a:t>
            </a:r>
            <a:r>
              <a:rPr lang="de-CH" dirty="0" err="1"/>
              <a:t>port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73522DF-ED6A-4C30-9CC9-0B671AF4742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mpetition</a:t>
            </a:r>
            <a:r>
              <a:rPr lang="de-CH" dirty="0"/>
              <a:t>?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4F9DE18C-57E5-4AF8-B714-00F32A1B89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06885" y="2062748"/>
            <a:ext cx="2545338" cy="282896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3490B8D8-24F3-4867-926F-A9C08028B8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02340" y="5185842"/>
            <a:ext cx="1580952" cy="495238"/>
          </a:xfrm>
          <a:prstGeom prst="rect">
            <a:avLst/>
          </a:prstGeom>
        </p:spPr>
      </p:pic>
      <p:pic>
        <p:nvPicPr>
          <p:cNvPr id="23" name="Grafik 22" descr="Ein Bild, das Spiegel enthält.&#10;&#10;Automatisch generierte Beschreibung">
            <a:extLst>
              <a:ext uri="{FF2B5EF4-FFF2-40B4-BE49-F238E27FC236}">
                <a16:creationId xmlns:a16="http://schemas.microsoft.com/office/drawing/2014/main" id="{9D39A0DB-C198-4440-B500-63D04B842D8C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20668" y="1772796"/>
            <a:ext cx="4105695" cy="3079271"/>
          </a:xfrm>
          <a:prstGeom prst="rect">
            <a:avLst/>
          </a:prstGeom>
        </p:spPr>
      </p:pic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D543E2CC-7FD6-4201-99C0-E4BDBE037DB5}"/>
              </a:ext>
            </a:extLst>
          </p:cNvPr>
          <p:cNvCxnSpPr>
            <a:cxnSpLocks/>
          </p:cNvCxnSpPr>
          <p:nvPr/>
        </p:nvCxnSpPr>
        <p:spPr>
          <a:xfrm>
            <a:off x="4283292" y="3366685"/>
            <a:ext cx="3753361" cy="804342"/>
          </a:xfrm>
          <a:prstGeom prst="line">
            <a:avLst/>
          </a:prstGeom>
          <a:ln w="25400"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04395F39-1787-48A7-8B35-2301465FB104}"/>
              </a:ext>
            </a:extLst>
          </p:cNvPr>
          <p:cNvCxnSpPr/>
          <p:nvPr/>
        </p:nvCxnSpPr>
        <p:spPr>
          <a:xfrm flipV="1">
            <a:off x="4283292" y="2387271"/>
            <a:ext cx="1590223" cy="486562"/>
          </a:xfrm>
          <a:prstGeom prst="line">
            <a:avLst/>
          </a:prstGeom>
          <a:ln w="25400"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0747D1EC-FCDB-44D6-89A9-334D827BE066}"/>
              </a:ext>
            </a:extLst>
          </p:cNvPr>
          <p:cNvSpPr txBox="1"/>
          <p:nvPr/>
        </p:nvSpPr>
        <p:spPr>
          <a:xfrm>
            <a:off x="6641877" y="1598531"/>
            <a:ext cx="2555288" cy="847718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600" b="1" dirty="0">
                <a:ea typeface="Roboto Medium" panose="02000000000000000000" pitchFamily="2" charset="0"/>
              </a:rPr>
              <a:t>Single </a:t>
            </a:r>
            <a:r>
              <a:rPr lang="de-CH" sz="1600" b="1" dirty="0" err="1">
                <a:ea typeface="Roboto Medium" panose="02000000000000000000" pitchFamily="2" charset="0"/>
              </a:rPr>
              <a:t>charging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port</a:t>
            </a:r>
            <a:br>
              <a:rPr lang="de-CH" sz="1600" b="1" dirty="0">
                <a:ea typeface="Roboto Medium" panose="02000000000000000000" pitchFamily="2" charset="0"/>
              </a:rPr>
            </a:br>
            <a:r>
              <a:rPr lang="de-CH" sz="1600" dirty="0">
                <a:ea typeface="Roboto Medium" panose="02000000000000000000" pitchFamily="2" charset="0"/>
                <a:sym typeface="Wingdings" panose="05000000000000000000" pitchFamily="2" charset="2"/>
              </a:rPr>
              <a:t> </a:t>
            </a:r>
            <a:r>
              <a:rPr lang="de-CH" sz="1600" dirty="0" err="1">
                <a:ea typeface="Roboto Medium" panose="02000000000000000000" pitchFamily="2" charset="0"/>
                <a:sym typeface="Wingdings" panose="05000000000000000000" pitchFamily="2" charset="2"/>
              </a:rPr>
              <a:t>compact</a:t>
            </a:r>
            <a:r>
              <a:rPr lang="de-CH" sz="1600" dirty="0">
                <a:ea typeface="Roboto Medium" panose="02000000000000000000" pitchFamily="2" charset="0"/>
                <a:sym typeface="Wingdings" panose="05000000000000000000" pitchFamily="2" charset="2"/>
              </a:rPr>
              <a:t> </a:t>
            </a:r>
            <a:r>
              <a:rPr lang="de-CH" sz="1600" dirty="0" err="1">
                <a:ea typeface="Roboto Medium" panose="02000000000000000000" pitchFamily="2" charset="0"/>
                <a:sym typeface="Wingdings" panose="05000000000000000000" pitchFamily="2" charset="2"/>
              </a:rPr>
              <a:t>size</a:t>
            </a:r>
            <a:r>
              <a:rPr lang="de-CH" sz="1600" dirty="0">
                <a:ea typeface="Roboto Medium" panose="02000000000000000000" pitchFamily="2" charset="0"/>
                <a:sym typeface="Wingdings" panose="05000000000000000000" pitchFamily="2" charset="2"/>
              </a:rPr>
              <a:t> </a:t>
            </a:r>
            <a:r>
              <a:rPr lang="de-CH" sz="1600" dirty="0" err="1">
                <a:ea typeface="Roboto Medium" panose="02000000000000000000" pitchFamily="2" charset="0"/>
                <a:sym typeface="Wingdings" panose="05000000000000000000" pitchFamily="2" charset="2"/>
              </a:rPr>
              <a:t>for</a:t>
            </a:r>
            <a:r>
              <a:rPr lang="de-CH" sz="1600" dirty="0">
                <a:ea typeface="Roboto Medium" panose="02000000000000000000" pitchFamily="2" charset="0"/>
                <a:sym typeface="Wingdings" panose="05000000000000000000" pitchFamily="2" charset="2"/>
              </a:rPr>
              <a:t> </a:t>
            </a:r>
            <a:r>
              <a:rPr lang="de-CH" sz="1600" dirty="0" err="1">
                <a:ea typeface="Roboto Medium" panose="02000000000000000000" pitchFamily="2" charset="0"/>
                <a:sym typeface="Wingdings" panose="05000000000000000000" pitchFamily="2" charset="2"/>
              </a:rPr>
              <a:t>both</a:t>
            </a:r>
            <a:br>
              <a:rPr lang="de-CH" sz="1600" dirty="0">
                <a:ea typeface="Roboto Medium" panose="02000000000000000000" pitchFamily="2" charset="0"/>
                <a:sym typeface="Wingdings" panose="05000000000000000000" pitchFamily="2" charset="2"/>
              </a:rPr>
            </a:br>
            <a:r>
              <a:rPr lang="de-CH" sz="1600" dirty="0">
                <a:ea typeface="Roboto Medium" panose="02000000000000000000" pitchFamily="2" charset="0"/>
                <a:sym typeface="Wingdings" panose="05000000000000000000" pitchFamily="2" charset="2"/>
              </a:rPr>
              <a:t>mobile and </a:t>
            </a:r>
            <a:r>
              <a:rPr lang="de-CH" sz="1600" dirty="0" err="1">
                <a:ea typeface="Roboto Medium" panose="02000000000000000000" pitchFamily="2" charset="0"/>
                <a:sym typeface="Wingdings" panose="05000000000000000000" pitchFamily="2" charset="2"/>
              </a:rPr>
              <a:t>stationary</a:t>
            </a:r>
            <a:r>
              <a:rPr lang="de-CH" sz="1600" dirty="0">
                <a:ea typeface="Roboto Medium" panose="02000000000000000000" pitchFamily="2" charset="0"/>
                <a:sym typeface="Wingdings" panose="05000000000000000000" pitchFamily="2" charset="2"/>
              </a:rPr>
              <a:t> </a:t>
            </a:r>
            <a:r>
              <a:rPr lang="de-CH" sz="1600" dirty="0" err="1">
                <a:ea typeface="Roboto Medium" panose="02000000000000000000" pitchFamily="2" charset="0"/>
                <a:sym typeface="Wingdings" panose="05000000000000000000" pitchFamily="2" charset="2"/>
              </a:rPr>
              <a:t>use</a:t>
            </a:r>
            <a:endParaRPr lang="de-CH" sz="1600" dirty="0">
              <a:ea typeface="Roboto Medium" panose="02000000000000000000" pitchFamily="2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BBDF2C07-DAB9-4659-866A-CEB67F24CB47}"/>
              </a:ext>
            </a:extLst>
          </p:cNvPr>
          <p:cNvSpPr txBox="1"/>
          <p:nvPr/>
        </p:nvSpPr>
        <p:spPr>
          <a:xfrm>
            <a:off x="5873515" y="5380331"/>
            <a:ext cx="2489565" cy="601497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600" b="1" dirty="0">
                <a:ea typeface="Roboto Medium" panose="02000000000000000000" pitchFamily="2" charset="0"/>
              </a:rPr>
              <a:t>Multiple </a:t>
            </a:r>
            <a:r>
              <a:rPr lang="de-CH" sz="1600" b="1" dirty="0" err="1">
                <a:ea typeface="Roboto Medium" panose="02000000000000000000" pitchFamily="2" charset="0"/>
              </a:rPr>
              <a:t>charging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ports</a:t>
            </a:r>
            <a:br>
              <a:rPr lang="de-CH" sz="1600" b="1" dirty="0">
                <a:ea typeface="Roboto Medium" panose="02000000000000000000" pitchFamily="2" charset="0"/>
              </a:rPr>
            </a:br>
            <a:r>
              <a:rPr lang="de-CH" sz="1600" dirty="0">
                <a:ea typeface="Roboto Medium" panose="02000000000000000000" pitchFamily="2" charset="0"/>
                <a:sym typeface="Wingdings" panose="05000000000000000000" pitchFamily="2" charset="2"/>
              </a:rPr>
              <a:t> </a:t>
            </a:r>
            <a:r>
              <a:rPr lang="de-CH" sz="1600" dirty="0" err="1">
                <a:ea typeface="Roboto Medium" panose="02000000000000000000" pitchFamily="2" charset="0"/>
                <a:sym typeface="Wingdings" panose="05000000000000000000" pitchFamily="2" charset="2"/>
              </a:rPr>
              <a:t>stationary</a:t>
            </a:r>
            <a:r>
              <a:rPr lang="de-CH" sz="1600" dirty="0">
                <a:ea typeface="Roboto Medium" panose="02000000000000000000" pitchFamily="2" charset="0"/>
                <a:sym typeface="Wingdings" panose="05000000000000000000" pitchFamily="2" charset="2"/>
              </a:rPr>
              <a:t> </a:t>
            </a:r>
            <a:r>
              <a:rPr lang="de-CH" sz="1600" dirty="0" err="1">
                <a:ea typeface="Roboto Medium" panose="02000000000000000000" pitchFamily="2" charset="0"/>
                <a:sym typeface="Wingdings" panose="05000000000000000000" pitchFamily="2" charset="2"/>
              </a:rPr>
              <a:t>use</a:t>
            </a:r>
            <a:endParaRPr lang="de-CH" sz="1600" dirty="0">
              <a:ea typeface="Roboto Medium" panose="02000000000000000000" pitchFamily="2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53AD324C-0E2F-4868-9DE0-A5AAB140B56E}"/>
              </a:ext>
            </a:extLst>
          </p:cNvPr>
          <p:cNvSpPr txBox="1"/>
          <p:nvPr/>
        </p:nvSpPr>
        <p:spPr>
          <a:xfrm>
            <a:off x="6088951" y="4666938"/>
            <a:ext cx="867326" cy="232165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800" dirty="0">
                <a:ea typeface="Roboto Medium" panose="02000000000000000000" pitchFamily="2" charset="0"/>
              </a:rPr>
              <a:t>Source: Apple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3A7BEFB-7AB9-4466-9A12-551393127402}"/>
              </a:ext>
            </a:extLst>
          </p:cNvPr>
          <p:cNvSpPr txBox="1"/>
          <p:nvPr/>
        </p:nvSpPr>
        <p:spPr>
          <a:xfrm>
            <a:off x="10673036" y="5597829"/>
            <a:ext cx="883356" cy="232165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800" dirty="0">
                <a:ea typeface="Roboto Medium" panose="02000000000000000000" pitchFamily="2" charset="0"/>
              </a:rPr>
              <a:t>Source: </a:t>
            </a:r>
            <a:r>
              <a:rPr lang="de-CH" sz="800" dirty="0" err="1">
                <a:ea typeface="Roboto Medium" panose="02000000000000000000" pitchFamily="2" charset="0"/>
              </a:rPr>
              <a:t>Belkin</a:t>
            </a:r>
            <a:endParaRPr lang="de-CH" sz="8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09401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7292561-CD7A-40BE-977E-C4444DB004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953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7292561-CD7A-40BE-977E-C4444DB00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478BB80-62E6-4297-8DCE-ED7C2A37779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564ED3F-A1B8-4531-8734-5D7542D756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4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81E06D8-9634-4E4C-9E4D-1DD2B30D66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Differentiation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MagSafe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mbination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wireless</a:t>
            </a:r>
            <a:r>
              <a:rPr lang="de-CH" dirty="0"/>
              <a:t> </a:t>
            </a:r>
            <a:r>
              <a:rPr lang="de-CH" dirty="0" err="1"/>
              <a:t>chargi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n USB hub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AB24414-2A8D-401D-BB56-2517CC47466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mpetition</a:t>
            </a:r>
            <a:r>
              <a:rPr lang="de-CH" dirty="0"/>
              <a:t>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DE78EDF-09C4-464E-AB3D-8E4664FCC5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2397" y="4636092"/>
            <a:ext cx="6735888" cy="141225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D8131D-0404-40DC-A874-C1D7BED10E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86731" y="1646041"/>
            <a:ext cx="3613394" cy="3027824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97B367F3-416F-4880-BF47-6D1CBC2B95FE}"/>
              </a:ext>
            </a:extLst>
          </p:cNvPr>
          <p:cNvSpPr txBox="1"/>
          <p:nvPr/>
        </p:nvSpPr>
        <p:spPr>
          <a:xfrm>
            <a:off x="8332345" y="4063476"/>
            <a:ext cx="876944" cy="232165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800" dirty="0">
                <a:ea typeface="Roboto Medium" panose="02000000000000000000" pitchFamily="2" charset="0"/>
              </a:rPr>
              <a:t>Source: Hama</a:t>
            </a:r>
          </a:p>
        </p:txBody>
      </p:sp>
      <p:pic>
        <p:nvPicPr>
          <p:cNvPr id="13" name="Grafik 12" descr="Ein Bild, das Elektronik, Lautsprecher enthält.&#10;&#10;Automatisch generierte Beschreibung">
            <a:extLst>
              <a:ext uri="{FF2B5EF4-FFF2-40B4-BE49-F238E27FC236}">
                <a16:creationId xmlns:a16="http://schemas.microsoft.com/office/drawing/2014/main" id="{EA0EF07C-1F0F-4C4E-A292-43A3F04810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2598" y="1836673"/>
            <a:ext cx="3327963" cy="3327963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DB32FC6A-CFF0-40ED-952A-02478FD2B7EF}"/>
              </a:ext>
            </a:extLst>
          </p:cNvPr>
          <p:cNvSpPr txBox="1"/>
          <p:nvPr/>
        </p:nvSpPr>
        <p:spPr>
          <a:xfrm>
            <a:off x="3170315" y="4962042"/>
            <a:ext cx="867326" cy="232165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800" dirty="0">
                <a:ea typeface="Roboto Medium" panose="02000000000000000000" pitchFamily="2" charset="0"/>
              </a:rPr>
              <a:t>Source: Appl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60789A2-1869-4F0B-AE57-F93B4DB76237}"/>
              </a:ext>
            </a:extLst>
          </p:cNvPr>
          <p:cNvSpPr txBox="1"/>
          <p:nvPr/>
        </p:nvSpPr>
        <p:spPr>
          <a:xfrm>
            <a:off x="2075934" y="1658206"/>
            <a:ext cx="1061289" cy="355276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600" b="1" dirty="0">
                <a:ea typeface="Roboto Medium" panose="02000000000000000000" pitchFamily="2" charset="0"/>
              </a:rPr>
              <a:t>MagSafe</a:t>
            </a:r>
            <a:endParaRPr lang="de-CH" sz="1600" dirty="0">
              <a:ea typeface="Roboto Medium" panose="02000000000000000000" pitchFamily="2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18AD3B4-82CE-49BC-A103-2FE5C97C5FA3}"/>
              </a:ext>
            </a:extLst>
          </p:cNvPr>
          <p:cNvSpPr txBox="1"/>
          <p:nvPr/>
        </p:nvSpPr>
        <p:spPr>
          <a:xfrm>
            <a:off x="7189646" y="1658206"/>
            <a:ext cx="1082128" cy="355276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600" b="1" dirty="0">
                <a:ea typeface="Roboto Medium" panose="02000000000000000000" pitchFamily="2" charset="0"/>
              </a:rPr>
              <a:t>USB hub</a:t>
            </a:r>
            <a:endParaRPr lang="de-CH" sz="16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30163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5684DE3-1DBA-453B-AE3C-12E2AB27B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2991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5684DE3-1DBA-453B-AE3C-12E2AB27B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E97EF7A-A4DF-4BBB-AC77-32C9D3F967F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DAC6AFB-FB6C-4422-B3A8-06E7DC52553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5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08FE487-63EF-46B8-BB7A-91FC64DE1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wireless</a:t>
            </a:r>
            <a:r>
              <a:rPr lang="de-CH" dirty="0"/>
              <a:t> </a:t>
            </a:r>
            <a:r>
              <a:rPr lang="de-CH" dirty="0" err="1"/>
              <a:t>charging</a:t>
            </a:r>
            <a:r>
              <a:rPr lang="de-CH" dirty="0"/>
              <a:t> in </a:t>
            </a:r>
            <a:r>
              <a:rPr lang="de-CH" dirty="0" err="1"/>
              <a:t>businesses</a:t>
            </a:r>
            <a:r>
              <a:rPr lang="de-CH" dirty="0"/>
              <a:t>,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dedicated</a:t>
            </a:r>
            <a:r>
              <a:rPr lang="de-CH" dirty="0"/>
              <a:t> </a:t>
            </a:r>
            <a:r>
              <a:rPr lang="de-CH" dirty="0" err="1"/>
              <a:t>suppliers</a:t>
            </a:r>
            <a:r>
              <a:rPr lang="de-CH" dirty="0"/>
              <a:t> </a:t>
            </a:r>
            <a:r>
              <a:rPr lang="de-CH" dirty="0" err="1"/>
              <a:t>offering</a:t>
            </a:r>
            <a:r>
              <a:rPr lang="de-CH" dirty="0"/>
              <a:t> additional </a:t>
            </a:r>
            <a:r>
              <a:rPr lang="de-CH" dirty="0" err="1"/>
              <a:t>functions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30FC917-2471-4AF7-AFAA-3912D76488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mpetition</a:t>
            </a:r>
            <a:r>
              <a:rPr lang="de-CH" dirty="0"/>
              <a:t>?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15ADBBF-EDEA-48B0-ACBE-1099CA61A9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336" y="1843804"/>
            <a:ext cx="3055051" cy="3315425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033110F7-8123-4F4E-A41E-2FF4977DE9B9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40446" y="1843804"/>
            <a:ext cx="3681875" cy="3479943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72665651-2203-4D86-B0C2-F0854EECFE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57904" y="1891550"/>
            <a:ext cx="4282542" cy="3041644"/>
          </a:xfrm>
          <a:prstGeom prst="rect">
            <a:avLst/>
          </a:prstGeom>
        </p:spPr>
      </p:pic>
      <p:sp>
        <p:nvSpPr>
          <p:cNvPr id="30" name="New shape">
            <a:extLst>
              <a:ext uri="{FF2B5EF4-FFF2-40B4-BE49-F238E27FC236}">
                <a16:creationId xmlns:a16="http://schemas.microsoft.com/office/drawing/2014/main" id="{26412F6C-9897-4A00-B8E9-CA74F45F11DD}"/>
              </a:ext>
            </a:extLst>
          </p:cNvPr>
          <p:cNvSpPr/>
          <p:nvPr/>
        </p:nvSpPr>
        <p:spPr>
          <a:xfrm>
            <a:off x="806449" y="5184612"/>
            <a:ext cx="9576000" cy="527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Source: </a:t>
            </a:r>
            <a:r>
              <a:rPr lang="en-US" sz="800" dirty="0" err="1">
                <a:solidFill>
                  <a:schemeClr val="tx1"/>
                </a:solidFill>
              </a:rPr>
              <a:t>Aircharge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0781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58341CE-7C75-4573-BE16-669B403E4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8399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58341CE-7C75-4573-BE16-669B403E4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AC2BEAC0-53D3-482D-8FC6-A295480EB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Marketing </a:t>
            </a:r>
            <a:r>
              <a:rPr lang="de-CH" dirty="0" err="1"/>
              <a:t>Strategy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3832B1-FC16-4FF1-9311-6DC486645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9B7F8D-886E-4469-90E8-604B40C98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6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F71B20-B1E9-4121-B2D6-C1EAF17C52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 err="1"/>
              <a:t>Wher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play</a:t>
            </a:r>
            <a:r>
              <a:rPr lang="de-CH" dirty="0"/>
              <a:t>,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?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B5AF3F34-6DCF-4325-B9B3-86C9FEBA21C0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5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46" b="41772"/>
          <a:stretch/>
        </p:blipFill>
        <p:spPr>
          <a:xfrm>
            <a:off x="0" y="3851275"/>
            <a:ext cx="12198350" cy="234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2448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F7E78E9-1404-4A07-9997-054839B626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480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59" imgH="360" progId="TCLayout.ActiveDocument.1">
                  <p:embed/>
                </p:oleObj>
              </mc:Choice>
              <mc:Fallback>
                <p:oleObj name="think-cell Folie" r:id="rId7" imgW="359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F7E78E9-1404-4A07-9997-054839B62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32740DD-2A21-4E7D-BF62-3605E0C14E6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A4776E-854D-45D5-AD07-641C152780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7</a:t>
            </a:fld>
            <a:endParaRPr lang="de-CH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371071B-8598-42FE-9F28-2EB4491B3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CH" dirty="0"/>
              <a:t>Digital </a:t>
            </a:r>
            <a:r>
              <a:rPr lang="de-CH" dirty="0" err="1"/>
              <a:t>manufacturing</a:t>
            </a:r>
            <a:r>
              <a:rPr lang="de-CH" dirty="0"/>
              <a:t> </a:t>
            </a:r>
            <a:r>
              <a:rPr lang="de-CH" dirty="0" err="1"/>
              <a:t>know-how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trength</a:t>
            </a:r>
            <a:r>
              <a:rPr lang="de-CH" dirty="0"/>
              <a:t>,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weaknes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not a real and </a:t>
            </a:r>
            <a:r>
              <a:rPr lang="de-CH" dirty="0" err="1"/>
              <a:t>competitive</a:t>
            </a:r>
            <a:r>
              <a:rPr lang="de-CH" dirty="0"/>
              <a:t> </a:t>
            </a:r>
            <a:r>
              <a:rPr lang="de-CH" dirty="0" err="1"/>
              <a:t>enterprise</a:t>
            </a:r>
            <a:endParaRPr lang="de-CH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19DE827-5696-4BC2-AE4C-AE49D87F435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trategic</a:t>
            </a:r>
            <a:r>
              <a:rPr lang="de-CH" dirty="0"/>
              <a:t> </a:t>
            </a:r>
            <a:r>
              <a:rPr lang="de-CH" dirty="0" err="1"/>
              <a:t>position</a:t>
            </a:r>
            <a:r>
              <a:rPr lang="de-CH" dirty="0"/>
              <a:t>?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8C36EB1-5FAC-4E2B-92F8-86A158F756E9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06448" y="2224740"/>
            <a:ext cx="5436566" cy="1572481"/>
          </a:xfrm>
          <a:prstGeom prst="rect">
            <a:avLst/>
          </a:prstGeom>
          <a:noFill/>
        </p:spPr>
        <p:txBody>
          <a:bodyPr vert="horz" lIns="144000" tIns="72000" rIns="36000" bIns="36000" rtlCol="0">
            <a:noAutofit/>
          </a:bodyPr>
          <a:lstStyle>
            <a:lvl1pPr marL="239994" indent="-239994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9988" indent="-239994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76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Cutting-edge digital manufacturing technology, in particular in injection moulding</a:t>
            </a:r>
          </a:p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Availability of a brain pool of experts with innovative mindset</a:t>
            </a:r>
          </a:p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OST is a brand known to local students, industry, and limited public that is associated with innovation and education</a:t>
            </a:r>
          </a:p>
        </p:txBody>
      </p:sp>
      <p:sp>
        <p:nvSpPr>
          <p:cNvPr id="12" name="object 2">
            <a:extLst>
              <a:ext uri="{FF2B5EF4-FFF2-40B4-BE49-F238E27FC236}">
                <a16:creationId xmlns:a16="http://schemas.microsoft.com/office/drawing/2014/main" id="{E5024B53-34EC-4367-A7D0-5900F775FC6A}"/>
              </a:ext>
            </a:extLst>
          </p:cNvPr>
          <p:cNvSpPr/>
          <p:nvPr/>
        </p:nvSpPr>
        <p:spPr>
          <a:xfrm>
            <a:off x="1157681" y="1783704"/>
            <a:ext cx="5085334" cy="359165"/>
          </a:xfrm>
          <a:custGeom>
            <a:avLst/>
            <a:gdLst/>
            <a:ahLst/>
            <a:cxnLst/>
            <a:rect l="l" t="t" r="r" b="b"/>
            <a:pathLst>
              <a:path w="7633093" h="889203">
                <a:moveTo>
                  <a:pt x="0" y="889203"/>
                </a:moveTo>
                <a:lnTo>
                  <a:pt x="7633093" y="889203"/>
                </a:lnTo>
                <a:lnTo>
                  <a:pt x="7633093" y="0"/>
                </a:lnTo>
                <a:lnTo>
                  <a:pt x="0" y="0"/>
                </a:lnTo>
                <a:lnTo>
                  <a:pt x="0" y="889203"/>
                </a:lnTo>
                <a:close/>
              </a:path>
            </a:pathLst>
          </a:custGeom>
          <a:noFill/>
        </p:spPr>
        <p:txBody>
          <a:bodyPr wrap="square" lIns="192000" tIns="96000" rIns="96000" bIns="96000" rtlCol="0" anchor="ctr" anchorCtr="0">
            <a:noAutofit/>
          </a:bodyPr>
          <a:lstStyle/>
          <a:p>
            <a:r>
              <a:rPr lang="en-MY" sz="1600" b="1" dirty="0"/>
              <a:t>Strength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0F1CC7E-69F4-4FF9-A45F-B70A429A882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06448" y="4402007"/>
            <a:ext cx="5436566" cy="1568941"/>
          </a:xfrm>
          <a:prstGeom prst="rect">
            <a:avLst/>
          </a:prstGeom>
          <a:noFill/>
        </p:spPr>
        <p:txBody>
          <a:bodyPr vert="horz" lIns="144000" tIns="72000" rIns="36000" bIns="36000" rtlCol="0">
            <a:noAutofit/>
          </a:bodyPr>
          <a:lstStyle>
            <a:lvl1pPr marL="239994" indent="-239994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9988" indent="-239994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76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Pressure to de-globalize supply chains increases interest in smart factory technology</a:t>
            </a:r>
          </a:p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Exponential growth of wireless charging market</a:t>
            </a:r>
          </a:p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Battery anxiety and trend to wireless charging on the go</a:t>
            </a:r>
          </a:p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Trend and pressure by European regulators to standardize smartphone chargers</a:t>
            </a:r>
          </a:p>
        </p:txBody>
      </p:sp>
      <p:sp>
        <p:nvSpPr>
          <p:cNvPr id="14" name="object 2">
            <a:extLst>
              <a:ext uri="{FF2B5EF4-FFF2-40B4-BE49-F238E27FC236}">
                <a16:creationId xmlns:a16="http://schemas.microsoft.com/office/drawing/2014/main" id="{0616A411-DF08-49D3-B6F6-66D7A14F324C}"/>
              </a:ext>
            </a:extLst>
          </p:cNvPr>
          <p:cNvSpPr/>
          <p:nvPr/>
        </p:nvSpPr>
        <p:spPr>
          <a:xfrm>
            <a:off x="1157681" y="3960969"/>
            <a:ext cx="5085334" cy="359165"/>
          </a:xfrm>
          <a:custGeom>
            <a:avLst/>
            <a:gdLst/>
            <a:ahLst/>
            <a:cxnLst/>
            <a:rect l="l" t="t" r="r" b="b"/>
            <a:pathLst>
              <a:path w="7633093" h="889203">
                <a:moveTo>
                  <a:pt x="0" y="889203"/>
                </a:moveTo>
                <a:lnTo>
                  <a:pt x="7633093" y="889203"/>
                </a:lnTo>
                <a:lnTo>
                  <a:pt x="7633093" y="0"/>
                </a:lnTo>
                <a:lnTo>
                  <a:pt x="0" y="0"/>
                </a:lnTo>
                <a:lnTo>
                  <a:pt x="0" y="889203"/>
                </a:lnTo>
                <a:close/>
              </a:path>
            </a:pathLst>
          </a:custGeom>
          <a:noFill/>
        </p:spPr>
        <p:txBody>
          <a:bodyPr wrap="square" lIns="192000" tIns="96000" rIns="96000" bIns="96000" rtlCol="0" anchor="ctr" anchorCtr="0">
            <a:noAutofit/>
          </a:bodyPr>
          <a:lstStyle/>
          <a:p>
            <a:r>
              <a:rPr lang="en-MY" sz="1600" b="1" dirty="0"/>
              <a:t>Opportuniti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4861F29-4E82-420C-B978-8FBD549BF9B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416223" y="2216110"/>
            <a:ext cx="5443987" cy="1564984"/>
          </a:xfrm>
          <a:prstGeom prst="rect">
            <a:avLst/>
          </a:prstGeom>
          <a:noFill/>
        </p:spPr>
        <p:txBody>
          <a:bodyPr vert="horz" lIns="144000" tIns="72000" rIns="36000" bIns="36000" rtlCol="0">
            <a:noAutofit/>
          </a:bodyPr>
          <a:lstStyle>
            <a:lvl1pPr marL="239994" indent="-239994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9988" indent="-239994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76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No experience, no infrastructure, no personnel for cost-efficient series production, distribution, and service</a:t>
            </a:r>
          </a:p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Lacking know-how in certification (</a:t>
            </a:r>
            <a:r>
              <a:rPr lang="en-MY" sz="1400" dirty="0">
                <a:sym typeface="Wingdings" panose="05000000000000000000" pitchFamily="2" charset="2"/>
              </a:rPr>
              <a:t> </a:t>
            </a:r>
            <a:r>
              <a:rPr lang="en-MY" sz="1400" dirty="0"/>
              <a:t>Qi certification)</a:t>
            </a:r>
          </a:p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High </a:t>
            </a:r>
            <a:r>
              <a:rPr lang="en-MY" sz="1400" dirty="0" err="1"/>
              <a:t>labor</a:t>
            </a:r>
            <a:r>
              <a:rPr lang="en-MY" sz="1400" dirty="0"/>
              <a:t> cost</a:t>
            </a:r>
          </a:p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Brand only known locally</a:t>
            </a:r>
          </a:p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It is not the purpose of OST to create commercial products</a:t>
            </a:r>
          </a:p>
          <a:p>
            <a:pPr marL="0" lvl="1" indent="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None/>
            </a:pPr>
            <a:endParaRPr lang="en-MY" sz="1400" dirty="0"/>
          </a:p>
        </p:txBody>
      </p:sp>
      <p:sp>
        <p:nvSpPr>
          <p:cNvPr id="16" name="object 2">
            <a:extLst>
              <a:ext uri="{FF2B5EF4-FFF2-40B4-BE49-F238E27FC236}">
                <a16:creationId xmlns:a16="http://schemas.microsoft.com/office/drawing/2014/main" id="{22F50B81-CB4E-4EF2-B163-0BCAF493ABA3}"/>
              </a:ext>
            </a:extLst>
          </p:cNvPr>
          <p:cNvSpPr/>
          <p:nvPr/>
        </p:nvSpPr>
        <p:spPr>
          <a:xfrm>
            <a:off x="6736360" y="1775074"/>
            <a:ext cx="5123851" cy="359165"/>
          </a:xfrm>
          <a:custGeom>
            <a:avLst/>
            <a:gdLst/>
            <a:ahLst/>
            <a:cxnLst/>
            <a:rect l="l" t="t" r="r" b="b"/>
            <a:pathLst>
              <a:path w="7633093" h="889203">
                <a:moveTo>
                  <a:pt x="0" y="889203"/>
                </a:moveTo>
                <a:lnTo>
                  <a:pt x="7633093" y="889203"/>
                </a:lnTo>
                <a:lnTo>
                  <a:pt x="7633093" y="0"/>
                </a:lnTo>
                <a:lnTo>
                  <a:pt x="0" y="0"/>
                </a:lnTo>
                <a:lnTo>
                  <a:pt x="0" y="889203"/>
                </a:lnTo>
                <a:close/>
              </a:path>
            </a:pathLst>
          </a:custGeom>
          <a:noFill/>
        </p:spPr>
        <p:txBody>
          <a:bodyPr wrap="square" lIns="192000" tIns="96000" rIns="96000" bIns="96000" rtlCol="0" anchor="ctr" anchorCtr="0">
            <a:noAutofit/>
          </a:bodyPr>
          <a:lstStyle/>
          <a:p>
            <a:r>
              <a:rPr lang="en-MY" sz="1600" b="1" dirty="0"/>
              <a:t>Weakness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0151956-EB24-42A5-B3F8-76FA7670A42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416224" y="4393365"/>
            <a:ext cx="5443987" cy="1555883"/>
          </a:xfrm>
          <a:prstGeom prst="rect">
            <a:avLst/>
          </a:prstGeom>
          <a:noFill/>
        </p:spPr>
        <p:txBody>
          <a:bodyPr vert="horz" lIns="144000" tIns="72000" rIns="36000" bIns="36000" rtlCol="0">
            <a:noAutofit/>
          </a:bodyPr>
          <a:lstStyle>
            <a:lvl1pPr marL="239994" indent="-239994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9988" indent="-239994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76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Supply chain disruptions endangering raw material supply, in particular electronics, and increase COGS</a:t>
            </a:r>
          </a:p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Rise of electric vehicles might put further pressure on availability and cost of electronics material</a:t>
            </a:r>
          </a:p>
          <a:p>
            <a:pPr marL="285750" lvl="1" indent="-285750" defTabSz="6858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MY" sz="1400" dirty="0"/>
              <a:t>Continuous development of charging technology and </a:t>
            </a:r>
            <a:br>
              <a:rPr lang="en-MY" sz="1400" dirty="0"/>
            </a:br>
            <a:r>
              <a:rPr lang="en-MY" sz="1400" dirty="0"/>
              <a:t>standards put pressure on product cadence</a:t>
            </a:r>
          </a:p>
        </p:txBody>
      </p:sp>
      <p:sp>
        <p:nvSpPr>
          <p:cNvPr id="18" name="object 2">
            <a:extLst>
              <a:ext uri="{FF2B5EF4-FFF2-40B4-BE49-F238E27FC236}">
                <a16:creationId xmlns:a16="http://schemas.microsoft.com/office/drawing/2014/main" id="{924D9DC8-B4D4-433B-9299-E80B36443B7A}"/>
              </a:ext>
            </a:extLst>
          </p:cNvPr>
          <p:cNvSpPr/>
          <p:nvPr/>
        </p:nvSpPr>
        <p:spPr>
          <a:xfrm>
            <a:off x="6736361" y="3952327"/>
            <a:ext cx="5123852" cy="359165"/>
          </a:xfrm>
          <a:custGeom>
            <a:avLst/>
            <a:gdLst/>
            <a:ahLst/>
            <a:cxnLst/>
            <a:rect l="l" t="t" r="r" b="b"/>
            <a:pathLst>
              <a:path w="7633093" h="889203">
                <a:moveTo>
                  <a:pt x="0" y="889203"/>
                </a:moveTo>
                <a:lnTo>
                  <a:pt x="7633093" y="889203"/>
                </a:lnTo>
                <a:lnTo>
                  <a:pt x="7633093" y="0"/>
                </a:lnTo>
                <a:lnTo>
                  <a:pt x="0" y="0"/>
                </a:lnTo>
                <a:lnTo>
                  <a:pt x="0" y="889203"/>
                </a:lnTo>
                <a:close/>
              </a:path>
            </a:pathLst>
          </a:custGeom>
          <a:noFill/>
        </p:spPr>
        <p:txBody>
          <a:bodyPr wrap="square" lIns="192000" tIns="96000" rIns="96000" bIns="96000" rtlCol="0" anchor="ctr" anchorCtr="0">
            <a:noAutofit/>
          </a:bodyPr>
          <a:lstStyle/>
          <a:p>
            <a:r>
              <a:rPr lang="en-MY" sz="1600" b="1" dirty="0"/>
              <a:t>Threats</a:t>
            </a:r>
          </a:p>
        </p:txBody>
      </p:sp>
      <p:pic>
        <p:nvPicPr>
          <p:cNvPr id="41" name="Grafik 40" descr="Abwärtstrend-Diagramm mit einfarbiger Füllung">
            <a:extLst>
              <a:ext uri="{FF2B5EF4-FFF2-40B4-BE49-F238E27FC236}">
                <a16:creationId xmlns:a16="http://schemas.microsoft.com/office/drawing/2014/main" id="{4914CC54-C505-4804-BD43-6CDBAD84F8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33331" y="3869053"/>
            <a:ext cx="542996" cy="542996"/>
          </a:xfrm>
          <a:prstGeom prst="rect">
            <a:avLst/>
          </a:prstGeom>
        </p:spPr>
      </p:pic>
      <p:pic>
        <p:nvPicPr>
          <p:cNvPr id="43" name="Grafik 42" descr="Aufwärtstrend mit einfarbiger Füllung">
            <a:extLst>
              <a:ext uri="{FF2B5EF4-FFF2-40B4-BE49-F238E27FC236}">
                <a16:creationId xmlns:a16="http://schemas.microsoft.com/office/drawing/2014/main" id="{990B7913-81F3-4525-A888-2C60E6C4B4F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34069" y="3858182"/>
            <a:ext cx="542996" cy="542996"/>
          </a:xfrm>
          <a:prstGeom prst="rect">
            <a:avLst/>
          </a:prstGeom>
        </p:spPr>
      </p:pic>
      <p:pic>
        <p:nvPicPr>
          <p:cNvPr id="47" name="Grafik 46" descr="Marke folgen mit einfarbiger Füllung">
            <a:extLst>
              <a:ext uri="{FF2B5EF4-FFF2-40B4-BE49-F238E27FC236}">
                <a16:creationId xmlns:a16="http://schemas.microsoft.com/office/drawing/2014/main" id="{F1C56579-4605-4ECB-B9DB-D163A6654D5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4069" y="1699469"/>
            <a:ext cx="542995" cy="542995"/>
          </a:xfrm>
          <a:prstGeom prst="rect">
            <a:avLst/>
          </a:prstGeom>
        </p:spPr>
      </p:pic>
      <p:pic>
        <p:nvPicPr>
          <p:cNvPr id="49" name="Grafik 48" descr="Markee nicht mehr folgen mit einfarbiger Füllung">
            <a:extLst>
              <a:ext uri="{FF2B5EF4-FFF2-40B4-BE49-F238E27FC236}">
                <a16:creationId xmlns:a16="http://schemas.microsoft.com/office/drawing/2014/main" id="{8190DC77-A91E-43F3-BE4E-EC87BE23AA0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14662" y="1691788"/>
            <a:ext cx="542995" cy="542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5671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F7BD645-EBEF-434C-A149-D9384CBB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5461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F7BD645-EBEF-434C-A149-D9384CBB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8C3C17E-F4BC-4BC0-A945-6D0BE5678C8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CEDB21E-BACD-4707-A249-4ED105F7237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8</a:t>
            </a:fld>
            <a:endParaRPr lang="de-CH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FAD62F0-FD4B-4A45-9F98-A05BBA221E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8799" y="1554532"/>
            <a:ext cx="5364576" cy="358775"/>
          </a:xfrm>
        </p:spPr>
        <p:txBody>
          <a:bodyPr/>
          <a:lstStyle/>
          <a:p>
            <a:r>
              <a:rPr lang="de-CH" dirty="0"/>
              <a:t>Segment </a:t>
            </a:r>
            <a:r>
              <a:rPr lang="de-CH" dirty="0" err="1"/>
              <a:t>characteristics</a:t>
            </a:r>
            <a:endParaRPr lang="de-CH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FCF61-FD15-4DDD-8A4A-F60B3EA49CE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target</a:t>
            </a:r>
            <a:r>
              <a:rPr lang="de-CH" dirty="0"/>
              <a:t> </a:t>
            </a:r>
            <a:r>
              <a:rPr lang="de-CH" dirty="0" err="1"/>
              <a:t>segments</a:t>
            </a:r>
            <a:r>
              <a:rPr lang="de-CH" dirty="0"/>
              <a:t>?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33540AA-1669-46A0-8CA0-78D05D9A1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Consumer: large </a:t>
            </a:r>
            <a:r>
              <a:rPr lang="de-CH" dirty="0" err="1"/>
              <a:t>segment</a:t>
            </a:r>
            <a:r>
              <a:rPr lang="de-CH" dirty="0"/>
              <a:t>, but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ready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competitive</a:t>
            </a:r>
            <a:r>
              <a:rPr lang="de-CH" dirty="0"/>
              <a:t> mass </a:t>
            </a:r>
            <a:r>
              <a:rPr lang="de-CH" dirty="0" err="1"/>
              <a:t>market</a:t>
            </a:r>
            <a:r>
              <a:rPr lang="de-CH" dirty="0"/>
              <a:t>?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539618EE-8029-4431-B3B0-DEF304AE85F9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09212" y="2195363"/>
            <a:ext cx="5364163" cy="4128694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None/>
            </a:pPr>
            <a:r>
              <a:rPr lang="de-CH" sz="1600" dirty="0" err="1">
                <a:ea typeface="Roboto Medium" panose="02000000000000000000" pitchFamily="2" charset="0"/>
              </a:rPr>
              <a:t>W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expect</a:t>
            </a:r>
            <a:r>
              <a:rPr lang="de-CH" sz="1600" dirty="0">
                <a:ea typeface="Roboto Medium" panose="02000000000000000000" pitchFamily="2" charset="0"/>
              </a:rPr>
              <a:t> a potential </a:t>
            </a:r>
            <a:r>
              <a:rPr lang="de-CH" sz="1600" dirty="0" err="1">
                <a:ea typeface="Roboto Medium" panose="02000000000000000000" pitchFamily="2" charset="0"/>
              </a:rPr>
              <a:t>of</a:t>
            </a:r>
            <a:r>
              <a:rPr lang="de-CH" sz="1600" dirty="0">
                <a:ea typeface="Roboto Medium" panose="02000000000000000000" pitchFamily="2" charset="0"/>
              </a:rPr>
              <a:t> 60’000 </a:t>
            </a:r>
            <a:r>
              <a:rPr lang="de-CH" sz="1600" dirty="0" err="1">
                <a:ea typeface="Roboto Medium" panose="02000000000000000000" pitchFamily="2" charset="0"/>
              </a:rPr>
              <a:t>wireless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chargers</a:t>
            </a:r>
            <a:r>
              <a:rPr lang="de-CH" sz="1600" dirty="0">
                <a:ea typeface="Roboto Medium" panose="02000000000000000000" pitchFamily="2" charset="0"/>
              </a:rPr>
              <a:t> in Kanton St. Gallen </a:t>
            </a:r>
            <a:r>
              <a:rPr lang="de-CH" sz="1600" dirty="0" err="1">
                <a:ea typeface="Roboto Medium" panose="02000000000000000000" pitchFamily="2" charset="0"/>
              </a:rPr>
              <a:t>next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year</a:t>
            </a:r>
            <a:r>
              <a:rPr lang="de-CH" sz="1600" dirty="0">
                <a:ea typeface="Roboto Medium" panose="02000000000000000000" pitchFamily="2" charset="0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None/>
            </a:pPr>
            <a:r>
              <a:rPr lang="de-CH" sz="1600" dirty="0" err="1">
                <a:ea typeface="Roboto Medium" panose="02000000000000000000" pitchFamily="2" charset="0"/>
              </a:rPr>
              <a:t>Assuming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w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take</a:t>
            </a:r>
            <a:r>
              <a:rPr lang="de-CH" sz="1600" dirty="0">
                <a:ea typeface="Roboto Medium" panose="02000000000000000000" pitchFamily="2" charset="0"/>
              </a:rPr>
              <a:t> 1% and </a:t>
            </a:r>
            <a:r>
              <a:rPr lang="de-CH" sz="1600" dirty="0" err="1">
                <a:ea typeface="Roboto Medium" panose="02000000000000000000" pitchFamily="2" charset="0"/>
              </a:rPr>
              <a:t>demand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stays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constant</a:t>
            </a:r>
            <a:r>
              <a:rPr lang="de-CH" sz="1600" dirty="0">
                <a:ea typeface="Roboto Medium" panose="02000000000000000000" pitchFamily="2" charset="0"/>
              </a:rPr>
              <a:t>, </a:t>
            </a:r>
            <a:br>
              <a:rPr lang="de-CH" sz="1600" dirty="0">
                <a:ea typeface="Roboto Medium" panose="02000000000000000000" pitchFamily="2" charset="0"/>
              </a:rPr>
            </a:b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we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could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sell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600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chargers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per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year</a:t>
            </a:r>
            <a:r>
              <a:rPr lang="de-CH" sz="1600" dirty="0">
                <a:solidFill>
                  <a:schemeClr val="tx2"/>
                </a:solidFill>
                <a:ea typeface="Roboto Medium" panose="02000000000000000000" pitchFamily="2" charset="0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None/>
            </a:pPr>
            <a:endParaRPr lang="de-CH" sz="1600" dirty="0">
              <a:ea typeface="Roboto Medium" panose="02000000000000000000" pitchFamily="2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None/>
            </a:pPr>
            <a:r>
              <a:rPr lang="de-CH" sz="1200" dirty="0" err="1">
                <a:ea typeface="Roboto Medium" panose="02000000000000000000" pitchFamily="2" charset="0"/>
              </a:rPr>
              <a:t>Assumptions</a:t>
            </a:r>
            <a:r>
              <a:rPr lang="de-CH" sz="1200" dirty="0">
                <a:ea typeface="Roboto Medium" panose="02000000000000000000" pitchFamily="2" charset="0"/>
              </a:rPr>
              <a:t>: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CH" sz="1200" dirty="0">
                <a:ea typeface="Roboto Medium" panose="02000000000000000000" pitchFamily="2" charset="0"/>
              </a:rPr>
              <a:t>1.8 Mio. </a:t>
            </a:r>
            <a:r>
              <a:rPr lang="de-CH" sz="1200" dirty="0" err="1">
                <a:ea typeface="Roboto Medium" panose="02000000000000000000" pitchFamily="2" charset="0"/>
              </a:rPr>
              <a:t>smartphones</a:t>
            </a:r>
            <a:r>
              <a:rPr lang="de-CH" sz="1200" dirty="0">
                <a:ea typeface="Roboto Medium" panose="02000000000000000000" pitchFamily="2" charset="0"/>
              </a:rPr>
              <a:t> will </a:t>
            </a:r>
            <a:r>
              <a:rPr lang="de-CH" sz="1200" dirty="0" err="1">
                <a:ea typeface="Roboto Medium" panose="02000000000000000000" pitchFamily="2" charset="0"/>
              </a:rPr>
              <a:t>be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purchased</a:t>
            </a:r>
            <a:r>
              <a:rPr lang="de-CH" sz="1200" dirty="0">
                <a:ea typeface="Roboto Medium" panose="02000000000000000000" pitchFamily="2" charset="0"/>
              </a:rPr>
              <a:t> in </a:t>
            </a:r>
            <a:r>
              <a:rPr lang="de-CH" sz="1200" dirty="0" err="1">
                <a:ea typeface="Roboto Medium" panose="02000000000000000000" pitchFamily="2" charset="0"/>
              </a:rPr>
              <a:t>Switzerland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next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year</a:t>
            </a:r>
            <a:r>
              <a:rPr lang="de-CH" sz="1200" dirty="0">
                <a:ea typeface="Roboto Medium" panose="02000000000000000000" pitchFamily="2" charset="0"/>
              </a:rPr>
              <a:t>, </a:t>
            </a:r>
            <a:r>
              <a:rPr lang="de-CH" sz="1200" dirty="0" err="1">
                <a:ea typeface="Roboto Medium" panose="02000000000000000000" pitchFamily="2" charset="0"/>
              </a:rPr>
              <a:t>proportionally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to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the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population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we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assume</a:t>
            </a:r>
            <a:r>
              <a:rPr lang="de-CH" sz="1200" dirty="0">
                <a:ea typeface="Roboto Medium" panose="02000000000000000000" pitchFamily="2" charset="0"/>
              </a:rPr>
              <a:t> 100k in Kanton St. Gallen </a:t>
            </a:r>
            <a:br>
              <a:rPr lang="de-CH" sz="1200" dirty="0">
                <a:ea typeface="Roboto Medium" panose="02000000000000000000" pitchFamily="2" charset="0"/>
              </a:rPr>
            </a:br>
            <a:r>
              <a:rPr lang="de-CH" sz="1200" dirty="0">
                <a:ea typeface="Roboto Medium" panose="02000000000000000000" pitchFamily="2" charset="0"/>
              </a:rPr>
              <a:t>(</a:t>
            </a:r>
            <a:r>
              <a:rPr lang="de-CH" sz="1200" dirty="0">
                <a:ea typeface="Roboto Medium" panose="02000000000000000000" pitchFamily="2" charset="0"/>
                <a:sym typeface="Wingdings" panose="05000000000000000000" pitchFamily="2" charset="2"/>
              </a:rPr>
              <a:t>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slide</a:t>
            </a:r>
            <a:r>
              <a:rPr lang="de-CH" sz="1200" dirty="0">
                <a:ea typeface="Roboto Medium" panose="02000000000000000000" pitchFamily="2" charset="0"/>
              </a:rPr>
              <a:t> 10)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CH" sz="1200" dirty="0">
                <a:ea typeface="Roboto Medium" panose="02000000000000000000" pitchFamily="2" charset="0"/>
              </a:rPr>
              <a:t>78% </a:t>
            </a:r>
            <a:r>
              <a:rPr lang="de-CH" sz="1200" dirty="0" err="1">
                <a:ea typeface="Roboto Medium" panose="02000000000000000000" pitchFamily="2" charset="0"/>
              </a:rPr>
              <a:t>of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smartphone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buyers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want</a:t>
            </a:r>
            <a:r>
              <a:rPr lang="de-CH" sz="1200" dirty="0">
                <a:ea typeface="Roboto Medium" panose="02000000000000000000" pitchFamily="2" charset="0"/>
              </a:rPr>
              <a:t> a </a:t>
            </a:r>
            <a:r>
              <a:rPr lang="de-CH" sz="1200" dirty="0" err="1">
                <a:ea typeface="Roboto Medium" panose="02000000000000000000" pitchFamily="2" charset="0"/>
              </a:rPr>
              <a:t>wireless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charger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with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their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next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smartphone</a:t>
            </a:r>
            <a:r>
              <a:rPr lang="de-CH" sz="1200" dirty="0">
                <a:ea typeface="Roboto Medium" panose="02000000000000000000" pitchFamily="2" charset="0"/>
              </a:rPr>
              <a:t> (</a:t>
            </a:r>
            <a:r>
              <a:rPr lang="de-CH" sz="1200" dirty="0">
                <a:ea typeface="Roboto Medium" panose="02000000000000000000" pitchFamily="2" charset="0"/>
                <a:sym typeface="Wingdings" panose="05000000000000000000" pitchFamily="2" charset="2"/>
              </a:rPr>
              <a:t>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slide</a:t>
            </a:r>
            <a:r>
              <a:rPr lang="de-CH" sz="1200" dirty="0">
                <a:ea typeface="Roboto Medium" panose="02000000000000000000" pitchFamily="2" charset="0"/>
              </a:rPr>
              <a:t> 14)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CH" sz="1200" dirty="0">
                <a:ea typeface="Roboto Medium" panose="02000000000000000000" pitchFamily="2" charset="0"/>
              </a:rPr>
              <a:t>20% </a:t>
            </a:r>
            <a:r>
              <a:rPr lang="de-CH" sz="1200" dirty="0" err="1">
                <a:ea typeface="Roboto Medium" panose="02000000000000000000" pitchFamily="2" charset="0"/>
              </a:rPr>
              <a:t>of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smartphone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buyers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already</a:t>
            </a:r>
            <a:r>
              <a:rPr lang="de-CH" sz="1200" dirty="0">
                <a:ea typeface="Roboto Medium" panose="02000000000000000000" pitchFamily="2" charset="0"/>
              </a:rPr>
              <a:t> own a </a:t>
            </a:r>
            <a:r>
              <a:rPr lang="de-CH" sz="1200" dirty="0" err="1">
                <a:ea typeface="Roboto Medium" panose="02000000000000000000" pitchFamily="2" charset="0"/>
              </a:rPr>
              <a:t>wireless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charger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br>
              <a:rPr lang="de-CH" sz="1200" dirty="0">
                <a:ea typeface="Roboto Medium" panose="02000000000000000000" pitchFamily="2" charset="0"/>
              </a:rPr>
            </a:br>
            <a:r>
              <a:rPr lang="de-CH" sz="1200" dirty="0">
                <a:ea typeface="Roboto Medium" panose="02000000000000000000" pitchFamily="2" charset="0"/>
              </a:rPr>
              <a:t>(</a:t>
            </a:r>
            <a:r>
              <a:rPr lang="de-CH" sz="1200" dirty="0">
                <a:ea typeface="Roboto Medium" panose="02000000000000000000" pitchFamily="2" charset="0"/>
                <a:sym typeface="Wingdings" panose="05000000000000000000" pitchFamily="2" charset="2"/>
              </a:rPr>
              <a:t> </a:t>
            </a:r>
            <a:r>
              <a:rPr lang="de-CH" sz="1200" dirty="0" err="1">
                <a:ea typeface="Roboto Medium" panose="02000000000000000000" pitchFamily="2" charset="0"/>
              </a:rPr>
              <a:t>slide</a:t>
            </a:r>
            <a:r>
              <a:rPr lang="de-CH" sz="1200" dirty="0">
                <a:ea typeface="Roboto Medium" panose="02000000000000000000" pitchFamily="2" charset="0"/>
              </a:rPr>
              <a:t> 15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None/>
            </a:pPr>
            <a:endParaRPr lang="de-CH" sz="1600" dirty="0">
              <a:ea typeface="Roboto Medium" panose="02000000000000000000" pitchFamily="2" charset="0"/>
            </a:endParaRPr>
          </a:p>
        </p:txBody>
      </p: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F7037EE0-8BFC-4A8B-9D13-CC5EEF5CDF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07822" y="1579228"/>
            <a:ext cx="4753565" cy="358775"/>
          </a:xfrm>
        </p:spPr>
        <p:txBody>
          <a:bodyPr/>
          <a:lstStyle/>
          <a:p>
            <a:r>
              <a:rPr lang="de-CH" dirty="0"/>
              <a:t>Pro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45D21EE0-5605-474A-AAE7-6691FDA03809}"/>
              </a:ext>
            </a:extLst>
          </p:cNvPr>
          <p:cNvSpPr txBox="1">
            <a:spLocks/>
          </p:cNvSpPr>
          <p:nvPr/>
        </p:nvSpPr>
        <p:spPr>
          <a:xfrm>
            <a:off x="7107822" y="4080324"/>
            <a:ext cx="4742955" cy="35877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marL="0" indent="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 err="1"/>
              <a:t>Con</a:t>
            </a:r>
            <a:endParaRPr lang="de-CH" dirty="0"/>
          </a:p>
        </p:txBody>
      </p:sp>
      <p:pic>
        <p:nvPicPr>
          <p:cNvPr id="28" name="Grafik 27" descr="Marke folgen mit einfarbiger Füllung">
            <a:extLst>
              <a:ext uri="{FF2B5EF4-FFF2-40B4-BE49-F238E27FC236}">
                <a16:creationId xmlns:a16="http://schemas.microsoft.com/office/drawing/2014/main" id="{9863797A-15DC-4F70-9809-00461D6428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88913" y="1487117"/>
            <a:ext cx="542995" cy="542995"/>
          </a:xfrm>
          <a:prstGeom prst="rect">
            <a:avLst/>
          </a:prstGeom>
        </p:spPr>
      </p:pic>
      <p:pic>
        <p:nvPicPr>
          <p:cNvPr id="29" name="Grafik 28" descr="Markee nicht mehr folgen mit einfarbiger Füllung">
            <a:extLst>
              <a:ext uri="{FF2B5EF4-FFF2-40B4-BE49-F238E27FC236}">
                <a16:creationId xmlns:a16="http://schemas.microsoft.com/office/drawing/2014/main" id="{D9A460B3-49D6-4E39-B4C7-2EAC27252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96811" y="3988213"/>
            <a:ext cx="542995" cy="542995"/>
          </a:xfrm>
          <a:prstGeom prst="rect">
            <a:avLst/>
          </a:prstGeom>
        </p:spPr>
      </p:pic>
      <p:sp>
        <p:nvSpPr>
          <p:cNvPr id="30" name="Inhaltsplatzhalter 15">
            <a:extLst>
              <a:ext uri="{FF2B5EF4-FFF2-40B4-BE49-F238E27FC236}">
                <a16:creationId xmlns:a16="http://schemas.microsoft.com/office/drawing/2014/main" id="{C870E03D-E377-48DC-A97F-3F30596E18C1}"/>
              </a:ext>
            </a:extLst>
          </p:cNvPr>
          <p:cNvSpPr txBox="1">
            <a:spLocks/>
          </p:cNvSpPr>
          <p:nvPr/>
        </p:nvSpPr>
        <p:spPr>
          <a:xfrm>
            <a:off x="6496811" y="4581621"/>
            <a:ext cx="5364163" cy="174899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High </a:t>
            </a:r>
            <a:r>
              <a:rPr lang="de-CH" sz="1400" dirty="0" err="1">
                <a:ea typeface="Roboto Medium" panose="02000000000000000000" pitchFamily="2" charset="0"/>
              </a:rPr>
              <a:t>competitiv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ressure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High </a:t>
            </a:r>
            <a:r>
              <a:rPr lang="de-CH" sz="1400" dirty="0" err="1">
                <a:ea typeface="Roboto Medium" panose="02000000000000000000" pitchFamily="2" charset="0"/>
              </a:rPr>
              <a:t>custom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expectation</a:t>
            </a:r>
            <a:r>
              <a:rPr lang="de-CH" sz="1400" dirty="0">
                <a:ea typeface="Roboto Medium" panose="02000000000000000000" pitchFamily="2" charset="0"/>
              </a:rPr>
              <a:t> on </a:t>
            </a:r>
            <a:r>
              <a:rPr lang="de-CH" sz="1400" dirty="0" err="1">
                <a:ea typeface="Roboto Medium" panose="02000000000000000000" pitchFamily="2" charset="0"/>
              </a:rPr>
              <a:t>quality</a:t>
            </a:r>
            <a:r>
              <a:rPr lang="de-CH" sz="1400" dirty="0">
                <a:ea typeface="Roboto Medium" panose="02000000000000000000" pitchFamily="2" charset="0"/>
              </a:rPr>
              <a:t> and </a:t>
            </a:r>
            <a:r>
              <a:rPr lang="de-CH" sz="1400" dirty="0" err="1">
                <a:ea typeface="Roboto Medium" panose="02000000000000000000" pitchFamily="2" charset="0"/>
              </a:rPr>
              <a:t>service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Cost</a:t>
            </a:r>
            <a:r>
              <a:rPr lang="de-CH" sz="1400" dirty="0">
                <a:ea typeface="Roboto Medium" panose="02000000000000000000" pitchFamily="2" charset="0"/>
              </a:rPr>
              <a:t>-sensitiv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Requir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elaborat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distribution</a:t>
            </a:r>
            <a:r>
              <a:rPr lang="de-CH" sz="1400" dirty="0">
                <a:ea typeface="Roboto Medium" panose="02000000000000000000" pitchFamily="2" charset="0"/>
              </a:rPr>
              <a:t> network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Requires</a:t>
            </a:r>
            <a:r>
              <a:rPr lang="de-CH" sz="1400" dirty="0">
                <a:ea typeface="Roboto Medium" panose="02000000000000000000" pitchFamily="2" charset="0"/>
              </a:rPr>
              <a:t> intensive </a:t>
            </a:r>
            <a:r>
              <a:rPr lang="de-CH" sz="1400" dirty="0" err="1">
                <a:ea typeface="Roboto Medium" panose="02000000000000000000" pitchFamily="2" charset="0"/>
              </a:rPr>
              <a:t>communication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Requir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reating</a:t>
            </a:r>
            <a:r>
              <a:rPr lang="de-CH" sz="1400" dirty="0">
                <a:ea typeface="Roboto Medium" panose="02000000000000000000" pitchFamily="2" charset="0"/>
              </a:rPr>
              <a:t> after </a:t>
            </a:r>
            <a:r>
              <a:rPr lang="de-CH" sz="1400" dirty="0" err="1">
                <a:ea typeface="Roboto Medium" panose="02000000000000000000" pitchFamily="2" charset="0"/>
              </a:rPr>
              <a:t>sal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service</a:t>
            </a: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31" name="Inhaltsplatzhalter 15">
            <a:extLst>
              <a:ext uri="{FF2B5EF4-FFF2-40B4-BE49-F238E27FC236}">
                <a16:creationId xmlns:a16="http://schemas.microsoft.com/office/drawing/2014/main" id="{1F5833A7-7460-4F87-8295-CD81701A09BC}"/>
              </a:ext>
            </a:extLst>
          </p:cNvPr>
          <p:cNvSpPr txBox="1">
            <a:spLocks/>
          </p:cNvSpPr>
          <p:nvPr/>
        </p:nvSpPr>
        <p:spPr>
          <a:xfrm>
            <a:off x="6498398" y="2083114"/>
            <a:ext cx="5364163" cy="1742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Large </a:t>
            </a:r>
            <a:r>
              <a:rPr lang="de-CH" sz="1400" dirty="0" err="1">
                <a:ea typeface="Roboto Medium" panose="02000000000000000000" pitchFamily="2" charset="0"/>
              </a:rPr>
              <a:t>segment</a:t>
            </a:r>
            <a:r>
              <a:rPr lang="de-CH" sz="1400" dirty="0">
                <a:ea typeface="Roboto Medium" panose="02000000000000000000" pitchFamily="2" charset="0"/>
              </a:rPr>
              <a:t>, potential </a:t>
            </a:r>
            <a:r>
              <a:rPr lang="de-CH" sz="1400" dirty="0" err="1">
                <a:ea typeface="Roboto Medium" panose="02000000000000000000" pitchFamily="2" charset="0"/>
              </a:rPr>
              <a:t>fo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economi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scal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benefits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A </a:t>
            </a:r>
            <a:r>
              <a:rPr lang="de-CH" sz="1400" dirty="0" err="1">
                <a:ea typeface="Roboto Medium" panose="02000000000000000000" pitchFamily="2" charset="0"/>
              </a:rPr>
              <a:t>successful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roduc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ould</a:t>
            </a:r>
            <a:r>
              <a:rPr lang="de-CH" sz="1400" dirty="0">
                <a:ea typeface="Roboto Medium" panose="02000000000000000000" pitchFamily="2" charset="0"/>
              </a:rPr>
              <a:t> boost </a:t>
            </a:r>
            <a:r>
              <a:rPr lang="de-CH" sz="1400" dirty="0" err="1">
                <a:ea typeface="Roboto Medium" panose="02000000000000000000" pitchFamily="2" charset="0"/>
              </a:rPr>
              <a:t>awarenes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for</a:t>
            </a:r>
            <a:r>
              <a:rPr lang="de-CH" sz="1400" dirty="0">
                <a:ea typeface="Roboto Medium" panose="02000000000000000000" pitchFamily="2" charset="0"/>
              </a:rPr>
              <a:t> OST in </a:t>
            </a:r>
            <a:r>
              <a:rPr lang="de-CH" sz="1400" dirty="0" err="1">
                <a:ea typeface="Roboto Medium" panose="02000000000000000000" pitchFamily="2" charset="0"/>
              </a:rPr>
              <a:t>th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general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ublic</a:t>
            </a:r>
            <a:endParaRPr lang="de-CH" sz="1600" dirty="0"/>
          </a:p>
        </p:txBody>
      </p:sp>
    </p:spTree>
    <p:extLst>
      <p:ext uri="{BB962C8B-B14F-4D97-AF65-F5344CB8AC3E}">
        <p14:creationId xmlns:p14="http://schemas.microsoft.com/office/powerpoint/2010/main" val="5596619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F7BD645-EBEF-434C-A149-D9384CBB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1380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F7BD645-EBEF-434C-A149-D9384CBB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8C3C17E-F4BC-4BC0-A945-6D0BE5678C8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CEDB21E-BACD-4707-A249-4ED105F7237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29</a:t>
            </a:fld>
            <a:endParaRPr lang="de-CH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FAD62F0-FD4B-4A45-9F98-A05BBA221E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8799" y="1554532"/>
            <a:ext cx="5364576" cy="358775"/>
          </a:xfrm>
        </p:spPr>
        <p:txBody>
          <a:bodyPr/>
          <a:lstStyle/>
          <a:p>
            <a:r>
              <a:rPr lang="de-CH" dirty="0"/>
              <a:t>Segment </a:t>
            </a:r>
            <a:r>
              <a:rPr lang="de-CH" dirty="0" err="1"/>
              <a:t>characteristics</a:t>
            </a:r>
            <a:endParaRPr lang="de-CH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FCF61-FD15-4DDD-8A4A-F60B3EA49CE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target</a:t>
            </a:r>
            <a:r>
              <a:rPr lang="de-CH" dirty="0"/>
              <a:t> </a:t>
            </a:r>
            <a:r>
              <a:rPr lang="de-CH" dirty="0" err="1"/>
              <a:t>segments</a:t>
            </a:r>
            <a:r>
              <a:rPr lang="de-CH" dirty="0"/>
              <a:t>?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33540AA-1669-46A0-8CA0-78D05D9A1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Consumer premium: </a:t>
            </a:r>
            <a:r>
              <a:rPr lang="de-CH" dirty="0" err="1"/>
              <a:t>Allow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focus</a:t>
            </a:r>
            <a:r>
              <a:rPr lang="de-CH" dirty="0"/>
              <a:t> &amp; </a:t>
            </a:r>
            <a:r>
              <a:rPr lang="de-CH" dirty="0" err="1"/>
              <a:t>play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trengths</a:t>
            </a:r>
            <a:r>
              <a:rPr lang="de-CH" dirty="0"/>
              <a:t>, but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live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xpectations</a:t>
            </a:r>
            <a:r>
              <a:rPr lang="de-CH" dirty="0"/>
              <a:t> on </a:t>
            </a:r>
            <a:r>
              <a:rPr lang="de-CH" dirty="0" err="1"/>
              <a:t>quality</a:t>
            </a:r>
            <a:r>
              <a:rPr lang="de-CH" dirty="0"/>
              <a:t> and </a:t>
            </a:r>
            <a:r>
              <a:rPr lang="de-CH" dirty="0" err="1"/>
              <a:t>service</a:t>
            </a:r>
            <a:r>
              <a:rPr lang="de-CH" dirty="0"/>
              <a:t>? 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539618EE-8029-4431-B3B0-DEF304AE85F9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09212" y="2195363"/>
            <a:ext cx="5364163" cy="4128694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None/>
            </a:pPr>
            <a:r>
              <a:rPr lang="de-CH" sz="1600" dirty="0" err="1">
                <a:ea typeface="Roboto Medium" panose="02000000000000000000" pitchFamily="2" charset="0"/>
              </a:rPr>
              <a:t>W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expect</a:t>
            </a:r>
            <a:r>
              <a:rPr lang="de-CH" sz="1600" dirty="0">
                <a:ea typeface="Roboto Medium" panose="02000000000000000000" pitchFamily="2" charset="0"/>
              </a:rPr>
              <a:t> a potential </a:t>
            </a:r>
            <a:r>
              <a:rPr lang="de-CH" sz="1600" dirty="0" err="1">
                <a:ea typeface="Roboto Medium" panose="02000000000000000000" pitchFamily="2" charset="0"/>
              </a:rPr>
              <a:t>of</a:t>
            </a:r>
            <a:r>
              <a:rPr lang="de-CH" sz="1600" dirty="0">
                <a:ea typeface="Roboto Medium" panose="02000000000000000000" pitchFamily="2" charset="0"/>
              </a:rPr>
              <a:t> &gt;8’000 </a:t>
            </a:r>
            <a:r>
              <a:rPr lang="de-CH" sz="1600" dirty="0" err="1">
                <a:ea typeface="Roboto Medium" panose="02000000000000000000" pitchFamily="2" charset="0"/>
              </a:rPr>
              <a:t>wireless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chargers</a:t>
            </a:r>
            <a:r>
              <a:rPr lang="de-CH" sz="1600" dirty="0">
                <a:ea typeface="Roboto Medium" panose="02000000000000000000" pitchFamily="2" charset="0"/>
              </a:rPr>
              <a:t> in </a:t>
            </a:r>
            <a:r>
              <a:rPr lang="de-CH" sz="1600" dirty="0" err="1">
                <a:ea typeface="Roboto Medium" panose="02000000000000000000" pitchFamily="2" charset="0"/>
              </a:rPr>
              <a:t>the</a:t>
            </a:r>
            <a:r>
              <a:rPr lang="de-CH" sz="1600" dirty="0">
                <a:ea typeface="Roboto Medium" panose="02000000000000000000" pitchFamily="2" charset="0"/>
              </a:rPr>
              <a:t> premium </a:t>
            </a:r>
            <a:r>
              <a:rPr lang="de-CH" sz="1600" dirty="0" err="1">
                <a:ea typeface="Roboto Medium" panose="02000000000000000000" pitchFamily="2" charset="0"/>
              </a:rPr>
              <a:t>category</a:t>
            </a:r>
            <a:r>
              <a:rPr lang="de-CH" sz="1600" dirty="0">
                <a:ea typeface="Roboto Medium" panose="02000000000000000000" pitchFamily="2" charset="0"/>
              </a:rPr>
              <a:t> in Kanton St. Gallen </a:t>
            </a:r>
            <a:r>
              <a:rPr lang="de-CH" sz="1600" dirty="0" err="1">
                <a:ea typeface="Roboto Medium" panose="02000000000000000000" pitchFamily="2" charset="0"/>
              </a:rPr>
              <a:t>next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year</a:t>
            </a:r>
            <a:r>
              <a:rPr lang="de-CH" sz="1600" dirty="0">
                <a:ea typeface="Roboto Medium" panose="02000000000000000000" pitchFamily="2" charset="0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None/>
            </a:pPr>
            <a:r>
              <a:rPr lang="de-CH" sz="1600" dirty="0" err="1">
                <a:ea typeface="Roboto Medium" panose="02000000000000000000" pitchFamily="2" charset="0"/>
              </a:rPr>
              <a:t>Assuming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w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take</a:t>
            </a:r>
            <a:r>
              <a:rPr lang="de-CH" sz="1600" dirty="0">
                <a:ea typeface="Roboto Medium" panose="02000000000000000000" pitchFamily="2" charset="0"/>
              </a:rPr>
              <a:t> 1% and </a:t>
            </a:r>
            <a:r>
              <a:rPr lang="de-CH" sz="1600" dirty="0" err="1">
                <a:ea typeface="Roboto Medium" panose="02000000000000000000" pitchFamily="2" charset="0"/>
              </a:rPr>
              <a:t>demand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stays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constant</a:t>
            </a:r>
            <a:r>
              <a:rPr lang="de-CH" sz="1600" dirty="0">
                <a:ea typeface="Roboto Medium" panose="02000000000000000000" pitchFamily="2" charset="0"/>
              </a:rPr>
              <a:t>, </a:t>
            </a:r>
            <a:br>
              <a:rPr lang="de-CH" sz="1600" dirty="0">
                <a:ea typeface="Roboto Medium" panose="02000000000000000000" pitchFamily="2" charset="0"/>
              </a:rPr>
            </a:b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we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could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sell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80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chargers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per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year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(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with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premium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margins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)</a:t>
            </a:r>
            <a:r>
              <a:rPr lang="de-CH" sz="1600" dirty="0">
                <a:solidFill>
                  <a:schemeClr val="tx2"/>
                </a:solidFill>
                <a:ea typeface="Roboto Medium" panose="02000000000000000000" pitchFamily="2" charset="0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None/>
            </a:pPr>
            <a:endParaRPr lang="de-CH" sz="1600" dirty="0">
              <a:ea typeface="Roboto Medium" panose="02000000000000000000" pitchFamily="2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None/>
            </a:pPr>
            <a:r>
              <a:rPr lang="de-CH" sz="1200" dirty="0" err="1">
                <a:ea typeface="Roboto Medium" panose="02000000000000000000" pitchFamily="2" charset="0"/>
              </a:rPr>
              <a:t>Assumptions</a:t>
            </a:r>
            <a:r>
              <a:rPr lang="de-CH" sz="1200" dirty="0">
                <a:ea typeface="Roboto Medium" panose="02000000000000000000" pitchFamily="2" charset="0"/>
              </a:rPr>
              <a:t>: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CH" sz="1200" dirty="0">
                <a:ea typeface="Roboto Medium" panose="02000000000000000000" pitchFamily="2" charset="0"/>
              </a:rPr>
              <a:t>Premium </a:t>
            </a:r>
            <a:r>
              <a:rPr lang="de-CH" sz="1200" dirty="0" err="1">
                <a:ea typeface="Roboto Medium" panose="02000000000000000000" pitchFamily="2" charset="0"/>
              </a:rPr>
              <a:t>category</a:t>
            </a:r>
            <a:r>
              <a:rPr lang="de-CH" sz="1200" dirty="0">
                <a:ea typeface="Roboto Medium" panose="02000000000000000000" pitchFamily="2" charset="0"/>
              </a:rPr>
              <a:t> = &gt;80CHF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CH" sz="1200" dirty="0">
                <a:ea typeface="Roboto Medium" panose="02000000000000000000" pitchFamily="2" charset="0"/>
              </a:rPr>
              <a:t>13% </a:t>
            </a:r>
            <a:r>
              <a:rPr lang="de-CH" sz="1200" dirty="0" err="1">
                <a:ea typeface="Roboto Medium" panose="02000000000000000000" pitchFamily="2" charset="0"/>
              </a:rPr>
              <a:t>of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products</a:t>
            </a:r>
            <a:r>
              <a:rPr lang="de-CH" sz="1200" dirty="0">
                <a:ea typeface="Roboto Medium" panose="02000000000000000000" pitchFamily="2" charset="0"/>
              </a:rPr>
              <a:t> &gt;80 CHF (digitec.ch)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CH" sz="1200" dirty="0">
                <a:ea typeface="Roboto Medium" panose="02000000000000000000" pitchFamily="2" charset="0"/>
              </a:rPr>
              <a:t>Share </a:t>
            </a:r>
            <a:r>
              <a:rPr lang="de-CH" sz="1200" dirty="0" err="1">
                <a:ea typeface="Roboto Medium" panose="02000000000000000000" pitchFamily="2" charset="0"/>
              </a:rPr>
              <a:t>of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sales</a:t>
            </a:r>
            <a:r>
              <a:rPr lang="de-CH" sz="1200" dirty="0">
                <a:ea typeface="Roboto Medium" panose="02000000000000000000" pitchFamily="2" charset="0"/>
              </a:rPr>
              <a:t> proportional </a:t>
            </a:r>
            <a:r>
              <a:rPr lang="de-CH" sz="1200" dirty="0" err="1">
                <a:ea typeface="Roboto Medium" panose="02000000000000000000" pitchFamily="2" charset="0"/>
              </a:rPr>
              <a:t>to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available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products</a:t>
            </a:r>
            <a:endParaRPr lang="de-CH" sz="1200" dirty="0">
              <a:ea typeface="Roboto Medium" panose="02000000000000000000" pitchFamily="2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None/>
            </a:pPr>
            <a:endParaRPr lang="de-CH" sz="1600" dirty="0">
              <a:ea typeface="Roboto Medium" panose="02000000000000000000" pitchFamily="2" charset="0"/>
            </a:endParaRPr>
          </a:p>
        </p:txBody>
      </p: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F7037EE0-8BFC-4A8B-9D13-CC5EEF5CDF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07822" y="1579228"/>
            <a:ext cx="4753565" cy="358775"/>
          </a:xfrm>
        </p:spPr>
        <p:txBody>
          <a:bodyPr/>
          <a:lstStyle/>
          <a:p>
            <a:r>
              <a:rPr lang="de-CH" dirty="0"/>
              <a:t>Pro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45D21EE0-5605-474A-AAE7-6691FDA03809}"/>
              </a:ext>
            </a:extLst>
          </p:cNvPr>
          <p:cNvSpPr txBox="1">
            <a:spLocks/>
          </p:cNvSpPr>
          <p:nvPr/>
        </p:nvSpPr>
        <p:spPr>
          <a:xfrm>
            <a:off x="7107822" y="4080324"/>
            <a:ext cx="4742955" cy="35877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marL="0" indent="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 err="1"/>
              <a:t>Con</a:t>
            </a:r>
            <a:endParaRPr lang="de-CH" dirty="0"/>
          </a:p>
        </p:txBody>
      </p:sp>
      <p:pic>
        <p:nvPicPr>
          <p:cNvPr id="28" name="Grafik 27" descr="Marke folgen mit einfarbiger Füllung">
            <a:extLst>
              <a:ext uri="{FF2B5EF4-FFF2-40B4-BE49-F238E27FC236}">
                <a16:creationId xmlns:a16="http://schemas.microsoft.com/office/drawing/2014/main" id="{9863797A-15DC-4F70-9809-00461D6428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88913" y="1487117"/>
            <a:ext cx="542995" cy="542995"/>
          </a:xfrm>
          <a:prstGeom prst="rect">
            <a:avLst/>
          </a:prstGeom>
        </p:spPr>
      </p:pic>
      <p:pic>
        <p:nvPicPr>
          <p:cNvPr id="29" name="Grafik 28" descr="Markee nicht mehr folgen mit einfarbiger Füllung">
            <a:extLst>
              <a:ext uri="{FF2B5EF4-FFF2-40B4-BE49-F238E27FC236}">
                <a16:creationId xmlns:a16="http://schemas.microsoft.com/office/drawing/2014/main" id="{D9A460B3-49D6-4E39-B4C7-2EAC27252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96811" y="3988213"/>
            <a:ext cx="542995" cy="542995"/>
          </a:xfrm>
          <a:prstGeom prst="rect">
            <a:avLst/>
          </a:prstGeom>
        </p:spPr>
      </p:pic>
      <p:sp>
        <p:nvSpPr>
          <p:cNvPr id="30" name="Inhaltsplatzhalter 15">
            <a:extLst>
              <a:ext uri="{FF2B5EF4-FFF2-40B4-BE49-F238E27FC236}">
                <a16:creationId xmlns:a16="http://schemas.microsoft.com/office/drawing/2014/main" id="{C870E03D-E377-48DC-A97F-3F30596E18C1}"/>
              </a:ext>
            </a:extLst>
          </p:cNvPr>
          <p:cNvSpPr txBox="1">
            <a:spLocks/>
          </p:cNvSpPr>
          <p:nvPr/>
        </p:nvSpPr>
        <p:spPr>
          <a:xfrm>
            <a:off x="6496811" y="4581621"/>
            <a:ext cx="5364163" cy="1748994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High </a:t>
            </a:r>
            <a:r>
              <a:rPr lang="de-CH" sz="1400" dirty="0" err="1">
                <a:ea typeface="Roboto Medium" panose="02000000000000000000" pitchFamily="2" charset="0"/>
              </a:rPr>
              <a:t>competitiv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ressure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Very high </a:t>
            </a:r>
            <a:r>
              <a:rPr lang="de-CH" sz="1400" dirty="0" err="1">
                <a:ea typeface="Roboto Medium" panose="02000000000000000000" pitchFamily="2" charset="0"/>
              </a:rPr>
              <a:t>custom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expectation</a:t>
            </a:r>
            <a:r>
              <a:rPr lang="de-CH" sz="1400" dirty="0">
                <a:ea typeface="Roboto Medium" panose="02000000000000000000" pitchFamily="2" charset="0"/>
              </a:rPr>
              <a:t> on </a:t>
            </a:r>
            <a:r>
              <a:rPr lang="de-CH" sz="1400" dirty="0" err="1">
                <a:ea typeface="Roboto Medium" panose="02000000000000000000" pitchFamily="2" charset="0"/>
              </a:rPr>
              <a:t>quality</a:t>
            </a:r>
            <a:r>
              <a:rPr lang="de-CH" sz="1400" dirty="0">
                <a:ea typeface="Roboto Medium" panose="02000000000000000000" pitchFamily="2" charset="0"/>
              </a:rPr>
              <a:t> and </a:t>
            </a:r>
            <a:r>
              <a:rPr lang="de-CH" sz="1400" dirty="0" err="1">
                <a:ea typeface="Roboto Medium" panose="02000000000000000000" pitchFamily="2" charset="0"/>
              </a:rPr>
              <a:t>service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Requir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reating</a:t>
            </a:r>
            <a:r>
              <a:rPr lang="de-CH" sz="1400" dirty="0">
                <a:ea typeface="Roboto Medium" panose="02000000000000000000" pitchFamily="2" charset="0"/>
              </a:rPr>
              <a:t> after </a:t>
            </a:r>
            <a:r>
              <a:rPr lang="de-CH" sz="1400" dirty="0" err="1">
                <a:ea typeface="Roboto Medium" panose="02000000000000000000" pitchFamily="2" charset="0"/>
              </a:rPr>
              <a:t>sal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service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Special </a:t>
            </a:r>
            <a:r>
              <a:rPr lang="de-CH" sz="1400" dirty="0" err="1">
                <a:ea typeface="Roboto Medium" panose="02000000000000000000" pitchFamily="2" charset="0"/>
              </a:rPr>
              <a:t>requirements</a:t>
            </a:r>
            <a:r>
              <a:rPr lang="de-CH" sz="1400" dirty="0">
                <a:ea typeface="Roboto Medium" panose="02000000000000000000" pitchFamily="2" charset="0"/>
              </a:rPr>
              <a:t> – </a:t>
            </a:r>
            <a:r>
              <a:rPr lang="de-CH" sz="1400" dirty="0" err="1">
                <a:ea typeface="Roboto Medium" panose="02000000000000000000" pitchFamily="2" charset="0"/>
              </a:rPr>
              <a:t>you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an’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arge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th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segment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ith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he</a:t>
            </a:r>
            <a:r>
              <a:rPr lang="de-CH" sz="1400" dirty="0">
                <a:ea typeface="Roboto Medium" panose="02000000000000000000" pitchFamily="2" charset="0"/>
              </a:rPr>
              <a:t> same </a:t>
            </a:r>
            <a:r>
              <a:rPr lang="de-CH" sz="1400" dirty="0" err="1">
                <a:ea typeface="Roboto Medium" panose="02000000000000000000" pitchFamily="2" charset="0"/>
              </a:rPr>
              <a:t>product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In-house </a:t>
            </a:r>
            <a:r>
              <a:rPr lang="de-CH" sz="1400" dirty="0" err="1">
                <a:ea typeface="Roboto Medium" panose="02000000000000000000" pitchFamily="2" charset="0"/>
              </a:rPr>
              <a:t>electronic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developmen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fo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echnological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differentiation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migh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requir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ertification</a:t>
            </a:r>
            <a:r>
              <a:rPr lang="de-CH" sz="1400" dirty="0">
                <a:ea typeface="Roboto Medium" panose="02000000000000000000" pitchFamily="2" charset="0"/>
              </a:rPr>
              <a:t> (Qi), </a:t>
            </a:r>
            <a:r>
              <a:rPr lang="de-CH" sz="1400" dirty="0" err="1">
                <a:ea typeface="Roboto Medium" panose="02000000000000000000" pitchFamily="2" charset="0"/>
              </a:rPr>
              <a:t>wher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ar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lack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know-how</a:t>
            </a: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31" name="Inhaltsplatzhalter 15">
            <a:extLst>
              <a:ext uri="{FF2B5EF4-FFF2-40B4-BE49-F238E27FC236}">
                <a16:creationId xmlns:a16="http://schemas.microsoft.com/office/drawing/2014/main" id="{1F5833A7-7460-4F87-8295-CD81701A09BC}"/>
              </a:ext>
            </a:extLst>
          </p:cNvPr>
          <p:cNvSpPr txBox="1">
            <a:spLocks/>
          </p:cNvSpPr>
          <p:nvPr/>
        </p:nvSpPr>
        <p:spPr>
          <a:xfrm>
            <a:off x="6498398" y="2083114"/>
            <a:ext cx="5364163" cy="1742856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A </a:t>
            </a:r>
            <a:r>
              <a:rPr lang="de-CH" sz="1400" dirty="0" err="1">
                <a:ea typeface="Roboto Medium" panose="02000000000000000000" pitchFamily="2" charset="0"/>
              </a:rPr>
              <a:t>successful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roduc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ould</a:t>
            </a:r>
            <a:r>
              <a:rPr lang="de-CH" sz="1400" dirty="0">
                <a:ea typeface="Roboto Medium" panose="02000000000000000000" pitchFamily="2" charset="0"/>
              </a:rPr>
              <a:t> boost </a:t>
            </a:r>
            <a:r>
              <a:rPr lang="de-CH" sz="1400" dirty="0" err="1">
                <a:ea typeface="Roboto Medium" panose="02000000000000000000" pitchFamily="2" charset="0"/>
              </a:rPr>
              <a:t>awarenes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for</a:t>
            </a:r>
            <a:r>
              <a:rPr lang="de-CH" sz="1400" dirty="0">
                <a:ea typeface="Roboto Medium" panose="02000000000000000000" pitchFamily="2" charset="0"/>
              </a:rPr>
              <a:t> OST in </a:t>
            </a:r>
            <a:r>
              <a:rPr lang="de-CH" sz="1400" dirty="0" err="1">
                <a:ea typeface="Roboto Medium" panose="02000000000000000000" pitchFamily="2" charset="0"/>
              </a:rPr>
              <a:t>th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general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ublic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Allow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lay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u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strengths</a:t>
            </a:r>
            <a:r>
              <a:rPr lang="de-CH" sz="1400" dirty="0">
                <a:ea typeface="Roboto Medium" panose="02000000000000000000" pitchFamily="2" charset="0"/>
              </a:rPr>
              <a:t> in </a:t>
            </a:r>
            <a:r>
              <a:rPr lang="de-CH" sz="1400" dirty="0" err="1">
                <a:ea typeface="Roboto Medium" panose="02000000000000000000" pitchFamily="2" charset="0"/>
              </a:rPr>
              <a:t>technology</a:t>
            </a:r>
            <a:r>
              <a:rPr lang="de-CH" sz="1400" dirty="0">
                <a:ea typeface="Roboto Medium" panose="02000000000000000000" pitchFamily="2" charset="0"/>
              </a:rPr>
              <a:t>, e.g. </a:t>
            </a:r>
            <a:r>
              <a:rPr lang="de-CH" sz="1400" dirty="0" err="1">
                <a:ea typeface="Roboto Medium" panose="02000000000000000000" pitchFamily="2" charset="0"/>
              </a:rPr>
              <a:t>personalization</a:t>
            </a:r>
            <a:r>
              <a:rPr lang="de-CH" sz="1400" dirty="0">
                <a:ea typeface="Roboto Medium" panose="02000000000000000000" pitchFamily="2" charset="0"/>
              </a:rPr>
              <a:t>, </a:t>
            </a:r>
            <a:r>
              <a:rPr lang="de-CH" sz="1400" dirty="0" err="1">
                <a:ea typeface="Roboto Medium" panose="02000000000000000000" pitchFamily="2" charset="0"/>
              </a:rPr>
              <a:t>to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differentiate</a:t>
            </a:r>
            <a:r>
              <a:rPr lang="de-CH" sz="1400" dirty="0">
                <a:ea typeface="Roboto Medium" panose="02000000000000000000" pitchFamily="2" charset="0"/>
              </a:rPr>
              <a:t> and </a:t>
            </a:r>
            <a:r>
              <a:rPr lang="de-CH" sz="1400" dirty="0" err="1">
                <a:ea typeface="Roboto Medium" panose="02000000000000000000" pitchFamily="2" charset="0"/>
              </a:rPr>
              <a:t>justify</a:t>
            </a:r>
            <a:r>
              <a:rPr lang="de-CH" sz="1400" dirty="0">
                <a:ea typeface="Roboto Medium" panose="02000000000000000000" pitchFamily="2" charset="0"/>
              </a:rPr>
              <a:t> a </a:t>
            </a:r>
            <a:r>
              <a:rPr lang="de-CH" sz="1400" dirty="0" err="1">
                <a:ea typeface="Roboto Medium" panose="02000000000000000000" pitchFamily="2" charset="0"/>
              </a:rPr>
              <a:t>price</a:t>
            </a:r>
            <a:r>
              <a:rPr lang="de-CH" sz="1400" dirty="0">
                <a:ea typeface="Roboto Medium" panose="02000000000000000000" pitchFamily="2" charset="0"/>
              </a:rPr>
              <a:t> premium (</a:t>
            </a:r>
            <a:r>
              <a:rPr lang="de-CH" sz="1400" dirty="0">
                <a:ea typeface="Roboto Medium" panose="02000000000000000000" pitchFamily="2" charset="0"/>
                <a:sym typeface="Wingdings" panose="05000000000000000000" pitchFamily="2" charset="2"/>
              </a:rPr>
              <a:t>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slide</a:t>
            </a:r>
            <a:r>
              <a:rPr lang="de-CH" sz="1400" dirty="0">
                <a:ea typeface="Roboto Medium" panose="02000000000000000000" pitchFamily="2" charset="0"/>
              </a:rPr>
              <a:t> 20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Les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ost</a:t>
            </a:r>
            <a:r>
              <a:rPr lang="de-CH" sz="1400" dirty="0">
                <a:ea typeface="Roboto Medium" panose="02000000000000000000" pitchFamily="2" charset="0"/>
              </a:rPr>
              <a:t>-sensitiv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Higher </a:t>
            </a:r>
            <a:r>
              <a:rPr lang="de-CH" sz="1400" dirty="0" err="1">
                <a:ea typeface="Roboto Medium" panose="02000000000000000000" pitchFamily="2" charset="0"/>
              </a:rPr>
              <a:t>margin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an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ompensat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low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quantities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Allow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focuse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ommunication</a:t>
            </a:r>
            <a:r>
              <a:rPr lang="de-CH" sz="1400" dirty="0">
                <a:ea typeface="Roboto Medium" panose="02000000000000000000" pitchFamily="2" charset="0"/>
              </a:rPr>
              <a:t> and </a:t>
            </a:r>
            <a:r>
              <a:rPr lang="de-CH" sz="1400" dirty="0" err="1">
                <a:ea typeface="Roboto Medium" panose="02000000000000000000" pitchFamily="2" charset="0"/>
              </a:rPr>
              <a:t>distribution</a:t>
            </a:r>
            <a:endParaRPr lang="de-CH" sz="14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00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58341CE-7C75-4573-BE16-669B403E4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6347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58341CE-7C75-4573-BE16-669B403E4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AC2BEAC0-53D3-482D-8FC6-A295480EB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Introduc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ST-Gadge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3832B1-FC16-4FF1-9311-6DC486645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9B7F8D-886E-4469-90E8-604B40C98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F71B20-B1E9-4121-B2D6-C1EAF17C52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 err="1"/>
              <a:t>Showcasing</a:t>
            </a:r>
            <a:r>
              <a:rPr lang="de-CH" dirty="0"/>
              <a:t> </a:t>
            </a:r>
            <a:r>
              <a:rPr lang="de-CH" dirty="0" err="1"/>
              <a:t>applied</a:t>
            </a:r>
            <a:r>
              <a:rPr lang="de-CH" dirty="0"/>
              <a:t> </a:t>
            </a:r>
            <a:r>
              <a:rPr lang="de-CH" dirty="0" err="1"/>
              <a:t>digitalization</a:t>
            </a:r>
            <a:endParaRPr lang="de-CH" dirty="0"/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B5AF3F34-6DCF-4325-B9B3-86C9FEBA21C0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5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46" b="41772"/>
          <a:stretch/>
        </p:blipFill>
        <p:spPr>
          <a:xfrm>
            <a:off x="0" y="3851275"/>
            <a:ext cx="12198350" cy="234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24945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F7BD645-EBEF-434C-A149-D9384CBB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7942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F7BD645-EBEF-434C-A149-D9384CBB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8C3C17E-F4BC-4BC0-A945-6D0BE5678C8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CEDB21E-BACD-4707-A249-4ED105F7237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0</a:t>
            </a:fld>
            <a:endParaRPr lang="de-CH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FAD62F0-FD4B-4A45-9F98-A05BBA221E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8038" y="1549308"/>
            <a:ext cx="5364576" cy="358775"/>
          </a:xfrm>
        </p:spPr>
        <p:txBody>
          <a:bodyPr/>
          <a:lstStyle/>
          <a:p>
            <a:r>
              <a:rPr lang="de-CH" dirty="0"/>
              <a:t>Segment </a:t>
            </a:r>
            <a:r>
              <a:rPr lang="de-CH" dirty="0" err="1"/>
              <a:t>characteristics</a:t>
            </a:r>
            <a:endParaRPr lang="de-CH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FCF61-FD15-4DDD-8A4A-F60B3EA49CE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target</a:t>
            </a:r>
            <a:r>
              <a:rPr lang="de-CH" dirty="0"/>
              <a:t> </a:t>
            </a:r>
            <a:r>
              <a:rPr lang="de-CH" dirty="0" err="1"/>
              <a:t>segments</a:t>
            </a:r>
            <a:r>
              <a:rPr lang="de-CH" dirty="0"/>
              <a:t>?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33540AA-1669-46A0-8CA0-78D05D9A1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 err="1"/>
              <a:t>Char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o</a:t>
            </a:r>
            <a:r>
              <a:rPr lang="de-CH" dirty="0"/>
              <a:t> in </a:t>
            </a:r>
            <a:r>
              <a:rPr lang="de-CH" dirty="0" err="1"/>
              <a:t>lodging</a:t>
            </a:r>
            <a:r>
              <a:rPr lang="de-CH" dirty="0"/>
              <a:t> and </a:t>
            </a:r>
            <a:r>
              <a:rPr lang="de-CH" dirty="0" err="1"/>
              <a:t>gastronomy</a:t>
            </a:r>
            <a:r>
              <a:rPr lang="de-CH" dirty="0"/>
              <a:t>: </a:t>
            </a:r>
            <a:br>
              <a:rPr lang="de-CH" dirty="0"/>
            </a:br>
            <a:r>
              <a:rPr lang="de-CH" dirty="0" err="1"/>
              <a:t>small</a:t>
            </a:r>
            <a:r>
              <a:rPr lang="de-CH" dirty="0"/>
              <a:t> and </a:t>
            </a:r>
            <a:r>
              <a:rPr lang="de-CH" dirty="0" err="1"/>
              <a:t>difficult</a:t>
            </a:r>
            <a:r>
              <a:rPr lang="de-CH" dirty="0"/>
              <a:t> </a:t>
            </a:r>
            <a:r>
              <a:rPr lang="de-CH" dirty="0" err="1"/>
              <a:t>segment</a:t>
            </a:r>
            <a:endParaRPr lang="de-CH" dirty="0"/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539618EE-8029-4431-B3B0-DEF304AE85F9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08451" y="2190139"/>
            <a:ext cx="5364163" cy="4128694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dirty="0">
                <a:ea typeface="Roboto Medium" panose="02000000000000000000" pitchFamily="2" charset="0"/>
              </a:rPr>
              <a:t>We expect a potential of up to 10’000 wireless chargers in Kanton St. Gallen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CH" sz="1600" dirty="0" err="1"/>
              <a:t>Assuming</a:t>
            </a:r>
            <a:r>
              <a:rPr lang="de-CH" sz="1600" dirty="0"/>
              <a:t> </a:t>
            </a:r>
            <a:r>
              <a:rPr lang="de-CH" sz="1600" dirty="0" err="1"/>
              <a:t>we</a:t>
            </a:r>
            <a:r>
              <a:rPr lang="de-CH" sz="1600" dirty="0"/>
              <a:t> </a:t>
            </a:r>
            <a:r>
              <a:rPr lang="de-CH" sz="1600" dirty="0" err="1"/>
              <a:t>take</a:t>
            </a:r>
            <a:r>
              <a:rPr lang="de-CH" sz="1600" dirty="0"/>
              <a:t> 1% and a 5 </a:t>
            </a:r>
            <a:r>
              <a:rPr lang="de-CH" sz="1600" dirty="0" err="1"/>
              <a:t>years</a:t>
            </a:r>
            <a:r>
              <a:rPr lang="de-CH" sz="1600" dirty="0"/>
              <a:t> </a:t>
            </a:r>
            <a:r>
              <a:rPr lang="de-CH" sz="1600" dirty="0" err="1"/>
              <a:t>cadence</a:t>
            </a:r>
            <a:r>
              <a:rPr lang="de-CH" sz="1600" dirty="0"/>
              <a:t>, </a:t>
            </a:r>
            <a:r>
              <a:rPr lang="de-CH" sz="1600" b="1" dirty="0" err="1">
                <a:solidFill>
                  <a:schemeClr val="tx2"/>
                </a:solidFill>
              </a:rPr>
              <a:t>we</a:t>
            </a:r>
            <a:r>
              <a:rPr lang="de-CH" sz="1600" b="1" dirty="0">
                <a:solidFill>
                  <a:schemeClr val="tx2"/>
                </a:solidFill>
              </a:rPr>
              <a:t> </a:t>
            </a:r>
            <a:r>
              <a:rPr lang="de-CH" sz="1600" b="1" dirty="0" err="1">
                <a:solidFill>
                  <a:schemeClr val="tx2"/>
                </a:solidFill>
              </a:rPr>
              <a:t>could</a:t>
            </a:r>
            <a:r>
              <a:rPr lang="de-CH" sz="1600" b="1" dirty="0">
                <a:solidFill>
                  <a:schemeClr val="tx2"/>
                </a:solidFill>
              </a:rPr>
              <a:t> </a:t>
            </a:r>
            <a:r>
              <a:rPr lang="de-CH" sz="1600" b="1" dirty="0" err="1">
                <a:solidFill>
                  <a:schemeClr val="tx2"/>
                </a:solidFill>
              </a:rPr>
              <a:t>sell</a:t>
            </a:r>
            <a:r>
              <a:rPr lang="de-CH" sz="1600" b="1" dirty="0">
                <a:solidFill>
                  <a:schemeClr val="tx2"/>
                </a:solidFill>
              </a:rPr>
              <a:t> 20 </a:t>
            </a:r>
            <a:r>
              <a:rPr lang="de-CH" sz="1600" b="1" dirty="0" err="1">
                <a:solidFill>
                  <a:schemeClr val="tx2"/>
                </a:solidFill>
              </a:rPr>
              <a:t>chargers</a:t>
            </a:r>
            <a:r>
              <a:rPr lang="de-CH" sz="1600" b="1" dirty="0">
                <a:solidFill>
                  <a:schemeClr val="tx2"/>
                </a:solidFill>
              </a:rPr>
              <a:t> per </a:t>
            </a:r>
            <a:r>
              <a:rPr lang="de-CH" sz="1600" b="1" dirty="0" err="1">
                <a:solidFill>
                  <a:schemeClr val="tx2"/>
                </a:solidFill>
              </a:rPr>
              <a:t>year</a:t>
            </a:r>
            <a:r>
              <a:rPr lang="de-CH" sz="1600" b="1" dirty="0">
                <a:solidFill>
                  <a:schemeClr val="tx2"/>
                </a:solidFill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None/>
            </a:pPr>
            <a:endParaRPr lang="de-CH" sz="1800" dirty="0">
              <a:ea typeface="Roboto Medium" panose="02000000000000000000" pitchFamily="2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None/>
            </a:pPr>
            <a:r>
              <a:rPr lang="de-CH" sz="1200" dirty="0" err="1">
                <a:ea typeface="Roboto Medium" panose="02000000000000000000" pitchFamily="2" charset="0"/>
              </a:rPr>
              <a:t>Assumptions</a:t>
            </a:r>
            <a:r>
              <a:rPr lang="de-CH" sz="1200" dirty="0">
                <a:ea typeface="Roboto Medium" panose="02000000000000000000" pitchFamily="2" charset="0"/>
              </a:rPr>
              <a:t>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>
                <a:ea typeface="Roboto Medium" panose="02000000000000000000" pitchFamily="2" charset="0"/>
              </a:rPr>
              <a:t>220 </a:t>
            </a:r>
            <a:r>
              <a:rPr lang="de-CH" sz="1200" dirty="0" err="1">
                <a:ea typeface="Roboto Medium" panose="02000000000000000000" pitchFamily="2" charset="0"/>
              </a:rPr>
              <a:t>hotels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with</a:t>
            </a:r>
            <a:r>
              <a:rPr lang="de-CH" sz="1200" dirty="0">
                <a:ea typeface="Roboto Medium" panose="02000000000000000000" pitchFamily="2" charset="0"/>
              </a:rPr>
              <a:t> 9292 </a:t>
            </a:r>
            <a:r>
              <a:rPr lang="de-CH" sz="1200" dirty="0" err="1">
                <a:ea typeface="Roboto Medium" panose="02000000000000000000" pitchFamily="2" charset="0"/>
              </a:rPr>
              <a:t>beds</a:t>
            </a:r>
            <a:r>
              <a:rPr lang="de-CH" sz="1200" dirty="0">
                <a:ea typeface="Roboto Medium" panose="02000000000000000000" pitchFamily="2" charset="0"/>
              </a:rPr>
              <a:t> in Kanton St. Gallen (BfS, 2020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/>
              <a:t>1613 </a:t>
            </a:r>
            <a:r>
              <a:rPr lang="de-CH" sz="1200" dirty="0" err="1"/>
              <a:t>gastronomy</a:t>
            </a:r>
            <a:r>
              <a:rPr lang="de-CH" sz="1200" dirty="0"/>
              <a:t> </a:t>
            </a:r>
            <a:r>
              <a:rPr lang="de-CH" sz="1200" dirty="0" err="1"/>
              <a:t>businesses</a:t>
            </a:r>
            <a:r>
              <a:rPr lang="de-CH" sz="1200" dirty="0"/>
              <a:t> in Kanton St. Gallen </a:t>
            </a:r>
            <a:r>
              <a:rPr lang="de-CH" sz="1200" dirty="0">
                <a:ea typeface="Roboto Medium" panose="02000000000000000000" pitchFamily="2" charset="0"/>
              </a:rPr>
              <a:t>(BfS, 2018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>
                <a:ea typeface="Roboto Medium" panose="02000000000000000000" pitchFamily="2" charset="0"/>
              </a:rPr>
              <a:t>A </a:t>
            </a:r>
            <a:r>
              <a:rPr lang="de-CH" sz="1200" dirty="0" err="1">
                <a:ea typeface="Roboto Medium" panose="02000000000000000000" pitchFamily="2" charset="0"/>
              </a:rPr>
              <a:t>gastronomy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business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would</a:t>
            </a:r>
            <a:r>
              <a:rPr lang="de-CH" sz="1200" dirty="0">
                <a:ea typeface="Roboto Medium" panose="02000000000000000000" pitchFamily="2" charset="0"/>
              </a:rPr>
              <a:t> in </a:t>
            </a:r>
            <a:r>
              <a:rPr lang="de-CH" sz="1200" dirty="0" err="1">
                <a:ea typeface="Roboto Medium" panose="02000000000000000000" pitchFamily="2" charset="0"/>
              </a:rPr>
              <a:t>average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buy</a:t>
            </a:r>
            <a:r>
              <a:rPr lang="de-CH" sz="1200" dirty="0">
                <a:ea typeface="Roboto Medium" panose="02000000000000000000" pitchFamily="2" charset="0"/>
              </a:rPr>
              <a:t> 10 </a:t>
            </a:r>
            <a:r>
              <a:rPr lang="de-CH" sz="1200" dirty="0" err="1">
                <a:ea typeface="Roboto Medium" panose="02000000000000000000" pitchFamily="2" charset="0"/>
              </a:rPr>
              <a:t>chargers</a:t>
            </a:r>
            <a:r>
              <a:rPr lang="de-CH" sz="1200" dirty="0">
                <a:ea typeface="Roboto Medium" panose="02000000000000000000" pitchFamily="2" charset="0"/>
              </a:rPr>
              <a:t>, a </a:t>
            </a:r>
            <a:r>
              <a:rPr lang="de-CH" sz="1200" dirty="0" err="1">
                <a:ea typeface="Roboto Medium" panose="02000000000000000000" pitchFamily="2" charset="0"/>
              </a:rPr>
              <a:t>hotel</a:t>
            </a:r>
            <a:r>
              <a:rPr lang="de-CH" sz="1200" dirty="0">
                <a:ea typeface="Roboto Medium" panose="02000000000000000000" pitchFamily="2" charset="0"/>
              </a:rPr>
              <a:t> a </a:t>
            </a:r>
            <a:r>
              <a:rPr lang="de-CH" sz="1200" dirty="0" err="1">
                <a:ea typeface="Roboto Medium" panose="02000000000000000000" pitchFamily="2" charset="0"/>
              </a:rPr>
              <a:t>charger</a:t>
            </a:r>
            <a:r>
              <a:rPr lang="de-CH" sz="1200" dirty="0">
                <a:ea typeface="Roboto Medium" panose="02000000000000000000" pitchFamily="2" charset="0"/>
              </a:rPr>
              <a:t> per </a:t>
            </a:r>
            <a:r>
              <a:rPr lang="de-CH" sz="1200" dirty="0" err="1">
                <a:ea typeface="Roboto Medium" panose="02000000000000000000" pitchFamily="2" charset="0"/>
              </a:rPr>
              <a:t>bed</a:t>
            </a:r>
            <a:endParaRPr lang="de-CH" sz="12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>
                <a:ea typeface="Roboto Medium" panose="02000000000000000000" pitchFamily="2" charset="0"/>
              </a:rPr>
              <a:t>53% </a:t>
            </a:r>
            <a:r>
              <a:rPr lang="de-CH" sz="1200" dirty="0" err="1">
                <a:ea typeface="Roboto Medium" panose="02000000000000000000" pitchFamily="2" charset="0"/>
              </a:rPr>
              <a:t>of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customers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would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welcome</a:t>
            </a:r>
            <a:r>
              <a:rPr lang="de-CH" sz="1200" dirty="0">
                <a:ea typeface="Roboto Medium" panose="02000000000000000000" pitchFamily="2" charset="0"/>
              </a:rPr>
              <a:t> a </a:t>
            </a:r>
            <a:r>
              <a:rPr lang="de-CH" sz="1200" dirty="0" err="1">
                <a:ea typeface="Roboto Medium" panose="02000000000000000000" pitchFamily="2" charset="0"/>
              </a:rPr>
              <a:t>charger</a:t>
            </a:r>
            <a:r>
              <a:rPr lang="de-CH" sz="1200" dirty="0">
                <a:ea typeface="Roboto Medium" panose="02000000000000000000" pitchFamily="2" charset="0"/>
              </a:rPr>
              <a:t> in </a:t>
            </a:r>
            <a:r>
              <a:rPr lang="de-CH" sz="1200" dirty="0" err="1">
                <a:ea typeface="Roboto Medium" panose="02000000000000000000" pitchFamily="2" charset="0"/>
              </a:rPr>
              <a:t>the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hotel</a:t>
            </a:r>
            <a:r>
              <a:rPr lang="de-CH" sz="1200" dirty="0">
                <a:ea typeface="Roboto Medium" panose="02000000000000000000" pitchFamily="2" charset="0"/>
              </a:rPr>
              <a:t>, 40% in </a:t>
            </a:r>
            <a:r>
              <a:rPr lang="de-CH" sz="1200" dirty="0" err="1">
                <a:ea typeface="Roboto Medium" panose="02000000000000000000" pitchFamily="2" charset="0"/>
              </a:rPr>
              <a:t>gastronomy</a:t>
            </a:r>
            <a:r>
              <a:rPr lang="de-CH" sz="1200" dirty="0">
                <a:ea typeface="Roboto Medium" panose="02000000000000000000" pitchFamily="2" charset="0"/>
              </a:rPr>
              <a:t> (</a:t>
            </a:r>
            <a:r>
              <a:rPr lang="de-CH" sz="1200" dirty="0">
                <a:ea typeface="Roboto Medium" panose="02000000000000000000" pitchFamily="2" charset="0"/>
                <a:sym typeface="Wingdings" panose="05000000000000000000" pitchFamily="2" charset="2"/>
              </a:rPr>
              <a:t>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slide</a:t>
            </a:r>
            <a:r>
              <a:rPr lang="de-CH" sz="1200" dirty="0">
                <a:ea typeface="Roboto Medium" panose="02000000000000000000" pitchFamily="2" charset="0"/>
              </a:rPr>
              <a:t> 19)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600" b="1" dirty="0">
              <a:ea typeface="Roboto Medium" panose="02000000000000000000" pitchFamily="2" charset="0"/>
            </a:endParaRPr>
          </a:p>
        </p:txBody>
      </p: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F7037EE0-8BFC-4A8B-9D13-CC5EEF5CDF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07061" y="1574004"/>
            <a:ext cx="4753565" cy="358775"/>
          </a:xfrm>
        </p:spPr>
        <p:txBody>
          <a:bodyPr/>
          <a:lstStyle/>
          <a:p>
            <a:r>
              <a:rPr lang="de-CH" dirty="0"/>
              <a:t>Pro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45D21EE0-5605-474A-AAE7-6691FDA03809}"/>
              </a:ext>
            </a:extLst>
          </p:cNvPr>
          <p:cNvSpPr txBox="1">
            <a:spLocks/>
          </p:cNvSpPr>
          <p:nvPr/>
        </p:nvSpPr>
        <p:spPr>
          <a:xfrm>
            <a:off x="7107061" y="4075100"/>
            <a:ext cx="4742955" cy="35877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marL="0" indent="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 err="1"/>
              <a:t>Con</a:t>
            </a:r>
            <a:endParaRPr lang="de-CH" dirty="0"/>
          </a:p>
        </p:txBody>
      </p:sp>
      <p:pic>
        <p:nvPicPr>
          <p:cNvPr id="28" name="Grafik 27" descr="Marke folgen mit einfarbiger Füllung">
            <a:extLst>
              <a:ext uri="{FF2B5EF4-FFF2-40B4-BE49-F238E27FC236}">
                <a16:creationId xmlns:a16="http://schemas.microsoft.com/office/drawing/2014/main" id="{9863797A-15DC-4F70-9809-00461D6428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88152" y="1481893"/>
            <a:ext cx="542995" cy="542995"/>
          </a:xfrm>
          <a:prstGeom prst="rect">
            <a:avLst/>
          </a:prstGeom>
        </p:spPr>
      </p:pic>
      <p:pic>
        <p:nvPicPr>
          <p:cNvPr id="29" name="Grafik 28" descr="Markee nicht mehr folgen mit einfarbiger Füllung">
            <a:extLst>
              <a:ext uri="{FF2B5EF4-FFF2-40B4-BE49-F238E27FC236}">
                <a16:creationId xmlns:a16="http://schemas.microsoft.com/office/drawing/2014/main" id="{D9A460B3-49D6-4E39-B4C7-2EAC27252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96050" y="3982989"/>
            <a:ext cx="542995" cy="542995"/>
          </a:xfrm>
          <a:prstGeom prst="rect">
            <a:avLst/>
          </a:prstGeom>
        </p:spPr>
      </p:pic>
      <p:sp>
        <p:nvSpPr>
          <p:cNvPr id="30" name="Inhaltsplatzhalter 15">
            <a:extLst>
              <a:ext uri="{FF2B5EF4-FFF2-40B4-BE49-F238E27FC236}">
                <a16:creationId xmlns:a16="http://schemas.microsoft.com/office/drawing/2014/main" id="{C870E03D-E377-48DC-A97F-3F30596E18C1}"/>
              </a:ext>
            </a:extLst>
          </p:cNvPr>
          <p:cNvSpPr txBox="1">
            <a:spLocks/>
          </p:cNvSpPr>
          <p:nvPr/>
        </p:nvSpPr>
        <p:spPr>
          <a:xfrm>
            <a:off x="6495637" y="4685508"/>
            <a:ext cx="5364163" cy="1748994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Special </a:t>
            </a:r>
            <a:r>
              <a:rPr lang="de-CH" sz="1400" dirty="0" err="1">
                <a:ea typeface="Roboto Medium" panose="02000000000000000000" pitchFamily="2" charset="0"/>
              </a:rPr>
              <a:t>requirements</a:t>
            </a:r>
            <a:r>
              <a:rPr lang="de-CH" sz="1400" dirty="0">
                <a:ea typeface="Roboto Medium" panose="02000000000000000000" pitchFamily="2" charset="0"/>
              </a:rPr>
              <a:t> (</a:t>
            </a:r>
            <a:r>
              <a:rPr lang="de-CH" sz="1400" dirty="0" err="1">
                <a:ea typeface="Roboto Medium" panose="02000000000000000000" pitchFamily="2" charset="0"/>
              </a:rPr>
              <a:t>business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an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mor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han</a:t>
            </a:r>
            <a:r>
              <a:rPr lang="de-CH" sz="1400" dirty="0">
                <a:ea typeface="Roboto Medium" panose="02000000000000000000" pitchFamily="2" charset="0"/>
              </a:rPr>
              <a:t> a </a:t>
            </a:r>
            <a:r>
              <a:rPr lang="de-CH" sz="1400" dirty="0" err="1">
                <a:ea typeface="Roboto Medium" panose="02000000000000000000" pitchFamily="2" charset="0"/>
              </a:rPr>
              <a:t>charger</a:t>
            </a:r>
            <a:r>
              <a:rPr lang="de-CH" sz="1400" dirty="0">
                <a:ea typeface="Roboto Medium" panose="02000000000000000000" pitchFamily="2" charset="0"/>
              </a:rPr>
              <a:t>, </a:t>
            </a:r>
            <a:r>
              <a:rPr lang="de-CH" sz="1400" dirty="0">
                <a:ea typeface="Roboto Medium" panose="02000000000000000000" pitchFamily="2" charset="0"/>
                <a:sym typeface="Wingdings" panose="05000000000000000000" pitchFamily="2" charset="2"/>
              </a:rPr>
              <a:t>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slide</a:t>
            </a:r>
            <a:r>
              <a:rPr lang="de-CH" sz="1400" dirty="0">
                <a:ea typeface="Roboto Medium" panose="02000000000000000000" pitchFamily="2" charset="0"/>
              </a:rPr>
              <a:t> 25). </a:t>
            </a:r>
            <a:r>
              <a:rPr lang="de-CH" sz="1400" dirty="0" err="1">
                <a:ea typeface="Roboto Medium" panose="02000000000000000000" pitchFamily="2" charset="0"/>
              </a:rPr>
              <a:t>you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an’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arge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th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segment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ith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he</a:t>
            </a:r>
            <a:r>
              <a:rPr lang="de-CH" sz="1400" dirty="0">
                <a:ea typeface="Roboto Medium" panose="02000000000000000000" pitchFamily="2" charset="0"/>
              </a:rPr>
              <a:t> same </a:t>
            </a:r>
            <a:r>
              <a:rPr lang="de-CH" sz="1400" dirty="0" err="1">
                <a:ea typeface="Roboto Medium" panose="02000000000000000000" pitchFamily="2" charset="0"/>
              </a:rPr>
              <a:t>product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Low </a:t>
            </a:r>
            <a:r>
              <a:rPr lang="de-CH" sz="1400" dirty="0" err="1">
                <a:ea typeface="Roboto Medium" panose="02000000000000000000" pitchFamily="2" charset="0"/>
              </a:rPr>
              <a:t>adoption</a:t>
            </a:r>
            <a:r>
              <a:rPr lang="de-CH" sz="1400" dirty="0">
                <a:ea typeface="Roboto Medium" panose="02000000000000000000" pitchFamily="2" charset="0"/>
              </a:rPr>
              <a:t> rate so </a:t>
            </a:r>
            <a:r>
              <a:rPr lang="de-CH" sz="1400" dirty="0" err="1">
                <a:ea typeface="Roboto Medium" panose="02000000000000000000" pitchFamily="2" charset="0"/>
              </a:rPr>
              <a:t>far</a:t>
            </a:r>
            <a:r>
              <a:rPr lang="de-CH" sz="1400" dirty="0">
                <a:ea typeface="Roboto Medium" panose="02000000000000000000" pitchFamily="2" charset="0"/>
              </a:rPr>
              <a:t> – </a:t>
            </a:r>
            <a:r>
              <a:rPr lang="de-CH" sz="1400" dirty="0" err="1">
                <a:ea typeface="Roboto Medium" panose="02000000000000000000" pitchFamily="2" charset="0"/>
              </a:rPr>
              <a:t>businesses</a:t>
            </a:r>
            <a:r>
              <a:rPr lang="de-CH" sz="1400" dirty="0">
                <a:ea typeface="Roboto Medium" panose="02000000000000000000" pitchFamily="2" charset="0"/>
              </a:rPr>
              <a:t> and </a:t>
            </a:r>
            <a:r>
              <a:rPr lang="de-CH" sz="1400" dirty="0" err="1">
                <a:ea typeface="Roboto Medium" panose="02000000000000000000" pitchFamily="2" charset="0"/>
              </a:rPr>
              <a:t>woul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nee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onvinc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ha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fer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ireles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harg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is</a:t>
            </a:r>
            <a:r>
              <a:rPr lang="de-CH" sz="1400" dirty="0">
                <a:ea typeface="Roboto Medium" panose="02000000000000000000" pitchFamily="2" charset="0"/>
              </a:rPr>
              <a:t> a </a:t>
            </a:r>
            <a:r>
              <a:rPr lang="de-CH" sz="1400" dirty="0" err="1">
                <a:ea typeface="Roboto Medium" panose="02000000000000000000" pitchFamily="2" charset="0"/>
              </a:rPr>
              <a:t>goo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idea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Customer pool </a:t>
            </a:r>
            <a:r>
              <a:rPr lang="de-CH" sz="1400" dirty="0" err="1">
                <a:ea typeface="Roboto Medium" panose="02000000000000000000" pitchFamily="2" charset="0"/>
              </a:rPr>
              <a:t>i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very</a:t>
            </a:r>
            <a:r>
              <a:rPr lang="de-CH" sz="1400" dirty="0">
                <a:ea typeface="Roboto Medium" panose="02000000000000000000" pitchFamily="2" charset="0"/>
              </a:rPr>
              <a:t> limited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High </a:t>
            </a:r>
            <a:r>
              <a:rPr lang="de-CH" sz="1400" dirty="0" err="1">
                <a:ea typeface="Roboto Medium" panose="02000000000000000000" pitchFamily="2" charset="0"/>
              </a:rPr>
              <a:t>custom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expectation</a:t>
            </a:r>
            <a:r>
              <a:rPr lang="de-CH" sz="1400" dirty="0">
                <a:ea typeface="Roboto Medium" panose="02000000000000000000" pitchFamily="2" charset="0"/>
              </a:rPr>
              <a:t> on </a:t>
            </a:r>
            <a:r>
              <a:rPr lang="de-CH" sz="1400" dirty="0" err="1">
                <a:ea typeface="Roboto Medium" panose="02000000000000000000" pitchFamily="2" charset="0"/>
              </a:rPr>
              <a:t>quality</a:t>
            </a:r>
            <a:r>
              <a:rPr lang="de-CH" sz="1400" dirty="0">
                <a:ea typeface="Roboto Medium" panose="02000000000000000000" pitchFamily="2" charset="0"/>
              </a:rPr>
              <a:t>, </a:t>
            </a:r>
            <a:r>
              <a:rPr lang="de-CH" sz="1400" dirty="0" err="1">
                <a:ea typeface="Roboto Medium" panose="02000000000000000000" pitchFamily="2" charset="0"/>
              </a:rPr>
              <a:t>cost</a:t>
            </a:r>
            <a:r>
              <a:rPr lang="de-CH" sz="1400" dirty="0">
                <a:ea typeface="Roboto Medium" panose="02000000000000000000" pitchFamily="2" charset="0"/>
              </a:rPr>
              <a:t>, and </a:t>
            </a:r>
            <a:r>
              <a:rPr lang="de-CH" sz="1400" dirty="0" err="1">
                <a:ea typeface="Roboto Medium" panose="02000000000000000000" pitchFamily="2" charset="0"/>
              </a:rPr>
              <a:t>service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Requir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reating</a:t>
            </a:r>
            <a:r>
              <a:rPr lang="de-CH" sz="1400" dirty="0">
                <a:ea typeface="Roboto Medium" panose="02000000000000000000" pitchFamily="2" charset="0"/>
              </a:rPr>
              <a:t> after </a:t>
            </a:r>
            <a:r>
              <a:rPr lang="de-CH" sz="1400" dirty="0" err="1">
                <a:ea typeface="Roboto Medium" panose="02000000000000000000" pitchFamily="2" charset="0"/>
              </a:rPr>
              <a:t>sal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service</a:t>
            </a: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31" name="Inhaltsplatzhalter 15">
            <a:extLst>
              <a:ext uri="{FF2B5EF4-FFF2-40B4-BE49-F238E27FC236}">
                <a16:creationId xmlns:a16="http://schemas.microsoft.com/office/drawing/2014/main" id="{1F5833A7-7460-4F87-8295-CD81701A09BC}"/>
              </a:ext>
            </a:extLst>
          </p:cNvPr>
          <p:cNvSpPr txBox="1">
            <a:spLocks/>
          </p:cNvSpPr>
          <p:nvPr/>
        </p:nvSpPr>
        <p:spPr>
          <a:xfrm>
            <a:off x="6497637" y="2077890"/>
            <a:ext cx="5364163" cy="1742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Efficiency in </a:t>
            </a:r>
            <a:r>
              <a:rPr lang="de-CH" sz="1400" dirty="0" err="1">
                <a:ea typeface="Roboto Medium" panose="02000000000000000000" pitchFamily="2" charset="0"/>
              </a:rPr>
              <a:t>communication</a:t>
            </a:r>
            <a:r>
              <a:rPr lang="de-CH" sz="1400" dirty="0">
                <a:ea typeface="Roboto Medium" panose="02000000000000000000" pitchFamily="2" charset="0"/>
              </a:rPr>
              <a:t> and </a:t>
            </a:r>
            <a:r>
              <a:rPr lang="de-CH" sz="1400" dirty="0" err="1">
                <a:ea typeface="Roboto Medium" panose="02000000000000000000" pitchFamily="2" charset="0"/>
              </a:rPr>
              <a:t>distribution</a:t>
            </a:r>
            <a:r>
              <a:rPr lang="de-CH" sz="1400" dirty="0">
                <a:ea typeface="Roboto Medium" panose="02000000000000000000" pitchFamily="2" charset="0"/>
              </a:rPr>
              <a:t> – </a:t>
            </a:r>
            <a:r>
              <a:rPr lang="de-CH" sz="1400" dirty="0" err="1">
                <a:ea typeface="Roboto Medium" panose="02000000000000000000" pitchFamily="2" charset="0"/>
              </a:rPr>
              <a:t>low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numb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ustomers</a:t>
            </a:r>
            <a:r>
              <a:rPr lang="de-CH" sz="1400" dirty="0">
                <a:ea typeface="Roboto Medium" panose="02000000000000000000" pitchFamily="2" charset="0"/>
              </a:rPr>
              <a:t>, </a:t>
            </a:r>
            <a:r>
              <a:rPr lang="de-CH" sz="1400" dirty="0" err="1">
                <a:ea typeface="Roboto Medium" panose="02000000000000000000" pitchFamily="2" charset="0"/>
              </a:rPr>
              <a:t>each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ustom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ith</a:t>
            </a:r>
            <a:r>
              <a:rPr lang="de-CH" sz="1400" dirty="0">
                <a:ea typeface="Roboto Medium" panose="02000000000000000000" pitchFamily="2" charset="0"/>
              </a:rPr>
              <a:t> a </a:t>
            </a:r>
            <a:r>
              <a:rPr lang="de-CH" sz="1400" dirty="0" err="1">
                <a:ea typeface="Roboto Medium" panose="02000000000000000000" pitchFamily="2" charset="0"/>
              </a:rPr>
              <a:t>deman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otentially</a:t>
            </a:r>
            <a:r>
              <a:rPr lang="de-CH" sz="1400" dirty="0">
                <a:ea typeface="Roboto Medium" panose="02000000000000000000" pitchFamily="2" charset="0"/>
              </a:rPr>
              <a:t> double </a:t>
            </a:r>
            <a:r>
              <a:rPr lang="de-CH" sz="1400" dirty="0" err="1">
                <a:ea typeface="Roboto Medium" panose="02000000000000000000" pitchFamily="2" charset="0"/>
              </a:rPr>
              <a:t>digi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nubm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units</a:t>
            </a:r>
            <a:endParaRPr lang="de-CH" sz="14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9093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F7BD645-EBEF-434C-A149-D9384CBB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7780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F7BD645-EBEF-434C-A149-D9384CBB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8C3C17E-F4BC-4BC0-A945-6D0BE5678C8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CEDB21E-BACD-4707-A249-4ED105F7237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1</a:t>
            </a:fld>
            <a:endParaRPr lang="de-CH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FAD62F0-FD4B-4A45-9F98-A05BBA221E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8038" y="1549308"/>
            <a:ext cx="5364576" cy="358775"/>
          </a:xfrm>
        </p:spPr>
        <p:txBody>
          <a:bodyPr/>
          <a:lstStyle/>
          <a:p>
            <a:r>
              <a:rPr lang="de-CH" dirty="0"/>
              <a:t>Segment </a:t>
            </a:r>
            <a:r>
              <a:rPr lang="de-CH" dirty="0" err="1"/>
              <a:t>characteristics</a:t>
            </a:r>
            <a:endParaRPr lang="de-CH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FCF61-FD15-4DDD-8A4A-F60B3EA49CE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target</a:t>
            </a:r>
            <a:r>
              <a:rPr lang="de-CH" dirty="0"/>
              <a:t> </a:t>
            </a:r>
            <a:r>
              <a:rPr lang="de-CH" dirty="0" err="1"/>
              <a:t>segments</a:t>
            </a:r>
            <a:r>
              <a:rPr lang="de-CH" dirty="0"/>
              <a:t>?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33540AA-1669-46A0-8CA0-78D05D9A1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 err="1"/>
              <a:t>Char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o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ffice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uild</a:t>
            </a:r>
            <a:r>
              <a:rPr lang="de-CH" dirty="0"/>
              <a:t> on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industry</a:t>
            </a:r>
            <a:r>
              <a:rPr lang="de-CH" dirty="0"/>
              <a:t> </a:t>
            </a:r>
            <a:r>
              <a:rPr lang="de-CH" dirty="0" err="1"/>
              <a:t>relationship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OST, but </a:t>
            </a:r>
            <a:r>
              <a:rPr lang="de-CH" dirty="0" err="1"/>
              <a:t>no</a:t>
            </a:r>
            <a:r>
              <a:rPr lang="de-CH" dirty="0"/>
              <a:t> pull on </a:t>
            </a:r>
            <a:r>
              <a:rPr lang="de-CH" dirty="0" err="1"/>
              <a:t>wireless</a:t>
            </a:r>
            <a:r>
              <a:rPr lang="de-CH" dirty="0"/>
              <a:t> </a:t>
            </a:r>
            <a:r>
              <a:rPr lang="de-CH" dirty="0" err="1"/>
              <a:t>chargers</a:t>
            </a:r>
            <a:endParaRPr lang="de-CH" dirty="0"/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539618EE-8029-4431-B3B0-DEF304AE85F9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08451" y="2190139"/>
            <a:ext cx="5364163" cy="4128694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CH" sz="1600" dirty="0" err="1">
                <a:ea typeface="Roboto Medium" panose="02000000000000000000" pitchFamily="2" charset="0"/>
              </a:rPr>
              <a:t>W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expect</a:t>
            </a:r>
            <a:r>
              <a:rPr lang="de-CH" sz="1600" dirty="0">
                <a:ea typeface="Roboto Medium" panose="02000000000000000000" pitchFamily="2" charset="0"/>
              </a:rPr>
              <a:t> a potential </a:t>
            </a:r>
            <a:r>
              <a:rPr lang="de-CH" sz="1600" dirty="0" err="1">
                <a:ea typeface="Roboto Medium" panose="02000000000000000000" pitchFamily="2" charset="0"/>
              </a:rPr>
              <a:t>of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up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to</a:t>
            </a:r>
            <a:r>
              <a:rPr lang="de-CH" sz="1600" dirty="0">
                <a:ea typeface="Roboto Medium" panose="02000000000000000000" pitchFamily="2" charset="0"/>
              </a:rPr>
              <a:t> 50’000 </a:t>
            </a:r>
            <a:r>
              <a:rPr lang="de-CH" sz="1600" dirty="0" err="1">
                <a:ea typeface="Roboto Medium" panose="02000000000000000000" pitchFamily="2" charset="0"/>
              </a:rPr>
              <a:t>wireless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chargers</a:t>
            </a:r>
            <a:r>
              <a:rPr lang="de-CH" sz="1600" dirty="0"/>
              <a:t> in Kanton St. Gallen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CH" sz="1600" dirty="0" err="1"/>
              <a:t>Assuming</a:t>
            </a:r>
            <a:r>
              <a:rPr lang="de-CH" sz="1600" dirty="0"/>
              <a:t> </a:t>
            </a:r>
            <a:r>
              <a:rPr lang="de-CH" sz="1600" dirty="0" err="1"/>
              <a:t>we</a:t>
            </a:r>
            <a:r>
              <a:rPr lang="de-CH" sz="1600" dirty="0"/>
              <a:t> </a:t>
            </a:r>
            <a:r>
              <a:rPr lang="de-CH" sz="1600" dirty="0" err="1"/>
              <a:t>take</a:t>
            </a:r>
            <a:r>
              <a:rPr lang="de-CH" sz="1600" dirty="0"/>
              <a:t> 1% and a 5 </a:t>
            </a:r>
            <a:r>
              <a:rPr lang="de-CH" sz="1600" dirty="0" err="1"/>
              <a:t>years</a:t>
            </a:r>
            <a:r>
              <a:rPr lang="de-CH" sz="1600" dirty="0"/>
              <a:t> </a:t>
            </a:r>
            <a:r>
              <a:rPr lang="de-CH" sz="1600" dirty="0" err="1"/>
              <a:t>cadence</a:t>
            </a:r>
            <a:r>
              <a:rPr lang="de-CH" sz="1600" dirty="0"/>
              <a:t>, </a:t>
            </a:r>
            <a:r>
              <a:rPr lang="de-CH" sz="1600" b="1" dirty="0" err="1">
                <a:solidFill>
                  <a:schemeClr val="tx2"/>
                </a:solidFill>
              </a:rPr>
              <a:t>we</a:t>
            </a:r>
            <a:r>
              <a:rPr lang="de-CH" sz="1600" b="1" dirty="0">
                <a:solidFill>
                  <a:schemeClr val="tx2"/>
                </a:solidFill>
              </a:rPr>
              <a:t> </a:t>
            </a:r>
            <a:r>
              <a:rPr lang="de-CH" sz="1600" b="1" dirty="0" err="1">
                <a:solidFill>
                  <a:schemeClr val="tx2"/>
                </a:solidFill>
              </a:rPr>
              <a:t>could</a:t>
            </a:r>
            <a:r>
              <a:rPr lang="de-CH" sz="1600" b="1" dirty="0">
                <a:solidFill>
                  <a:schemeClr val="tx2"/>
                </a:solidFill>
              </a:rPr>
              <a:t> </a:t>
            </a:r>
            <a:r>
              <a:rPr lang="de-CH" sz="1600" b="1" dirty="0" err="1">
                <a:solidFill>
                  <a:schemeClr val="tx2"/>
                </a:solidFill>
              </a:rPr>
              <a:t>sell</a:t>
            </a:r>
            <a:r>
              <a:rPr lang="de-CH" sz="1600" b="1" dirty="0">
                <a:solidFill>
                  <a:schemeClr val="tx2"/>
                </a:solidFill>
              </a:rPr>
              <a:t> 100 </a:t>
            </a:r>
            <a:r>
              <a:rPr lang="de-CH" sz="1600" b="1" dirty="0" err="1">
                <a:solidFill>
                  <a:schemeClr val="tx2"/>
                </a:solidFill>
              </a:rPr>
              <a:t>chargers</a:t>
            </a:r>
            <a:r>
              <a:rPr lang="de-CH" sz="1600" b="1" dirty="0">
                <a:solidFill>
                  <a:schemeClr val="tx2"/>
                </a:solidFill>
              </a:rPr>
              <a:t> per </a:t>
            </a:r>
            <a:r>
              <a:rPr lang="de-CH" sz="1600" b="1" dirty="0" err="1">
                <a:solidFill>
                  <a:schemeClr val="tx2"/>
                </a:solidFill>
              </a:rPr>
              <a:t>year</a:t>
            </a:r>
            <a:r>
              <a:rPr lang="de-CH" sz="1600" b="1" dirty="0">
                <a:solidFill>
                  <a:schemeClr val="tx2"/>
                </a:solidFill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de-CH" sz="1600" b="1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CH" sz="1200" dirty="0" err="1"/>
              <a:t>Assumptions</a:t>
            </a:r>
            <a:endParaRPr lang="de-CH" sz="12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/>
              <a:t>In Kanton St. Gallen </a:t>
            </a:r>
            <a:r>
              <a:rPr lang="de-CH" sz="1200" dirty="0" err="1"/>
              <a:t>there</a:t>
            </a:r>
            <a:r>
              <a:rPr lang="de-CH" sz="1200" dirty="0"/>
              <a:t> </a:t>
            </a:r>
            <a:r>
              <a:rPr lang="de-CH" sz="1200" dirty="0" err="1"/>
              <a:t>are</a:t>
            </a:r>
            <a:r>
              <a:rPr lang="de-CH" sz="1200" dirty="0"/>
              <a:t> 307’000 </a:t>
            </a:r>
            <a:r>
              <a:rPr lang="de-CH" sz="1200" dirty="0" err="1"/>
              <a:t>workplaces</a:t>
            </a:r>
            <a:r>
              <a:rPr lang="de-CH" sz="1200" dirty="0"/>
              <a:t> (BfS, 2019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/>
              <a:t>36.7% </a:t>
            </a:r>
            <a:r>
              <a:rPr lang="de-CH" sz="1200" dirty="0" err="1"/>
              <a:t>of</a:t>
            </a:r>
            <a:r>
              <a:rPr lang="de-CH" sz="1200" dirty="0"/>
              <a:t> </a:t>
            </a:r>
            <a:r>
              <a:rPr lang="de-CH" sz="1200" dirty="0" err="1"/>
              <a:t>employees</a:t>
            </a:r>
            <a:r>
              <a:rPr lang="de-CH" sz="1200" dirty="0"/>
              <a:t> </a:t>
            </a:r>
            <a:r>
              <a:rPr lang="de-CH" sz="1200" dirty="0" err="1"/>
              <a:t>are</a:t>
            </a:r>
            <a:r>
              <a:rPr lang="de-CH" sz="1200" dirty="0"/>
              <a:t> </a:t>
            </a:r>
            <a:r>
              <a:rPr lang="de-CH" sz="1200" dirty="0" err="1"/>
              <a:t>working</a:t>
            </a:r>
            <a:r>
              <a:rPr lang="de-CH" sz="1200" dirty="0"/>
              <a:t> in </a:t>
            </a:r>
            <a:r>
              <a:rPr lang="de-CH" sz="1200" dirty="0" err="1"/>
              <a:t>offices</a:t>
            </a:r>
            <a:r>
              <a:rPr lang="de-CH" sz="1200" dirty="0"/>
              <a:t> (Institut der deutschen Wirtschaft, 2020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/>
              <a:t>49% </a:t>
            </a:r>
            <a:r>
              <a:rPr lang="de-CH" sz="1200" dirty="0" err="1"/>
              <a:t>of</a:t>
            </a:r>
            <a:r>
              <a:rPr lang="de-CH" sz="1200" dirty="0"/>
              <a:t> </a:t>
            </a:r>
            <a:r>
              <a:rPr lang="de-CH" sz="1200" dirty="0" err="1"/>
              <a:t>employees</a:t>
            </a:r>
            <a:r>
              <a:rPr lang="de-CH" sz="1200" dirty="0"/>
              <a:t> </a:t>
            </a:r>
            <a:r>
              <a:rPr lang="de-CH" sz="1200" dirty="0" err="1"/>
              <a:t>would</a:t>
            </a:r>
            <a:r>
              <a:rPr lang="de-CH" sz="1200" dirty="0"/>
              <a:t> </a:t>
            </a:r>
            <a:r>
              <a:rPr lang="de-CH" sz="1200" dirty="0" err="1"/>
              <a:t>welcome</a:t>
            </a:r>
            <a:r>
              <a:rPr lang="de-CH" sz="1200" dirty="0"/>
              <a:t> a </a:t>
            </a:r>
            <a:r>
              <a:rPr lang="de-CH" sz="1200" dirty="0" err="1"/>
              <a:t>wireless</a:t>
            </a:r>
            <a:r>
              <a:rPr lang="de-CH" sz="1200" dirty="0"/>
              <a:t> </a:t>
            </a:r>
            <a:r>
              <a:rPr lang="de-CH" sz="1200" dirty="0" err="1"/>
              <a:t>charger</a:t>
            </a:r>
            <a:r>
              <a:rPr lang="de-CH" sz="1200" dirty="0"/>
              <a:t> at </a:t>
            </a:r>
            <a:r>
              <a:rPr lang="de-CH" sz="1200" dirty="0" err="1"/>
              <a:t>their</a:t>
            </a:r>
            <a:r>
              <a:rPr lang="de-CH" sz="1200" dirty="0"/>
              <a:t> </a:t>
            </a:r>
            <a:r>
              <a:rPr lang="de-CH" sz="1200" dirty="0" err="1"/>
              <a:t>desk</a:t>
            </a:r>
            <a:r>
              <a:rPr lang="de-CH" sz="1200" dirty="0"/>
              <a:t> </a:t>
            </a:r>
            <a:br>
              <a:rPr lang="de-CH" sz="1200" dirty="0"/>
            </a:br>
            <a:r>
              <a:rPr lang="de-CH" sz="1200" dirty="0"/>
              <a:t>(</a:t>
            </a:r>
            <a:r>
              <a:rPr lang="de-CH" sz="1200" dirty="0">
                <a:sym typeface="Wingdings" panose="05000000000000000000" pitchFamily="2" charset="2"/>
              </a:rPr>
              <a:t></a:t>
            </a:r>
            <a:r>
              <a:rPr lang="de-CH" sz="1200" dirty="0"/>
              <a:t> </a:t>
            </a:r>
            <a:r>
              <a:rPr lang="de-CH" sz="1200" dirty="0" err="1"/>
              <a:t>slide</a:t>
            </a:r>
            <a:r>
              <a:rPr lang="de-CH" sz="1200" dirty="0"/>
              <a:t> 19)</a:t>
            </a:r>
            <a:endParaRPr lang="de-CH" sz="1200" dirty="0">
              <a:ea typeface="Roboto Medium" panose="02000000000000000000" pitchFamily="2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de-CH" sz="1600" b="1" dirty="0"/>
          </a:p>
        </p:txBody>
      </p: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F7037EE0-8BFC-4A8B-9D13-CC5EEF5CDF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07061" y="1574004"/>
            <a:ext cx="4753565" cy="358775"/>
          </a:xfrm>
        </p:spPr>
        <p:txBody>
          <a:bodyPr/>
          <a:lstStyle/>
          <a:p>
            <a:r>
              <a:rPr lang="de-CH" dirty="0"/>
              <a:t>Pro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45D21EE0-5605-474A-AAE7-6691FDA03809}"/>
              </a:ext>
            </a:extLst>
          </p:cNvPr>
          <p:cNvSpPr txBox="1">
            <a:spLocks/>
          </p:cNvSpPr>
          <p:nvPr/>
        </p:nvSpPr>
        <p:spPr>
          <a:xfrm>
            <a:off x="7107061" y="4075100"/>
            <a:ext cx="4742955" cy="35877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marL="0" indent="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 err="1"/>
              <a:t>Con</a:t>
            </a:r>
            <a:endParaRPr lang="de-CH" dirty="0"/>
          </a:p>
        </p:txBody>
      </p:sp>
      <p:pic>
        <p:nvPicPr>
          <p:cNvPr id="28" name="Grafik 27" descr="Marke folgen mit einfarbiger Füllung">
            <a:extLst>
              <a:ext uri="{FF2B5EF4-FFF2-40B4-BE49-F238E27FC236}">
                <a16:creationId xmlns:a16="http://schemas.microsoft.com/office/drawing/2014/main" id="{9863797A-15DC-4F70-9809-00461D6428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88152" y="1481893"/>
            <a:ext cx="542995" cy="542995"/>
          </a:xfrm>
          <a:prstGeom prst="rect">
            <a:avLst/>
          </a:prstGeom>
        </p:spPr>
      </p:pic>
      <p:pic>
        <p:nvPicPr>
          <p:cNvPr id="29" name="Grafik 28" descr="Markee nicht mehr folgen mit einfarbiger Füllung">
            <a:extLst>
              <a:ext uri="{FF2B5EF4-FFF2-40B4-BE49-F238E27FC236}">
                <a16:creationId xmlns:a16="http://schemas.microsoft.com/office/drawing/2014/main" id="{D9A460B3-49D6-4E39-B4C7-2EAC27252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96050" y="3982989"/>
            <a:ext cx="542995" cy="542995"/>
          </a:xfrm>
          <a:prstGeom prst="rect">
            <a:avLst/>
          </a:prstGeom>
        </p:spPr>
      </p:pic>
      <p:sp>
        <p:nvSpPr>
          <p:cNvPr id="30" name="Inhaltsplatzhalter 15">
            <a:extLst>
              <a:ext uri="{FF2B5EF4-FFF2-40B4-BE49-F238E27FC236}">
                <a16:creationId xmlns:a16="http://schemas.microsoft.com/office/drawing/2014/main" id="{C870E03D-E377-48DC-A97F-3F30596E18C1}"/>
              </a:ext>
            </a:extLst>
          </p:cNvPr>
          <p:cNvSpPr txBox="1">
            <a:spLocks/>
          </p:cNvSpPr>
          <p:nvPr/>
        </p:nvSpPr>
        <p:spPr>
          <a:xfrm>
            <a:off x="6495637" y="4685508"/>
            <a:ext cx="5364163" cy="174899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Low </a:t>
            </a:r>
            <a:r>
              <a:rPr lang="de-CH" sz="1400" dirty="0" err="1">
                <a:ea typeface="Roboto Medium" panose="02000000000000000000" pitchFamily="2" charset="0"/>
              </a:rPr>
              <a:t>adoption</a:t>
            </a:r>
            <a:r>
              <a:rPr lang="de-CH" sz="1400" dirty="0">
                <a:ea typeface="Roboto Medium" panose="02000000000000000000" pitchFamily="2" charset="0"/>
              </a:rPr>
              <a:t> rate so </a:t>
            </a:r>
            <a:r>
              <a:rPr lang="de-CH" sz="1400" dirty="0" err="1">
                <a:ea typeface="Roboto Medium" panose="02000000000000000000" pitchFamily="2" charset="0"/>
              </a:rPr>
              <a:t>far</a:t>
            </a:r>
            <a:r>
              <a:rPr lang="de-CH" sz="1400" dirty="0">
                <a:ea typeface="Roboto Medium" panose="02000000000000000000" pitchFamily="2" charset="0"/>
              </a:rPr>
              <a:t> – </a:t>
            </a:r>
            <a:r>
              <a:rPr lang="de-CH" sz="1400" dirty="0" err="1">
                <a:ea typeface="Roboto Medium" panose="02000000000000000000" pitchFamily="2" charset="0"/>
              </a:rPr>
              <a:t>businesses</a:t>
            </a:r>
            <a:r>
              <a:rPr lang="de-CH" sz="1400" dirty="0">
                <a:ea typeface="Roboto Medium" panose="02000000000000000000" pitchFamily="2" charset="0"/>
              </a:rPr>
              <a:t> and </a:t>
            </a:r>
            <a:r>
              <a:rPr lang="de-CH" sz="1400" dirty="0" err="1">
                <a:ea typeface="Roboto Medium" panose="02000000000000000000" pitchFamily="2" charset="0"/>
              </a:rPr>
              <a:t>woul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nee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onvinc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ha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fer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ireles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harg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is</a:t>
            </a:r>
            <a:r>
              <a:rPr lang="de-CH" sz="1400" dirty="0">
                <a:ea typeface="Roboto Medium" panose="02000000000000000000" pitchFamily="2" charset="0"/>
              </a:rPr>
              <a:t> a </a:t>
            </a:r>
            <a:r>
              <a:rPr lang="de-CH" sz="1400" dirty="0" err="1">
                <a:ea typeface="Roboto Medium" panose="02000000000000000000" pitchFamily="2" charset="0"/>
              </a:rPr>
              <a:t>goo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idea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Customer pool </a:t>
            </a:r>
            <a:r>
              <a:rPr lang="de-CH" sz="1400" dirty="0" err="1">
                <a:ea typeface="Roboto Medium" panose="02000000000000000000" pitchFamily="2" charset="0"/>
              </a:rPr>
              <a:t>i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very</a:t>
            </a:r>
            <a:r>
              <a:rPr lang="de-CH" sz="1400" dirty="0">
                <a:ea typeface="Roboto Medium" panose="02000000000000000000" pitchFamily="2" charset="0"/>
              </a:rPr>
              <a:t> limited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High </a:t>
            </a:r>
            <a:r>
              <a:rPr lang="de-CH" sz="1400" dirty="0" err="1">
                <a:ea typeface="Roboto Medium" panose="02000000000000000000" pitchFamily="2" charset="0"/>
              </a:rPr>
              <a:t>custom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expectation</a:t>
            </a:r>
            <a:r>
              <a:rPr lang="de-CH" sz="1400" dirty="0">
                <a:ea typeface="Roboto Medium" panose="02000000000000000000" pitchFamily="2" charset="0"/>
              </a:rPr>
              <a:t> on </a:t>
            </a:r>
            <a:r>
              <a:rPr lang="de-CH" sz="1400" dirty="0" err="1">
                <a:ea typeface="Roboto Medium" panose="02000000000000000000" pitchFamily="2" charset="0"/>
              </a:rPr>
              <a:t>quality</a:t>
            </a:r>
            <a:r>
              <a:rPr lang="de-CH" sz="1400" dirty="0">
                <a:ea typeface="Roboto Medium" panose="02000000000000000000" pitchFamily="2" charset="0"/>
              </a:rPr>
              <a:t>, </a:t>
            </a:r>
            <a:r>
              <a:rPr lang="de-CH" sz="1400" dirty="0" err="1">
                <a:ea typeface="Roboto Medium" panose="02000000000000000000" pitchFamily="2" charset="0"/>
              </a:rPr>
              <a:t>cost</a:t>
            </a:r>
            <a:r>
              <a:rPr lang="de-CH" sz="1400" dirty="0">
                <a:ea typeface="Roboto Medium" panose="02000000000000000000" pitchFamily="2" charset="0"/>
              </a:rPr>
              <a:t>, and </a:t>
            </a:r>
            <a:r>
              <a:rPr lang="de-CH" sz="1400" dirty="0" err="1">
                <a:ea typeface="Roboto Medium" panose="02000000000000000000" pitchFamily="2" charset="0"/>
              </a:rPr>
              <a:t>service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Requir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reating</a:t>
            </a:r>
            <a:r>
              <a:rPr lang="de-CH" sz="1400" dirty="0">
                <a:ea typeface="Roboto Medium" panose="02000000000000000000" pitchFamily="2" charset="0"/>
              </a:rPr>
              <a:t> after </a:t>
            </a:r>
            <a:r>
              <a:rPr lang="de-CH" sz="1400" dirty="0" err="1">
                <a:ea typeface="Roboto Medium" panose="02000000000000000000" pitchFamily="2" charset="0"/>
              </a:rPr>
              <a:t>sal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service</a:t>
            </a: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31" name="Inhaltsplatzhalter 15">
            <a:extLst>
              <a:ext uri="{FF2B5EF4-FFF2-40B4-BE49-F238E27FC236}">
                <a16:creationId xmlns:a16="http://schemas.microsoft.com/office/drawing/2014/main" id="{1F5833A7-7460-4F87-8295-CD81701A09BC}"/>
              </a:ext>
            </a:extLst>
          </p:cNvPr>
          <p:cNvSpPr txBox="1">
            <a:spLocks/>
          </p:cNvSpPr>
          <p:nvPr/>
        </p:nvSpPr>
        <p:spPr>
          <a:xfrm>
            <a:off x="6497637" y="2077890"/>
            <a:ext cx="5364163" cy="1742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Efficiency in </a:t>
            </a:r>
            <a:r>
              <a:rPr lang="de-CH" sz="1400" dirty="0" err="1">
                <a:ea typeface="Roboto Medium" panose="02000000000000000000" pitchFamily="2" charset="0"/>
              </a:rPr>
              <a:t>communication</a:t>
            </a:r>
            <a:r>
              <a:rPr lang="de-CH" sz="1400" dirty="0">
                <a:ea typeface="Roboto Medium" panose="02000000000000000000" pitchFamily="2" charset="0"/>
              </a:rPr>
              <a:t> and </a:t>
            </a:r>
            <a:r>
              <a:rPr lang="de-CH" sz="1400" dirty="0" err="1">
                <a:ea typeface="Roboto Medium" panose="02000000000000000000" pitchFamily="2" charset="0"/>
              </a:rPr>
              <a:t>distribution</a:t>
            </a:r>
            <a:r>
              <a:rPr lang="de-CH" sz="1400" dirty="0">
                <a:ea typeface="Roboto Medium" panose="02000000000000000000" pitchFamily="2" charset="0"/>
              </a:rPr>
              <a:t> – </a:t>
            </a:r>
            <a:r>
              <a:rPr lang="de-CH" sz="1400" dirty="0" err="1">
                <a:ea typeface="Roboto Medium" panose="02000000000000000000" pitchFamily="2" charset="0"/>
              </a:rPr>
              <a:t>low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numb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ustomers</a:t>
            </a:r>
            <a:r>
              <a:rPr lang="de-CH" sz="1400" dirty="0">
                <a:ea typeface="Roboto Medium" panose="02000000000000000000" pitchFamily="2" charset="0"/>
              </a:rPr>
              <a:t>, </a:t>
            </a:r>
            <a:r>
              <a:rPr lang="de-CH" sz="1400" dirty="0" err="1">
                <a:ea typeface="Roboto Medium" panose="02000000000000000000" pitchFamily="2" charset="0"/>
              </a:rPr>
              <a:t>each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ustom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ith</a:t>
            </a:r>
            <a:r>
              <a:rPr lang="de-CH" sz="1400" dirty="0">
                <a:ea typeface="Roboto Medium" panose="02000000000000000000" pitchFamily="2" charset="0"/>
              </a:rPr>
              <a:t> a </a:t>
            </a:r>
            <a:r>
              <a:rPr lang="de-CH" sz="1400" dirty="0" err="1">
                <a:ea typeface="Roboto Medium" panose="02000000000000000000" pitchFamily="2" charset="0"/>
              </a:rPr>
              <a:t>deman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otentially</a:t>
            </a:r>
            <a:r>
              <a:rPr lang="de-CH" sz="1400" dirty="0">
                <a:ea typeface="Roboto Medium" panose="02000000000000000000" pitchFamily="2" charset="0"/>
              </a:rPr>
              <a:t> double </a:t>
            </a:r>
            <a:r>
              <a:rPr lang="de-CH" sz="1400" dirty="0" err="1">
                <a:ea typeface="Roboto Medium" panose="02000000000000000000" pitchFamily="2" charset="0"/>
              </a:rPr>
              <a:t>digi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nubm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units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W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have</a:t>
            </a:r>
            <a:r>
              <a:rPr lang="de-CH" sz="1400" dirty="0">
                <a:ea typeface="Roboto Medium" panose="02000000000000000000" pitchFamily="2" charset="0"/>
              </a:rPr>
              <a:t> an </a:t>
            </a:r>
            <a:r>
              <a:rPr lang="de-CH" sz="1400" dirty="0" err="1">
                <a:ea typeface="Roboto Medium" panose="02000000000000000000" pitchFamily="2" charset="0"/>
              </a:rPr>
              <a:t>establishe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relationship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ith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industry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artner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OST</a:t>
            </a:r>
          </a:p>
        </p:txBody>
      </p:sp>
    </p:spTree>
    <p:extLst>
      <p:ext uri="{BB962C8B-B14F-4D97-AF65-F5344CB8AC3E}">
        <p14:creationId xmlns:p14="http://schemas.microsoft.com/office/powerpoint/2010/main" val="6767978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F7BD645-EBEF-434C-A149-D9384CBB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6231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F7BD645-EBEF-434C-A149-D9384CBB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8C3C17E-F4BC-4BC0-A945-6D0BE5678C8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CEDB21E-BACD-4707-A249-4ED105F7237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2</a:t>
            </a:fld>
            <a:endParaRPr lang="de-CH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FCF61-FD15-4DDD-8A4A-F60B3EA49CE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target</a:t>
            </a:r>
            <a:r>
              <a:rPr lang="de-CH" dirty="0"/>
              <a:t> </a:t>
            </a:r>
            <a:r>
              <a:rPr lang="de-CH" dirty="0" err="1"/>
              <a:t>segments</a:t>
            </a:r>
            <a:r>
              <a:rPr lang="de-CH" dirty="0"/>
              <a:t>?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33540AA-1669-46A0-8CA0-78D05D9A1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OST </a:t>
            </a:r>
            <a:r>
              <a:rPr lang="de-CH" dirty="0" err="1"/>
              <a:t>students</a:t>
            </a:r>
            <a:r>
              <a:rPr lang="de-CH" dirty="0"/>
              <a:t> and </a:t>
            </a:r>
            <a:r>
              <a:rPr lang="de-CH" dirty="0" err="1"/>
              <a:t>staff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xpect</a:t>
            </a:r>
            <a:r>
              <a:rPr lang="de-CH" dirty="0"/>
              <a:t> </a:t>
            </a:r>
            <a:r>
              <a:rPr lang="de-CH" dirty="0" err="1"/>
              <a:t>reasonable</a:t>
            </a:r>
            <a:r>
              <a:rPr lang="de-CH" dirty="0"/>
              <a:t> </a:t>
            </a:r>
            <a:r>
              <a:rPr lang="de-CH" dirty="0" err="1"/>
              <a:t>quantities</a:t>
            </a:r>
            <a:r>
              <a:rPr lang="de-CH" dirty="0"/>
              <a:t> at moderate </a:t>
            </a:r>
            <a:r>
              <a:rPr lang="de-CH" dirty="0" err="1"/>
              <a:t>effort</a:t>
            </a:r>
            <a:endParaRPr lang="de-CH" dirty="0"/>
          </a:p>
        </p:txBody>
      </p: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37A3039F-B2DD-4E47-901F-B1172704C20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8038" y="1549308"/>
            <a:ext cx="5364576" cy="358775"/>
          </a:xfrm>
        </p:spPr>
        <p:txBody>
          <a:bodyPr/>
          <a:lstStyle/>
          <a:p>
            <a:r>
              <a:rPr lang="de-CH" dirty="0"/>
              <a:t>Segment </a:t>
            </a:r>
            <a:r>
              <a:rPr lang="de-CH" dirty="0" err="1"/>
              <a:t>characteristics</a:t>
            </a:r>
            <a:endParaRPr lang="de-CH" dirty="0"/>
          </a:p>
        </p:txBody>
      </p:sp>
      <p:sp>
        <p:nvSpPr>
          <p:cNvPr id="31" name="Inhaltsplatzhalter 15">
            <a:extLst>
              <a:ext uri="{FF2B5EF4-FFF2-40B4-BE49-F238E27FC236}">
                <a16:creationId xmlns:a16="http://schemas.microsoft.com/office/drawing/2014/main" id="{251EEE42-CD65-4E0A-9C20-106A9DF1EEF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08451" y="2190139"/>
            <a:ext cx="5364163" cy="4128694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CH" sz="1600" dirty="0" err="1"/>
              <a:t>We</a:t>
            </a:r>
            <a:r>
              <a:rPr lang="de-CH" sz="1600" dirty="0"/>
              <a:t> </a:t>
            </a:r>
            <a:r>
              <a:rPr lang="de-CH" sz="1600" dirty="0" err="1"/>
              <a:t>expect</a:t>
            </a:r>
            <a:r>
              <a:rPr lang="de-CH" sz="1600" dirty="0"/>
              <a:t> a potential </a:t>
            </a:r>
            <a:r>
              <a:rPr lang="de-CH" sz="1600" dirty="0" err="1"/>
              <a:t>of</a:t>
            </a:r>
            <a:r>
              <a:rPr lang="de-CH" sz="1600" dirty="0"/>
              <a:t> 600 </a:t>
            </a:r>
            <a:r>
              <a:rPr lang="de-CH" sz="1600" dirty="0" err="1"/>
              <a:t>chargers</a:t>
            </a:r>
            <a:r>
              <a:rPr lang="de-CH" sz="1600" dirty="0"/>
              <a:t> </a:t>
            </a:r>
            <a:r>
              <a:rPr lang="de-CH" sz="1600" dirty="0" err="1"/>
              <a:t>for</a:t>
            </a:r>
            <a:r>
              <a:rPr lang="de-CH" sz="1600" dirty="0"/>
              <a:t> OST </a:t>
            </a:r>
            <a:r>
              <a:rPr lang="de-CH" sz="1600" dirty="0" err="1"/>
              <a:t>students</a:t>
            </a:r>
            <a:r>
              <a:rPr lang="de-CH" sz="1600" dirty="0"/>
              <a:t> and </a:t>
            </a:r>
            <a:r>
              <a:rPr lang="de-CH" sz="1600" dirty="0" err="1"/>
              <a:t>staff</a:t>
            </a:r>
            <a:r>
              <a:rPr lang="de-CH" sz="1600" dirty="0"/>
              <a:t> </a:t>
            </a:r>
            <a:r>
              <a:rPr lang="de-CH" sz="1600" dirty="0" err="1"/>
              <a:t>next</a:t>
            </a:r>
            <a:r>
              <a:rPr lang="de-CH" sz="1600" dirty="0"/>
              <a:t> </a:t>
            </a:r>
            <a:r>
              <a:rPr lang="de-CH" sz="1600" dirty="0" err="1"/>
              <a:t>year</a:t>
            </a:r>
            <a:r>
              <a:rPr lang="de-CH" sz="1600" dirty="0"/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CH" sz="1600" dirty="0" err="1">
                <a:ea typeface="Roboto Medium" panose="02000000000000000000" pitchFamily="2" charset="0"/>
              </a:rPr>
              <a:t>Assuming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w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take</a:t>
            </a:r>
            <a:r>
              <a:rPr lang="de-CH" sz="1600" dirty="0">
                <a:ea typeface="Roboto Medium" panose="02000000000000000000" pitchFamily="2" charset="0"/>
              </a:rPr>
              <a:t> 30% and </a:t>
            </a:r>
            <a:r>
              <a:rPr lang="de-CH" sz="1600" dirty="0" err="1">
                <a:ea typeface="Roboto Medium" panose="02000000000000000000" pitchFamily="2" charset="0"/>
              </a:rPr>
              <a:t>demand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stays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constant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we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could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sell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200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chargers</a:t>
            </a:r>
            <a:r>
              <a:rPr lang="de-CH" sz="1600" b="1" dirty="0">
                <a:solidFill>
                  <a:schemeClr val="tx2"/>
                </a:solidFill>
                <a:ea typeface="Roboto Medium" panose="02000000000000000000" pitchFamily="2" charset="0"/>
              </a:rPr>
              <a:t> per </a:t>
            </a:r>
            <a:r>
              <a:rPr lang="de-CH" sz="16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year</a:t>
            </a:r>
            <a:r>
              <a:rPr lang="de-CH" sz="1600" dirty="0">
                <a:solidFill>
                  <a:schemeClr val="tx2"/>
                </a:solidFill>
                <a:ea typeface="Roboto Medium" panose="02000000000000000000" pitchFamily="2" charset="0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de-CH" sz="1600" b="1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CH" sz="1200" dirty="0" err="1"/>
              <a:t>Assumptions</a:t>
            </a:r>
            <a:endParaRPr lang="de-CH" sz="12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/>
              <a:t>OST </a:t>
            </a:r>
            <a:r>
              <a:rPr lang="de-CH" sz="1200" dirty="0" err="1"/>
              <a:t>has</a:t>
            </a:r>
            <a:r>
              <a:rPr lang="de-CH" sz="1200" dirty="0"/>
              <a:t> 3800 </a:t>
            </a:r>
            <a:r>
              <a:rPr lang="de-CH" sz="1200" dirty="0" err="1"/>
              <a:t>students</a:t>
            </a:r>
            <a:r>
              <a:rPr lang="de-CH" sz="1200" dirty="0"/>
              <a:t> and 1500 </a:t>
            </a:r>
            <a:r>
              <a:rPr lang="de-CH" sz="1200" dirty="0" err="1"/>
              <a:t>staff</a:t>
            </a:r>
            <a:r>
              <a:rPr lang="de-CH" sz="1200" dirty="0"/>
              <a:t> (OST.ch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/>
              <a:t>97.2% </a:t>
            </a:r>
            <a:r>
              <a:rPr lang="de-CH" sz="1200" dirty="0" err="1"/>
              <a:t>of</a:t>
            </a:r>
            <a:r>
              <a:rPr lang="de-CH" sz="1200" dirty="0"/>
              <a:t> OST </a:t>
            </a:r>
            <a:r>
              <a:rPr lang="de-CH" sz="1200" dirty="0" err="1"/>
              <a:t>students</a:t>
            </a:r>
            <a:r>
              <a:rPr lang="de-CH" sz="1200" dirty="0"/>
              <a:t> and </a:t>
            </a:r>
            <a:r>
              <a:rPr lang="de-CH" sz="1200" dirty="0" err="1"/>
              <a:t>staff</a:t>
            </a:r>
            <a:r>
              <a:rPr lang="de-CH" sz="1200" dirty="0"/>
              <a:t> own a </a:t>
            </a:r>
            <a:r>
              <a:rPr lang="de-CH" sz="1200" dirty="0" err="1"/>
              <a:t>smartphone</a:t>
            </a:r>
            <a:r>
              <a:rPr lang="de-CH" sz="1200" dirty="0"/>
              <a:t> </a:t>
            </a:r>
            <a:br>
              <a:rPr lang="de-CH" sz="1200" dirty="0"/>
            </a:br>
            <a:r>
              <a:rPr lang="de-CH" sz="1200" dirty="0"/>
              <a:t>(</a:t>
            </a:r>
            <a:r>
              <a:rPr lang="de-CH" sz="1200" dirty="0">
                <a:sym typeface="Wingdings" panose="05000000000000000000" pitchFamily="2" charset="2"/>
              </a:rPr>
              <a:t></a:t>
            </a:r>
            <a:r>
              <a:rPr lang="de-CH" sz="1200" dirty="0"/>
              <a:t> </a:t>
            </a:r>
            <a:r>
              <a:rPr lang="de-CH" sz="1200" dirty="0" err="1"/>
              <a:t>slide</a:t>
            </a:r>
            <a:r>
              <a:rPr lang="de-CH" sz="1200" dirty="0"/>
              <a:t> 9)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/>
              <a:t>20% </a:t>
            </a:r>
            <a:r>
              <a:rPr lang="de-CH" sz="1200" dirty="0" err="1"/>
              <a:t>of</a:t>
            </a:r>
            <a:r>
              <a:rPr lang="de-CH" sz="1200" dirty="0"/>
              <a:t> </a:t>
            </a:r>
            <a:r>
              <a:rPr lang="de-CH" sz="1200" dirty="0" err="1"/>
              <a:t>smartphone</a:t>
            </a:r>
            <a:r>
              <a:rPr lang="de-CH" sz="1200" dirty="0"/>
              <a:t> </a:t>
            </a:r>
            <a:r>
              <a:rPr lang="de-CH" sz="1200" dirty="0" err="1"/>
              <a:t>owners</a:t>
            </a:r>
            <a:r>
              <a:rPr lang="de-CH" sz="1200" dirty="0"/>
              <a:t> will </a:t>
            </a:r>
            <a:r>
              <a:rPr lang="de-CH" sz="1200" dirty="0" err="1"/>
              <a:t>buy</a:t>
            </a:r>
            <a:r>
              <a:rPr lang="de-CH" sz="1200" dirty="0"/>
              <a:t> a </a:t>
            </a:r>
            <a:r>
              <a:rPr lang="de-CH" sz="1200" dirty="0" err="1"/>
              <a:t>new</a:t>
            </a:r>
            <a:r>
              <a:rPr lang="de-CH" sz="1200" dirty="0"/>
              <a:t> </a:t>
            </a:r>
            <a:r>
              <a:rPr lang="de-CH" sz="1200" dirty="0" err="1"/>
              <a:t>device</a:t>
            </a:r>
            <a:r>
              <a:rPr lang="de-CH" sz="1200" dirty="0"/>
              <a:t> </a:t>
            </a:r>
            <a:r>
              <a:rPr lang="de-CH" sz="1200" dirty="0" err="1"/>
              <a:t>next</a:t>
            </a:r>
            <a:r>
              <a:rPr lang="de-CH" sz="1200" dirty="0"/>
              <a:t> </a:t>
            </a:r>
            <a:r>
              <a:rPr lang="de-CH" sz="1200" dirty="0" err="1"/>
              <a:t>year</a:t>
            </a:r>
            <a:r>
              <a:rPr lang="de-CH" sz="1200" dirty="0"/>
              <a:t> </a:t>
            </a:r>
            <a:br>
              <a:rPr lang="de-CH" sz="1200" dirty="0"/>
            </a:br>
            <a:r>
              <a:rPr lang="de-CH" sz="1200" dirty="0"/>
              <a:t>(</a:t>
            </a:r>
            <a:r>
              <a:rPr lang="de-CH" sz="1200" dirty="0">
                <a:sym typeface="Wingdings" panose="05000000000000000000" pitchFamily="2" charset="2"/>
              </a:rPr>
              <a:t></a:t>
            </a:r>
            <a:r>
              <a:rPr lang="de-CH" sz="1200" dirty="0"/>
              <a:t> </a:t>
            </a:r>
            <a:r>
              <a:rPr lang="de-CH" sz="1200" dirty="0" err="1"/>
              <a:t>slide</a:t>
            </a:r>
            <a:r>
              <a:rPr lang="de-CH" sz="1200" dirty="0"/>
              <a:t> 11)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CH" sz="1200" dirty="0">
                <a:ea typeface="Roboto Medium" panose="02000000000000000000" pitchFamily="2" charset="0"/>
              </a:rPr>
              <a:t>78% </a:t>
            </a:r>
            <a:r>
              <a:rPr lang="de-CH" sz="1200" dirty="0" err="1">
                <a:ea typeface="Roboto Medium" panose="02000000000000000000" pitchFamily="2" charset="0"/>
              </a:rPr>
              <a:t>of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smartphone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buyers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want</a:t>
            </a:r>
            <a:r>
              <a:rPr lang="de-CH" sz="1200" dirty="0">
                <a:ea typeface="Roboto Medium" panose="02000000000000000000" pitchFamily="2" charset="0"/>
              </a:rPr>
              <a:t> a </a:t>
            </a:r>
            <a:r>
              <a:rPr lang="de-CH" sz="1200" dirty="0" err="1">
                <a:ea typeface="Roboto Medium" panose="02000000000000000000" pitchFamily="2" charset="0"/>
              </a:rPr>
              <a:t>wireless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charger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with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their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next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smartphone</a:t>
            </a:r>
            <a:r>
              <a:rPr lang="de-CH" sz="1200" dirty="0">
                <a:ea typeface="Roboto Medium" panose="02000000000000000000" pitchFamily="2" charset="0"/>
              </a:rPr>
              <a:t> (</a:t>
            </a:r>
            <a:r>
              <a:rPr lang="de-CH" sz="1200" dirty="0">
                <a:ea typeface="Roboto Medium" panose="02000000000000000000" pitchFamily="2" charset="0"/>
                <a:sym typeface="Wingdings" panose="05000000000000000000" pitchFamily="2" charset="2"/>
              </a:rPr>
              <a:t>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slide</a:t>
            </a:r>
            <a:r>
              <a:rPr lang="de-CH" sz="1200" dirty="0">
                <a:ea typeface="Roboto Medium" panose="02000000000000000000" pitchFamily="2" charset="0"/>
              </a:rPr>
              <a:t> 14)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CH" sz="1200" dirty="0">
                <a:ea typeface="Roboto Medium" panose="02000000000000000000" pitchFamily="2" charset="0"/>
              </a:rPr>
              <a:t>20% </a:t>
            </a:r>
            <a:r>
              <a:rPr lang="de-CH" sz="1200" dirty="0" err="1">
                <a:ea typeface="Roboto Medium" panose="02000000000000000000" pitchFamily="2" charset="0"/>
              </a:rPr>
              <a:t>of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smartphone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buyers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already</a:t>
            </a:r>
            <a:r>
              <a:rPr lang="de-CH" sz="1200" dirty="0">
                <a:ea typeface="Roboto Medium" panose="02000000000000000000" pitchFamily="2" charset="0"/>
              </a:rPr>
              <a:t> own a </a:t>
            </a:r>
            <a:r>
              <a:rPr lang="de-CH" sz="1200" dirty="0" err="1">
                <a:ea typeface="Roboto Medium" panose="02000000000000000000" pitchFamily="2" charset="0"/>
              </a:rPr>
              <a:t>wireless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charger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br>
              <a:rPr lang="de-CH" sz="1200" dirty="0">
                <a:ea typeface="Roboto Medium" panose="02000000000000000000" pitchFamily="2" charset="0"/>
              </a:rPr>
            </a:br>
            <a:r>
              <a:rPr lang="de-CH" sz="1200" dirty="0">
                <a:ea typeface="Roboto Medium" panose="02000000000000000000" pitchFamily="2" charset="0"/>
              </a:rPr>
              <a:t>(</a:t>
            </a:r>
            <a:r>
              <a:rPr lang="de-CH" sz="1200" dirty="0">
                <a:ea typeface="Roboto Medium" panose="02000000000000000000" pitchFamily="2" charset="0"/>
                <a:sym typeface="Wingdings" panose="05000000000000000000" pitchFamily="2" charset="2"/>
              </a:rPr>
              <a:t></a:t>
            </a:r>
            <a:r>
              <a:rPr lang="de-CH" sz="1200" dirty="0">
                <a:ea typeface="Roboto Medium" panose="02000000000000000000" pitchFamily="2" charset="0"/>
              </a:rPr>
              <a:t> </a:t>
            </a:r>
            <a:r>
              <a:rPr lang="de-CH" sz="1200" dirty="0" err="1">
                <a:ea typeface="Roboto Medium" panose="02000000000000000000" pitchFamily="2" charset="0"/>
              </a:rPr>
              <a:t>slide</a:t>
            </a:r>
            <a:r>
              <a:rPr lang="de-CH" sz="1200" dirty="0">
                <a:ea typeface="Roboto Medium" panose="02000000000000000000" pitchFamily="2" charset="0"/>
              </a:rPr>
              <a:t> 15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de-CH" sz="13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CH" sz="1600" dirty="0"/>
          </a:p>
        </p:txBody>
      </p:sp>
      <p:sp>
        <p:nvSpPr>
          <p:cNvPr id="32" name="Textplatzhalter 13">
            <a:extLst>
              <a:ext uri="{FF2B5EF4-FFF2-40B4-BE49-F238E27FC236}">
                <a16:creationId xmlns:a16="http://schemas.microsoft.com/office/drawing/2014/main" id="{C9886488-7C37-47B2-B455-3FD41A99ED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07061" y="1574004"/>
            <a:ext cx="4753565" cy="358775"/>
          </a:xfrm>
        </p:spPr>
        <p:txBody>
          <a:bodyPr/>
          <a:lstStyle/>
          <a:p>
            <a:r>
              <a:rPr lang="de-CH" dirty="0"/>
              <a:t>Pro</a:t>
            </a:r>
          </a:p>
        </p:txBody>
      </p:sp>
      <p:sp>
        <p:nvSpPr>
          <p:cNvPr id="33" name="Textplatzhalter 13">
            <a:extLst>
              <a:ext uri="{FF2B5EF4-FFF2-40B4-BE49-F238E27FC236}">
                <a16:creationId xmlns:a16="http://schemas.microsoft.com/office/drawing/2014/main" id="{00CA2AE2-392B-4059-8454-E0FF710F8F16}"/>
              </a:ext>
            </a:extLst>
          </p:cNvPr>
          <p:cNvSpPr txBox="1">
            <a:spLocks/>
          </p:cNvSpPr>
          <p:nvPr/>
        </p:nvSpPr>
        <p:spPr>
          <a:xfrm>
            <a:off x="7107061" y="4075100"/>
            <a:ext cx="4742955" cy="35877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marL="0" indent="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 err="1"/>
              <a:t>Con</a:t>
            </a:r>
            <a:endParaRPr lang="de-CH" dirty="0"/>
          </a:p>
        </p:txBody>
      </p:sp>
      <p:pic>
        <p:nvPicPr>
          <p:cNvPr id="34" name="Grafik 33" descr="Marke folgen mit einfarbiger Füllung">
            <a:extLst>
              <a:ext uri="{FF2B5EF4-FFF2-40B4-BE49-F238E27FC236}">
                <a16:creationId xmlns:a16="http://schemas.microsoft.com/office/drawing/2014/main" id="{27E0714B-0D49-4607-909B-F377E50B02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88152" y="1481893"/>
            <a:ext cx="542995" cy="542995"/>
          </a:xfrm>
          <a:prstGeom prst="rect">
            <a:avLst/>
          </a:prstGeom>
        </p:spPr>
      </p:pic>
      <p:pic>
        <p:nvPicPr>
          <p:cNvPr id="35" name="Grafik 34" descr="Markee nicht mehr folgen mit einfarbiger Füllung">
            <a:extLst>
              <a:ext uri="{FF2B5EF4-FFF2-40B4-BE49-F238E27FC236}">
                <a16:creationId xmlns:a16="http://schemas.microsoft.com/office/drawing/2014/main" id="{45D668C4-A068-425E-8215-AA57C25F2C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96050" y="3982989"/>
            <a:ext cx="542995" cy="542995"/>
          </a:xfrm>
          <a:prstGeom prst="rect">
            <a:avLst/>
          </a:prstGeom>
        </p:spPr>
      </p:pic>
      <p:sp>
        <p:nvSpPr>
          <p:cNvPr id="36" name="Inhaltsplatzhalter 15">
            <a:extLst>
              <a:ext uri="{FF2B5EF4-FFF2-40B4-BE49-F238E27FC236}">
                <a16:creationId xmlns:a16="http://schemas.microsoft.com/office/drawing/2014/main" id="{CD07BF33-D8DC-4B1C-8E1A-983F64885C9C}"/>
              </a:ext>
            </a:extLst>
          </p:cNvPr>
          <p:cNvSpPr txBox="1">
            <a:spLocks/>
          </p:cNvSpPr>
          <p:nvPr/>
        </p:nvSpPr>
        <p:spPr>
          <a:xfrm>
            <a:off x="6495637" y="4685508"/>
            <a:ext cx="5364163" cy="174899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Small </a:t>
            </a:r>
            <a:r>
              <a:rPr lang="de-CH" sz="1400" dirty="0" err="1">
                <a:ea typeface="Roboto Medium" panose="02000000000000000000" pitchFamily="2" charset="0"/>
              </a:rPr>
              <a:t>market</a:t>
            </a: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37" name="Inhaltsplatzhalter 15">
            <a:extLst>
              <a:ext uri="{FF2B5EF4-FFF2-40B4-BE49-F238E27FC236}">
                <a16:creationId xmlns:a16="http://schemas.microsoft.com/office/drawing/2014/main" id="{06DA1DA0-0E1F-4E1A-B98A-5BF8DBC62A0E}"/>
              </a:ext>
            </a:extLst>
          </p:cNvPr>
          <p:cNvSpPr txBox="1">
            <a:spLocks/>
          </p:cNvSpPr>
          <p:nvPr/>
        </p:nvSpPr>
        <p:spPr>
          <a:xfrm>
            <a:off x="6497637" y="2077890"/>
            <a:ext cx="5364163" cy="1742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Identification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students</a:t>
            </a:r>
            <a:r>
              <a:rPr lang="de-CH" sz="1400" dirty="0">
                <a:ea typeface="Roboto Medium" panose="02000000000000000000" pitchFamily="2" charset="0"/>
              </a:rPr>
              <a:t> and </a:t>
            </a:r>
            <a:r>
              <a:rPr lang="de-CH" sz="1400" dirty="0" err="1">
                <a:ea typeface="Roboto Medium" panose="02000000000000000000" pitchFamily="2" charset="0"/>
              </a:rPr>
              <a:t>staff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with</a:t>
            </a:r>
            <a:r>
              <a:rPr lang="de-CH" sz="1400" dirty="0">
                <a:ea typeface="Roboto Medium" panose="02000000000000000000" pitchFamily="2" charset="0"/>
              </a:rPr>
              <a:t> OS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Simple </a:t>
            </a:r>
            <a:r>
              <a:rPr lang="de-CH" sz="1400" dirty="0" err="1">
                <a:ea typeface="Roboto Medium" panose="02000000000000000000" pitchFamily="2" charset="0"/>
              </a:rPr>
              <a:t>communication</a:t>
            </a:r>
            <a:r>
              <a:rPr lang="de-CH" sz="1400" dirty="0">
                <a:ea typeface="Roboto Medium" panose="02000000000000000000" pitchFamily="2" charset="0"/>
              </a:rPr>
              <a:t> and </a:t>
            </a:r>
            <a:r>
              <a:rPr lang="de-CH" sz="1400" dirty="0" err="1">
                <a:ea typeface="Roboto Medium" panose="02000000000000000000" pitchFamily="2" charset="0"/>
              </a:rPr>
              <a:t>distribution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As an OST-internal </a:t>
            </a:r>
            <a:r>
              <a:rPr lang="de-CH" sz="1400" dirty="0" err="1">
                <a:ea typeface="Roboto Medium" panose="02000000000000000000" pitchFamily="2" charset="0"/>
              </a:rPr>
              <a:t>product</a:t>
            </a:r>
            <a:r>
              <a:rPr lang="de-CH" sz="1400" dirty="0">
                <a:ea typeface="Roboto Medium" panose="02000000000000000000" pitchFamily="2" charset="0"/>
              </a:rPr>
              <a:t>, </a:t>
            </a:r>
            <a:r>
              <a:rPr lang="de-CH" sz="1400" dirty="0" err="1">
                <a:ea typeface="Roboto Medium" panose="02000000000000000000" pitchFamily="2" charset="0"/>
              </a:rPr>
              <a:t>servic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expectation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ar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lower</a:t>
            </a:r>
            <a:endParaRPr lang="de-CH" sz="14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710948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F7BD645-EBEF-434C-A149-D9384CBB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783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F7BD645-EBEF-434C-A149-D9384CBB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8C3C17E-F4BC-4BC0-A945-6D0BE5678C8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CEDB21E-BACD-4707-A249-4ED105F7237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3</a:t>
            </a:fld>
            <a:endParaRPr lang="de-CH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FCF61-FD15-4DDD-8A4A-F60B3EA49CE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target</a:t>
            </a:r>
            <a:r>
              <a:rPr lang="de-CH" dirty="0"/>
              <a:t> </a:t>
            </a:r>
            <a:r>
              <a:rPr lang="de-CH" dirty="0" err="1"/>
              <a:t>segments</a:t>
            </a:r>
            <a:r>
              <a:rPr lang="de-CH" dirty="0"/>
              <a:t>?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33540AA-1669-46A0-8CA0-78D05D9A1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OST </a:t>
            </a:r>
            <a:r>
              <a:rPr lang="de-CH" dirty="0" err="1"/>
              <a:t>merchandise</a:t>
            </a:r>
            <a:r>
              <a:rPr lang="de-CH" dirty="0"/>
              <a:t>: </a:t>
            </a:r>
            <a:r>
              <a:rPr lang="de-CH" dirty="0" err="1"/>
              <a:t>good</a:t>
            </a:r>
            <a:r>
              <a:rPr lang="de-CH" dirty="0"/>
              <a:t> fit </a:t>
            </a:r>
            <a:r>
              <a:rPr lang="de-CH" dirty="0" err="1"/>
              <a:t>for</a:t>
            </a:r>
            <a:r>
              <a:rPr lang="de-CH" dirty="0"/>
              <a:t> a premium </a:t>
            </a:r>
            <a:r>
              <a:rPr lang="de-CH" dirty="0" err="1"/>
              <a:t>merchandise</a:t>
            </a:r>
            <a:r>
              <a:rPr lang="de-CH" dirty="0"/>
              <a:t>, </a:t>
            </a:r>
            <a:br>
              <a:rPr lang="de-CH" dirty="0"/>
            </a:b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xpect</a:t>
            </a:r>
            <a:r>
              <a:rPr lang="de-CH" dirty="0"/>
              <a:t> </a:t>
            </a:r>
            <a:r>
              <a:rPr lang="de-CH" dirty="0" err="1"/>
              <a:t>reasonable</a:t>
            </a:r>
            <a:r>
              <a:rPr lang="de-CH" dirty="0"/>
              <a:t> </a:t>
            </a:r>
            <a:r>
              <a:rPr lang="de-CH" dirty="0" err="1"/>
              <a:t>quantities</a:t>
            </a:r>
            <a:endParaRPr lang="de-CH" dirty="0"/>
          </a:p>
        </p:txBody>
      </p:sp>
      <p:sp>
        <p:nvSpPr>
          <p:cNvPr id="32" name="Textplatzhalter 12">
            <a:extLst>
              <a:ext uri="{FF2B5EF4-FFF2-40B4-BE49-F238E27FC236}">
                <a16:creationId xmlns:a16="http://schemas.microsoft.com/office/drawing/2014/main" id="{E98FE583-5F5F-45AE-B3D4-80F34E286C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8038" y="1549308"/>
            <a:ext cx="5364576" cy="358775"/>
          </a:xfrm>
        </p:spPr>
        <p:txBody>
          <a:bodyPr/>
          <a:lstStyle/>
          <a:p>
            <a:r>
              <a:rPr lang="de-CH" dirty="0"/>
              <a:t>Segment </a:t>
            </a:r>
            <a:r>
              <a:rPr lang="de-CH" dirty="0" err="1"/>
              <a:t>characteristics</a:t>
            </a:r>
            <a:endParaRPr lang="de-CH" dirty="0"/>
          </a:p>
        </p:txBody>
      </p:sp>
      <p:sp>
        <p:nvSpPr>
          <p:cNvPr id="33" name="Inhaltsplatzhalter 15">
            <a:extLst>
              <a:ext uri="{FF2B5EF4-FFF2-40B4-BE49-F238E27FC236}">
                <a16:creationId xmlns:a16="http://schemas.microsoft.com/office/drawing/2014/main" id="{D330E464-EC21-4914-AD47-2E5AC1A908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08451" y="2190139"/>
            <a:ext cx="5364163" cy="4128694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CH" sz="1600" b="1" dirty="0" err="1">
                <a:solidFill>
                  <a:schemeClr val="tx2"/>
                </a:solidFill>
              </a:rPr>
              <a:t>We</a:t>
            </a:r>
            <a:r>
              <a:rPr lang="de-CH" sz="1600" b="1" dirty="0">
                <a:solidFill>
                  <a:schemeClr val="tx2"/>
                </a:solidFill>
              </a:rPr>
              <a:t> </a:t>
            </a:r>
            <a:r>
              <a:rPr lang="de-CH" sz="1600" b="1" dirty="0" err="1">
                <a:solidFill>
                  <a:schemeClr val="tx2"/>
                </a:solidFill>
              </a:rPr>
              <a:t>expect</a:t>
            </a:r>
            <a:r>
              <a:rPr lang="de-CH" sz="1600" b="1" dirty="0">
                <a:solidFill>
                  <a:schemeClr val="tx2"/>
                </a:solidFill>
              </a:rPr>
              <a:t> </a:t>
            </a:r>
            <a:r>
              <a:rPr lang="de-CH" sz="1600" b="1" dirty="0" err="1">
                <a:solidFill>
                  <a:schemeClr val="tx2"/>
                </a:solidFill>
              </a:rPr>
              <a:t>we</a:t>
            </a:r>
            <a:r>
              <a:rPr lang="de-CH" sz="1600" b="1" dirty="0">
                <a:solidFill>
                  <a:schemeClr val="tx2"/>
                </a:solidFill>
              </a:rPr>
              <a:t> </a:t>
            </a:r>
            <a:r>
              <a:rPr lang="de-CH" sz="1600" b="1" dirty="0" err="1">
                <a:solidFill>
                  <a:schemeClr val="tx2"/>
                </a:solidFill>
              </a:rPr>
              <a:t>could</a:t>
            </a:r>
            <a:r>
              <a:rPr lang="de-CH" sz="1600" b="1" dirty="0">
                <a:solidFill>
                  <a:schemeClr val="tx2"/>
                </a:solidFill>
              </a:rPr>
              <a:t> </a:t>
            </a:r>
            <a:r>
              <a:rPr lang="de-CH" sz="1600" b="1" dirty="0" err="1">
                <a:solidFill>
                  <a:schemeClr val="tx2"/>
                </a:solidFill>
              </a:rPr>
              <a:t>use</a:t>
            </a:r>
            <a:r>
              <a:rPr lang="de-CH" sz="1600" b="1" dirty="0">
                <a:solidFill>
                  <a:schemeClr val="tx2"/>
                </a:solidFill>
              </a:rPr>
              <a:t> 300 </a:t>
            </a:r>
            <a:r>
              <a:rPr lang="de-CH" sz="1600" b="1" dirty="0" err="1">
                <a:solidFill>
                  <a:schemeClr val="tx2"/>
                </a:solidFill>
              </a:rPr>
              <a:t>chargers</a:t>
            </a:r>
            <a:r>
              <a:rPr lang="de-CH" sz="1600" b="1" dirty="0">
                <a:solidFill>
                  <a:schemeClr val="tx2"/>
                </a:solidFill>
              </a:rPr>
              <a:t> per </a:t>
            </a:r>
            <a:r>
              <a:rPr lang="de-CH" sz="1600" b="1" dirty="0" err="1">
                <a:solidFill>
                  <a:schemeClr val="tx2"/>
                </a:solidFill>
              </a:rPr>
              <a:t>year</a:t>
            </a:r>
            <a:r>
              <a:rPr lang="de-CH" sz="1600" b="1" dirty="0">
                <a:solidFill>
                  <a:schemeClr val="tx2"/>
                </a:solidFill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de-CH" sz="16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CH" sz="1200" dirty="0" err="1"/>
              <a:t>Assumptions</a:t>
            </a:r>
            <a:r>
              <a:rPr lang="de-CH" sz="1200" dirty="0"/>
              <a:t>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/>
              <a:t>Due </a:t>
            </a:r>
            <a:r>
              <a:rPr lang="de-CH" sz="1200" dirty="0" err="1"/>
              <a:t>to</a:t>
            </a:r>
            <a:r>
              <a:rPr lang="de-CH" sz="1200" dirty="0"/>
              <a:t> </a:t>
            </a:r>
            <a:r>
              <a:rPr lang="de-CH" sz="1200" dirty="0" err="1"/>
              <a:t>its</a:t>
            </a:r>
            <a:r>
              <a:rPr lang="de-CH" sz="1200" dirty="0"/>
              <a:t> </a:t>
            </a:r>
            <a:r>
              <a:rPr lang="de-CH" sz="1200" dirty="0" err="1"/>
              <a:t>cost</a:t>
            </a:r>
            <a:r>
              <a:rPr lang="de-CH" sz="1200" dirty="0"/>
              <a:t>, </a:t>
            </a:r>
            <a:r>
              <a:rPr lang="de-CH" sz="1200" dirty="0" err="1"/>
              <a:t>the</a:t>
            </a:r>
            <a:r>
              <a:rPr lang="de-CH" sz="1200" dirty="0"/>
              <a:t> Gadget </a:t>
            </a:r>
            <a:r>
              <a:rPr lang="de-CH" sz="1200" dirty="0" err="1"/>
              <a:t>is</a:t>
            </a:r>
            <a:r>
              <a:rPr lang="de-CH" sz="1200" dirty="0"/>
              <a:t> not </a:t>
            </a:r>
            <a:r>
              <a:rPr lang="de-CH" sz="1200" dirty="0" err="1"/>
              <a:t>distributed</a:t>
            </a:r>
            <a:r>
              <a:rPr lang="de-CH" sz="1200" dirty="0"/>
              <a:t> </a:t>
            </a:r>
            <a:r>
              <a:rPr lang="de-CH" sz="1200" dirty="0" err="1"/>
              <a:t>as</a:t>
            </a:r>
            <a:r>
              <a:rPr lang="de-CH" sz="1200" dirty="0"/>
              <a:t> a </a:t>
            </a:r>
            <a:r>
              <a:rPr lang="de-CH" sz="1200" dirty="0" err="1"/>
              <a:t>merchandise</a:t>
            </a:r>
            <a:r>
              <a:rPr lang="de-CH" sz="1200" dirty="0"/>
              <a:t> on </a:t>
            </a:r>
            <a:r>
              <a:rPr lang="de-CH" sz="1200" dirty="0" err="1"/>
              <a:t>fairs</a:t>
            </a:r>
            <a:r>
              <a:rPr lang="de-CH" sz="1200" dirty="0"/>
              <a:t> and </a:t>
            </a:r>
            <a:r>
              <a:rPr lang="de-CH" sz="1200" dirty="0" err="1"/>
              <a:t>events</a:t>
            </a:r>
            <a:endParaRPr lang="de-CH" sz="12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/>
              <a:t>The Gadget </a:t>
            </a:r>
            <a:r>
              <a:rPr lang="de-CH" sz="1200" dirty="0" err="1"/>
              <a:t>is</a:t>
            </a:r>
            <a:r>
              <a:rPr lang="de-CH" sz="1200" dirty="0"/>
              <a:t> </a:t>
            </a:r>
            <a:r>
              <a:rPr lang="de-CH" sz="1200" dirty="0" err="1"/>
              <a:t>used</a:t>
            </a:r>
            <a:r>
              <a:rPr lang="de-CH" sz="1200" dirty="0"/>
              <a:t> </a:t>
            </a:r>
            <a:r>
              <a:rPr lang="de-CH" sz="1200" dirty="0" err="1"/>
              <a:t>as</a:t>
            </a:r>
            <a:r>
              <a:rPr lang="de-CH" sz="1200" dirty="0"/>
              <a:t> a </a:t>
            </a:r>
            <a:r>
              <a:rPr lang="de-CH" sz="1200" dirty="0" err="1"/>
              <a:t>merchandise</a:t>
            </a:r>
            <a:r>
              <a:rPr lang="de-CH" sz="1200" dirty="0"/>
              <a:t> </a:t>
            </a:r>
            <a:r>
              <a:rPr lang="de-CH" sz="1200" dirty="0" err="1"/>
              <a:t>gift</a:t>
            </a:r>
            <a:r>
              <a:rPr lang="de-CH" sz="1200" dirty="0"/>
              <a:t> </a:t>
            </a:r>
            <a:r>
              <a:rPr lang="de-CH" sz="1200" dirty="0" err="1"/>
              <a:t>for</a:t>
            </a:r>
            <a:r>
              <a:rPr lang="de-CH" sz="1200" dirty="0"/>
              <a:t> premium </a:t>
            </a:r>
            <a:r>
              <a:rPr lang="de-CH" sz="1200" dirty="0" err="1"/>
              <a:t>partners</a:t>
            </a:r>
            <a:r>
              <a:rPr lang="de-CH" sz="1200" dirty="0"/>
              <a:t>, </a:t>
            </a:r>
            <a:r>
              <a:rPr lang="de-CH" sz="1200" dirty="0" err="1"/>
              <a:t>assuming</a:t>
            </a:r>
            <a:r>
              <a:rPr lang="de-CH" sz="1200" dirty="0"/>
              <a:t> 50/</a:t>
            </a:r>
            <a:r>
              <a:rPr lang="de-CH" sz="1200" dirty="0" err="1"/>
              <a:t>year</a:t>
            </a:r>
            <a:endParaRPr lang="de-CH" sz="12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200" dirty="0" err="1"/>
              <a:t>Each</a:t>
            </a:r>
            <a:r>
              <a:rPr lang="de-CH" sz="1200" dirty="0"/>
              <a:t> </a:t>
            </a:r>
            <a:r>
              <a:rPr lang="de-CH" sz="1200" dirty="0" err="1"/>
              <a:t>industry</a:t>
            </a:r>
            <a:r>
              <a:rPr lang="de-CH" sz="1200" dirty="0"/>
              <a:t> </a:t>
            </a:r>
            <a:r>
              <a:rPr lang="de-CH" sz="1200" dirty="0" err="1"/>
              <a:t>visitor</a:t>
            </a:r>
            <a:r>
              <a:rPr lang="de-CH" sz="1200" dirty="0"/>
              <a:t> </a:t>
            </a:r>
            <a:r>
              <a:rPr lang="de-CH" sz="1200" dirty="0" err="1"/>
              <a:t>of</a:t>
            </a:r>
            <a:r>
              <a:rPr lang="de-CH" sz="1200" dirty="0"/>
              <a:t> </a:t>
            </a:r>
            <a:r>
              <a:rPr lang="de-CH" sz="1200" dirty="0" err="1"/>
              <a:t>the</a:t>
            </a:r>
            <a:r>
              <a:rPr lang="de-CH" sz="1200" dirty="0"/>
              <a:t> smart </a:t>
            </a:r>
            <a:r>
              <a:rPr lang="de-CH" sz="1200" dirty="0" err="1"/>
              <a:t>factory</a:t>
            </a:r>
            <a:r>
              <a:rPr lang="de-CH" sz="1200" dirty="0"/>
              <a:t> in Buchs </a:t>
            </a:r>
            <a:r>
              <a:rPr lang="de-CH" sz="1200" dirty="0" err="1"/>
              <a:t>or</a:t>
            </a:r>
            <a:r>
              <a:rPr lang="de-CH" sz="1200" dirty="0"/>
              <a:t> Rapperswil </a:t>
            </a:r>
            <a:r>
              <a:rPr lang="de-CH" sz="1200" dirty="0" err="1"/>
              <a:t>receives</a:t>
            </a:r>
            <a:r>
              <a:rPr lang="de-CH" sz="1200" dirty="0"/>
              <a:t> a Gadget, </a:t>
            </a:r>
            <a:r>
              <a:rPr lang="de-CH" sz="1200" dirty="0" err="1"/>
              <a:t>assuming</a:t>
            </a:r>
            <a:r>
              <a:rPr lang="de-CH" sz="1200" dirty="0"/>
              <a:t> 20/</a:t>
            </a:r>
            <a:r>
              <a:rPr lang="de-CH" sz="1200" dirty="0" err="1"/>
              <a:t>month</a:t>
            </a:r>
            <a:endParaRPr lang="de-CH" sz="1200" dirty="0"/>
          </a:p>
        </p:txBody>
      </p:sp>
      <p:sp>
        <p:nvSpPr>
          <p:cNvPr id="34" name="Textplatzhalter 13">
            <a:extLst>
              <a:ext uri="{FF2B5EF4-FFF2-40B4-BE49-F238E27FC236}">
                <a16:creationId xmlns:a16="http://schemas.microsoft.com/office/drawing/2014/main" id="{A04F328A-BD30-4AA0-A652-7C9CA97F856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07061" y="1574004"/>
            <a:ext cx="4753565" cy="358775"/>
          </a:xfrm>
        </p:spPr>
        <p:txBody>
          <a:bodyPr/>
          <a:lstStyle/>
          <a:p>
            <a:r>
              <a:rPr lang="de-CH" dirty="0"/>
              <a:t>Pro</a:t>
            </a:r>
          </a:p>
        </p:txBody>
      </p:sp>
      <p:sp>
        <p:nvSpPr>
          <p:cNvPr id="35" name="Textplatzhalter 13">
            <a:extLst>
              <a:ext uri="{FF2B5EF4-FFF2-40B4-BE49-F238E27FC236}">
                <a16:creationId xmlns:a16="http://schemas.microsoft.com/office/drawing/2014/main" id="{7D77E3DA-0F24-4E71-BEB7-D2EFA0DA7F9F}"/>
              </a:ext>
            </a:extLst>
          </p:cNvPr>
          <p:cNvSpPr txBox="1">
            <a:spLocks/>
          </p:cNvSpPr>
          <p:nvPr/>
        </p:nvSpPr>
        <p:spPr>
          <a:xfrm>
            <a:off x="7107061" y="4075100"/>
            <a:ext cx="4742955" cy="35877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marL="0" indent="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 err="1"/>
              <a:t>Con</a:t>
            </a:r>
            <a:endParaRPr lang="de-CH" dirty="0"/>
          </a:p>
        </p:txBody>
      </p:sp>
      <p:pic>
        <p:nvPicPr>
          <p:cNvPr id="36" name="Grafik 35" descr="Marke folgen mit einfarbiger Füllung">
            <a:extLst>
              <a:ext uri="{FF2B5EF4-FFF2-40B4-BE49-F238E27FC236}">
                <a16:creationId xmlns:a16="http://schemas.microsoft.com/office/drawing/2014/main" id="{54B0D723-4708-4190-B690-4901651F1E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88152" y="1481893"/>
            <a:ext cx="542995" cy="542995"/>
          </a:xfrm>
          <a:prstGeom prst="rect">
            <a:avLst/>
          </a:prstGeom>
        </p:spPr>
      </p:pic>
      <p:pic>
        <p:nvPicPr>
          <p:cNvPr id="37" name="Grafik 36" descr="Markee nicht mehr folgen mit einfarbiger Füllung">
            <a:extLst>
              <a:ext uri="{FF2B5EF4-FFF2-40B4-BE49-F238E27FC236}">
                <a16:creationId xmlns:a16="http://schemas.microsoft.com/office/drawing/2014/main" id="{DF3E2A07-F854-4C60-8148-0A499A37B4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96050" y="3982989"/>
            <a:ext cx="542995" cy="542995"/>
          </a:xfrm>
          <a:prstGeom prst="rect">
            <a:avLst/>
          </a:prstGeom>
        </p:spPr>
      </p:pic>
      <p:sp>
        <p:nvSpPr>
          <p:cNvPr id="38" name="Inhaltsplatzhalter 15">
            <a:extLst>
              <a:ext uri="{FF2B5EF4-FFF2-40B4-BE49-F238E27FC236}">
                <a16:creationId xmlns:a16="http://schemas.microsoft.com/office/drawing/2014/main" id="{77EF5CAA-94F6-4F2C-938F-B4D5293EFB00}"/>
              </a:ext>
            </a:extLst>
          </p:cNvPr>
          <p:cNvSpPr txBox="1">
            <a:spLocks/>
          </p:cNvSpPr>
          <p:nvPr/>
        </p:nvSpPr>
        <p:spPr>
          <a:xfrm>
            <a:off x="6495637" y="4685508"/>
            <a:ext cx="5364163" cy="174899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>
                <a:ea typeface="Roboto Medium" panose="02000000000000000000" pitchFamily="2" charset="0"/>
              </a:rPr>
              <a:t>The </a:t>
            </a:r>
            <a:r>
              <a:rPr lang="de-CH" sz="1400" dirty="0" err="1">
                <a:ea typeface="Roboto Medium" panose="02000000000000000000" pitchFamily="2" charset="0"/>
              </a:rPr>
              <a:t>cos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i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substantially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highe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han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h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unihockey</a:t>
            </a:r>
            <a:r>
              <a:rPr lang="de-CH" sz="1400" dirty="0">
                <a:ea typeface="Roboto Medium" panose="02000000000000000000" pitchFamily="2" charset="0"/>
              </a:rPr>
              <a:t> ball </a:t>
            </a:r>
            <a:r>
              <a:rPr lang="de-CH" sz="1400" dirty="0" err="1">
                <a:ea typeface="Roboto Medium" panose="02000000000000000000" pitchFamily="2" charset="0"/>
              </a:rPr>
              <a:t>previously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roduce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by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he</a:t>
            </a:r>
            <a:r>
              <a:rPr lang="de-CH" sz="1400" dirty="0">
                <a:ea typeface="Roboto Medium" panose="02000000000000000000" pitchFamily="2" charset="0"/>
              </a:rPr>
              <a:t> smart </a:t>
            </a:r>
            <a:r>
              <a:rPr lang="de-CH" sz="1400" dirty="0" err="1">
                <a:ea typeface="Roboto Medium" panose="02000000000000000000" pitchFamily="2" charset="0"/>
              </a:rPr>
              <a:t>factory</a:t>
            </a:r>
            <a:r>
              <a:rPr lang="de-CH" sz="1400" dirty="0">
                <a:ea typeface="Roboto Medium" panose="02000000000000000000" pitchFamily="2" charset="0"/>
              </a:rPr>
              <a:t> in Rapperswil</a:t>
            </a:r>
          </a:p>
        </p:txBody>
      </p:sp>
      <p:sp>
        <p:nvSpPr>
          <p:cNvPr id="39" name="Inhaltsplatzhalter 15">
            <a:extLst>
              <a:ext uri="{FF2B5EF4-FFF2-40B4-BE49-F238E27FC236}">
                <a16:creationId xmlns:a16="http://schemas.microsoft.com/office/drawing/2014/main" id="{5834CD45-C79B-4114-B831-C84940E48EBA}"/>
              </a:ext>
            </a:extLst>
          </p:cNvPr>
          <p:cNvSpPr txBox="1">
            <a:spLocks/>
          </p:cNvSpPr>
          <p:nvPr/>
        </p:nvSpPr>
        <p:spPr>
          <a:xfrm>
            <a:off x="6497637" y="2077890"/>
            <a:ext cx="5364163" cy="1742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Good</a:t>
            </a:r>
            <a:r>
              <a:rPr lang="de-CH" sz="1400" dirty="0">
                <a:ea typeface="Roboto Medium" panose="02000000000000000000" pitchFamily="2" charset="0"/>
              </a:rPr>
              <a:t> fit </a:t>
            </a:r>
            <a:r>
              <a:rPr lang="de-CH" sz="1400" dirty="0" err="1">
                <a:ea typeface="Roboto Medium" panose="02000000000000000000" pitchFamily="2" charset="0"/>
              </a:rPr>
              <a:t>for</a:t>
            </a:r>
            <a:r>
              <a:rPr lang="de-CH" sz="1400" dirty="0">
                <a:ea typeface="Roboto Medium" panose="02000000000000000000" pitchFamily="2" charset="0"/>
              </a:rPr>
              <a:t> a </a:t>
            </a:r>
            <a:r>
              <a:rPr lang="de-CH" sz="1400" dirty="0" err="1">
                <a:ea typeface="Roboto Medium" panose="02000000000000000000" pitchFamily="2" charset="0"/>
              </a:rPr>
              <a:t>merchandise</a:t>
            </a:r>
            <a:r>
              <a:rPr lang="de-CH" sz="1400" dirty="0">
                <a:ea typeface="Roboto Medium" panose="02000000000000000000" pitchFamily="2" charset="0"/>
              </a:rPr>
              <a:t>: </a:t>
            </a:r>
            <a:r>
              <a:rPr lang="de-CH" sz="1400" dirty="0" err="1">
                <a:ea typeface="Roboto Medium" panose="02000000000000000000" pitchFamily="2" charset="0"/>
              </a:rPr>
              <a:t>Enabl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demonstration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echnological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competenci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OST, in </a:t>
            </a:r>
            <a:r>
              <a:rPr lang="de-CH" sz="1400" dirty="0" err="1">
                <a:ea typeface="Roboto Medium" panose="02000000000000000000" pitchFamily="2" charset="0"/>
              </a:rPr>
              <a:t>particula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hose</a:t>
            </a:r>
            <a:r>
              <a:rPr lang="de-CH" sz="1400" dirty="0">
                <a:ea typeface="Roboto Medium" panose="02000000000000000000" pitchFamily="2" charset="0"/>
              </a:rPr>
              <a:t> in </a:t>
            </a:r>
            <a:r>
              <a:rPr lang="de-CH" sz="1400" dirty="0" err="1">
                <a:ea typeface="Roboto Medium" panose="02000000000000000000" pitchFamily="2" charset="0"/>
              </a:rPr>
              <a:t>the</a:t>
            </a:r>
            <a:r>
              <a:rPr lang="de-CH" sz="1400" dirty="0">
                <a:ea typeface="Roboto Medium" panose="02000000000000000000" pitchFamily="2" charset="0"/>
              </a:rPr>
              <a:t> smart </a:t>
            </a:r>
            <a:r>
              <a:rPr lang="de-CH" sz="1400" dirty="0" err="1">
                <a:ea typeface="Roboto Medium" panose="02000000000000000000" pitchFamily="2" charset="0"/>
              </a:rPr>
              <a:t>factory</a:t>
            </a:r>
            <a:r>
              <a:rPr lang="de-CH" sz="1400" dirty="0">
                <a:ea typeface="Roboto Medium" panose="02000000000000000000" pitchFamily="2" charset="0"/>
              </a:rPr>
              <a:t>, and </a:t>
            </a:r>
            <a:r>
              <a:rPr lang="de-CH" sz="1400" dirty="0" err="1">
                <a:ea typeface="Roboto Medium" panose="02000000000000000000" pitchFamily="2" charset="0"/>
              </a:rPr>
              <a:t>prove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ST’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hands</a:t>
            </a:r>
            <a:r>
              <a:rPr lang="de-CH" sz="1400" dirty="0">
                <a:ea typeface="Roboto Medium" panose="02000000000000000000" pitchFamily="2" charset="0"/>
              </a:rPr>
              <a:t>-on </a:t>
            </a:r>
            <a:r>
              <a:rPr lang="de-CH" sz="1400" dirty="0" err="1">
                <a:ea typeface="Roboto Medium" panose="02000000000000000000" pitchFamily="2" charset="0"/>
              </a:rPr>
              <a:t>approach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400" dirty="0" err="1">
                <a:ea typeface="Roboto Medium" panose="02000000000000000000" pitchFamily="2" charset="0"/>
              </a:rPr>
              <a:t>No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distribution</a:t>
            </a:r>
            <a:r>
              <a:rPr lang="de-CH" sz="1400" dirty="0">
                <a:ea typeface="Roboto Medium" panose="02000000000000000000" pitchFamily="2" charset="0"/>
              </a:rPr>
              <a:t> network, </a:t>
            </a:r>
            <a:r>
              <a:rPr lang="de-CH" sz="1400" dirty="0" err="1">
                <a:ea typeface="Roboto Medium" panose="02000000000000000000" pitchFamily="2" charset="0"/>
              </a:rPr>
              <a:t>no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romition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required</a:t>
            </a:r>
            <a:endParaRPr lang="de-CH" sz="14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CH" sz="1600" dirty="0"/>
          </a:p>
        </p:txBody>
      </p:sp>
    </p:spTree>
    <p:extLst>
      <p:ext uri="{BB962C8B-B14F-4D97-AF65-F5344CB8AC3E}">
        <p14:creationId xmlns:p14="http://schemas.microsoft.com/office/powerpoint/2010/main" val="120986613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5D41D109-638A-4FA7-B602-092394168A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123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5D41D109-638A-4FA7-B602-092394168A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113FC60-4A23-4156-A165-0AAA4981944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84D11F8-1BBF-45CA-B227-8D964CB4C89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4</a:t>
            </a:fld>
            <a:endParaRPr lang="de-CH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3979C4C-20BE-4B72-BFB0-3E1D0CFEE9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recommend</a:t>
            </a:r>
            <a:r>
              <a:rPr lang="de-CH" dirty="0"/>
              <a:t> </a:t>
            </a:r>
            <a:r>
              <a:rPr lang="de-CH" dirty="0" err="1"/>
              <a:t>targeting</a:t>
            </a:r>
            <a:r>
              <a:rPr lang="de-CH" dirty="0"/>
              <a:t> </a:t>
            </a:r>
            <a:r>
              <a:rPr lang="de-CH" dirty="0" err="1"/>
              <a:t>merchandise</a:t>
            </a:r>
            <a:r>
              <a:rPr lang="de-CH" dirty="0"/>
              <a:t> and </a:t>
            </a:r>
            <a:r>
              <a:rPr lang="de-CH" dirty="0" err="1"/>
              <a:t>students</a:t>
            </a:r>
            <a:r>
              <a:rPr lang="de-CH" dirty="0"/>
              <a:t> &amp; </a:t>
            </a:r>
            <a:r>
              <a:rPr lang="de-CH" dirty="0" err="1"/>
              <a:t>staff</a:t>
            </a:r>
            <a:r>
              <a:rPr lang="de-CH" dirty="0"/>
              <a:t>; premium </a:t>
            </a:r>
            <a:r>
              <a:rPr lang="de-CH" dirty="0" err="1"/>
              <a:t>interesting</a:t>
            </a:r>
            <a:r>
              <a:rPr lang="de-CH" dirty="0"/>
              <a:t> but </a:t>
            </a:r>
            <a:r>
              <a:rPr lang="de-CH" dirty="0" err="1"/>
              <a:t>can’t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targeted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same </a:t>
            </a:r>
            <a:r>
              <a:rPr lang="de-CH" dirty="0" err="1"/>
              <a:t>product</a:t>
            </a:r>
            <a:endParaRPr lang="de-CH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A39CDCC-4A21-4B55-95C4-B700128F6BF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target</a:t>
            </a:r>
            <a:r>
              <a:rPr lang="de-CH" dirty="0"/>
              <a:t> </a:t>
            </a:r>
            <a:r>
              <a:rPr lang="de-CH" dirty="0" err="1"/>
              <a:t>segments</a:t>
            </a:r>
            <a:r>
              <a:rPr lang="de-CH" dirty="0"/>
              <a:t>?</a:t>
            </a:r>
          </a:p>
        </p:txBody>
      </p:sp>
      <p:graphicFrame>
        <p:nvGraphicFramePr>
          <p:cNvPr id="20" name="Tabelle 20">
            <a:extLst>
              <a:ext uri="{FF2B5EF4-FFF2-40B4-BE49-F238E27FC236}">
                <a16:creationId xmlns:a16="http://schemas.microsoft.com/office/drawing/2014/main" id="{853549B2-DB47-4A11-BB16-7E8619C755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8734732"/>
              </p:ext>
            </p:extLst>
          </p:nvPr>
        </p:nvGraphicFramePr>
        <p:xfrm>
          <a:off x="403778" y="1796351"/>
          <a:ext cx="8998467" cy="46309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63627">
                  <a:extLst>
                    <a:ext uri="{9D8B030D-6E8A-4147-A177-3AD203B41FA5}">
                      <a16:colId xmlns:a16="http://schemas.microsoft.com/office/drawing/2014/main" val="2212540117"/>
                    </a:ext>
                  </a:extLst>
                </a:gridCol>
                <a:gridCol w="386973">
                  <a:extLst>
                    <a:ext uri="{9D8B030D-6E8A-4147-A177-3AD203B41FA5}">
                      <a16:colId xmlns:a16="http://schemas.microsoft.com/office/drawing/2014/main" val="1273842138"/>
                    </a:ext>
                  </a:extLst>
                </a:gridCol>
                <a:gridCol w="2549289">
                  <a:extLst>
                    <a:ext uri="{9D8B030D-6E8A-4147-A177-3AD203B41FA5}">
                      <a16:colId xmlns:a16="http://schemas.microsoft.com/office/drawing/2014/main" val="3221019576"/>
                    </a:ext>
                  </a:extLst>
                </a:gridCol>
                <a:gridCol w="2549289">
                  <a:extLst>
                    <a:ext uri="{9D8B030D-6E8A-4147-A177-3AD203B41FA5}">
                      <a16:colId xmlns:a16="http://schemas.microsoft.com/office/drawing/2014/main" val="746461529"/>
                    </a:ext>
                  </a:extLst>
                </a:gridCol>
                <a:gridCol w="2549289">
                  <a:extLst>
                    <a:ext uri="{9D8B030D-6E8A-4147-A177-3AD203B41FA5}">
                      <a16:colId xmlns:a16="http://schemas.microsoft.com/office/drawing/2014/main" val="3254944215"/>
                    </a:ext>
                  </a:extLst>
                </a:gridCol>
              </a:tblGrid>
              <a:tr h="1237845">
                <a:tc rowSpan="3">
                  <a:txBody>
                    <a:bodyPr/>
                    <a:lstStyle/>
                    <a:p>
                      <a:pPr algn="ctr"/>
                      <a:r>
                        <a:rPr lang="de-CH" b="1" dirty="0" err="1"/>
                        <a:t>Attractiveness</a:t>
                      </a:r>
                      <a:endParaRPr lang="de-CH" b="1" dirty="0"/>
                    </a:p>
                  </a:txBody>
                  <a:tcPr vert="vert27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high</a:t>
                      </a:r>
                    </a:p>
                  </a:txBody>
                  <a:tcPr vert="vert27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233567"/>
                  </a:ext>
                </a:extLst>
              </a:tr>
              <a:tr h="1237845">
                <a:tc vMerge="1">
                  <a:txBody>
                    <a:bodyPr/>
                    <a:lstStyle/>
                    <a:p>
                      <a:pPr algn="ctr"/>
                      <a:endParaRPr lang="de-CH" dirty="0"/>
                    </a:p>
                  </a:txBody>
                  <a:tcPr vert="vert27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mid</a:t>
                      </a:r>
                      <a:endParaRPr lang="de-CH" dirty="0"/>
                    </a:p>
                  </a:txBody>
                  <a:tcPr vert="vert27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029312"/>
                  </a:ext>
                </a:extLst>
              </a:tr>
              <a:tr h="1237845">
                <a:tc vMerge="1">
                  <a:txBody>
                    <a:bodyPr/>
                    <a:lstStyle/>
                    <a:p>
                      <a:pPr algn="ctr"/>
                      <a:endParaRPr lang="de-CH" dirty="0"/>
                    </a:p>
                  </a:txBody>
                  <a:tcPr vert="vert27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low</a:t>
                      </a:r>
                      <a:endParaRPr lang="de-CH" dirty="0"/>
                    </a:p>
                  </a:txBody>
                  <a:tcPr vert="vert27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294959"/>
                  </a:ext>
                </a:extLst>
              </a:tr>
              <a:tr h="402527"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low</a:t>
                      </a:r>
                      <a:endParaRPr lang="de-CH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mid</a:t>
                      </a:r>
                      <a:endParaRPr lang="de-CH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high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109174120"/>
                  </a:ext>
                </a:extLst>
              </a:tr>
              <a:tr h="514923"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de-CH" b="1" dirty="0" err="1"/>
                        <a:t>Competitive</a:t>
                      </a:r>
                      <a:r>
                        <a:rPr lang="de-CH" b="1" dirty="0"/>
                        <a:t> </a:t>
                      </a:r>
                      <a:r>
                        <a:rPr lang="de-CH" b="1" dirty="0" err="1"/>
                        <a:t>position</a:t>
                      </a:r>
                      <a:endParaRPr lang="de-CH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CH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9415978"/>
                  </a:ext>
                </a:extLst>
              </a:tr>
            </a:tbl>
          </a:graphicData>
        </a:graphic>
      </p:graphicFrame>
      <p:sp>
        <p:nvSpPr>
          <p:cNvPr id="27" name="Textfeld 26">
            <a:extLst>
              <a:ext uri="{FF2B5EF4-FFF2-40B4-BE49-F238E27FC236}">
                <a16:creationId xmlns:a16="http://schemas.microsoft.com/office/drawing/2014/main" id="{E42FDB45-0313-4D88-B8B1-6D21F6A798AE}"/>
              </a:ext>
            </a:extLst>
          </p:cNvPr>
          <p:cNvSpPr txBox="1"/>
          <p:nvPr/>
        </p:nvSpPr>
        <p:spPr>
          <a:xfrm>
            <a:off x="7155808" y="3168555"/>
            <a:ext cx="1962177" cy="35527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600" b="1" dirty="0">
                <a:ea typeface="Roboto Medium" panose="02000000000000000000" pitchFamily="2" charset="0"/>
              </a:rPr>
              <a:t>OST </a:t>
            </a:r>
            <a:r>
              <a:rPr lang="de-CH" sz="1600" b="1" dirty="0" err="1">
                <a:ea typeface="Roboto Medium" panose="02000000000000000000" pitchFamily="2" charset="0"/>
              </a:rPr>
              <a:t>merchandise</a:t>
            </a:r>
            <a:endParaRPr lang="de-CH" sz="1600" b="1" dirty="0">
              <a:ea typeface="Roboto Medium" panose="02000000000000000000" pitchFamily="2" charset="0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14ECCDC3-A097-4A21-9F8A-BEA537149F5C}"/>
              </a:ext>
            </a:extLst>
          </p:cNvPr>
          <p:cNvSpPr txBox="1"/>
          <p:nvPr/>
        </p:nvSpPr>
        <p:spPr>
          <a:xfrm>
            <a:off x="7012340" y="3637099"/>
            <a:ext cx="2249115" cy="35527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600" b="1" dirty="0">
                <a:ea typeface="Roboto Medium" panose="02000000000000000000" pitchFamily="2" charset="0"/>
              </a:rPr>
              <a:t>OST </a:t>
            </a:r>
            <a:r>
              <a:rPr lang="de-CH" sz="1600" b="1" dirty="0" err="1">
                <a:ea typeface="Roboto Medium" panose="02000000000000000000" pitchFamily="2" charset="0"/>
              </a:rPr>
              <a:t>students</a:t>
            </a:r>
            <a:r>
              <a:rPr lang="de-CH" sz="1600" b="1" dirty="0">
                <a:ea typeface="Roboto Medium" panose="02000000000000000000" pitchFamily="2" charset="0"/>
              </a:rPr>
              <a:t> &amp; </a:t>
            </a:r>
            <a:r>
              <a:rPr lang="de-CH" sz="1600" b="1" dirty="0" err="1">
                <a:ea typeface="Roboto Medium" panose="02000000000000000000" pitchFamily="2" charset="0"/>
              </a:rPr>
              <a:t>staff</a:t>
            </a:r>
            <a:endParaRPr lang="de-CH" sz="1600" b="1" dirty="0">
              <a:ea typeface="Roboto Medium" panose="02000000000000000000" pitchFamily="2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6319486D-4CAE-4CF7-B5B0-95E02DD0CC10}"/>
              </a:ext>
            </a:extLst>
          </p:cNvPr>
          <p:cNvSpPr txBox="1"/>
          <p:nvPr/>
        </p:nvSpPr>
        <p:spPr>
          <a:xfrm>
            <a:off x="1846974" y="4711517"/>
            <a:ext cx="2394987" cy="601497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600" b="1" dirty="0" err="1">
                <a:ea typeface="Roboto Medium" panose="02000000000000000000" pitchFamily="2" charset="0"/>
              </a:rPr>
              <a:t>Charging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to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go</a:t>
            </a:r>
            <a:br>
              <a:rPr lang="de-CH" sz="1600" b="1" dirty="0">
                <a:ea typeface="Roboto Medium" panose="02000000000000000000" pitchFamily="2" charset="0"/>
              </a:rPr>
            </a:br>
            <a:r>
              <a:rPr lang="de-CH" sz="1600" b="1" dirty="0" err="1">
                <a:ea typeface="Roboto Medium" panose="02000000000000000000" pitchFamily="2" charset="0"/>
              </a:rPr>
              <a:t>lodging</a:t>
            </a:r>
            <a:r>
              <a:rPr lang="de-CH" sz="1600" b="1" dirty="0">
                <a:ea typeface="Roboto Medium" panose="02000000000000000000" pitchFamily="2" charset="0"/>
              </a:rPr>
              <a:t> &amp; </a:t>
            </a:r>
            <a:r>
              <a:rPr lang="de-CH" sz="1600" b="1" dirty="0" err="1">
                <a:ea typeface="Roboto Medium" panose="02000000000000000000" pitchFamily="2" charset="0"/>
              </a:rPr>
              <a:t>gastronomy</a:t>
            </a:r>
            <a:endParaRPr lang="de-CH" sz="1600" b="1" dirty="0">
              <a:ea typeface="Roboto Medium" panose="02000000000000000000" pitchFamily="2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C55BEBF0-C107-40ED-91E8-6E4D3D56CF12}"/>
              </a:ext>
            </a:extLst>
          </p:cNvPr>
          <p:cNvSpPr txBox="1"/>
          <p:nvPr/>
        </p:nvSpPr>
        <p:spPr>
          <a:xfrm>
            <a:off x="3477897" y="3987553"/>
            <a:ext cx="1676842" cy="601497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600" b="1" dirty="0" err="1">
                <a:ea typeface="Roboto Medium" panose="02000000000000000000" pitchFamily="2" charset="0"/>
              </a:rPr>
              <a:t>Charging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to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go</a:t>
            </a:r>
            <a:br>
              <a:rPr lang="de-CH" sz="1600" b="1" dirty="0">
                <a:ea typeface="Roboto Medium" panose="02000000000000000000" pitchFamily="2" charset="0"/>
              </a:rPr>
            </a:br>
            <a:r>
              <a:rPr lang="de-CH" sz="1600" b="1" dirty="0" err="1">
                <a:ea typeface="Roboto Medium" panose="02000000000000000000" pitchFamily="2" charset="0"/>
              </a:rPr>
              <a:t>office</a:t>
            </a:r>
            <a:endParaRPr lang="de-CH" sz="1600" b="1" dirty="0">
              <a:ea typeface="Roboto Medium" panose="02000000000000000000" pitchFamily="2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D82F34A5-C180-43D3-9B21-AC8F2BE1EE03}"/>
              </a:ext>
            </a:extLst>
          </p:cNvPr>
          <p:cNvSpPr txBox="1"/>
          <p:nvPr/>
        </p:nvSpPr>
        <p:spPr>
          <a:xfrm>
            <a:off x="2361751" y="2223305"/>
            <a:ext cx="1231208" cy="35527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600" b="1" dirty="0">
                <a:ea typeface="Roboto Medium" panose="02000000000000000000" pitchFamily="2" charset="0"/>
              </a:rPr>
              <a:t>Consumer</a:t>
            </a:r>
          </a:p>
        </p:txBody>
      </p:sp>
      <p:pic>
        <p:nvPicPr>
          <p:cNvPr id="91" name="Grafik 90" descr="Schließen mit einfarbiger Füllung">
            <a:extLst>
              <a:ext uri="{FF2B5EF4-FFF2-40B4-BE49-F238E27FC236}">
                <a16:creationId xmlns:a16="http://schemas.microsoft.com/office/drawing/2014/main" id="{1781B3D4-33B8-4DF2-A8DD-4B3579BE47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20560" y="3993901"/>
            <a:ext cx="591515" cy="591515"/>
          </a:xfrm>
          <a:prstGeom prst="rect">
            <a:avLst/>
          </a:prstGeom>
        </p:spPr>
      </p:pic>
      <p:pic>
        <p:nvPicPr>
          <p:cNvPr id="93" name="Grafik 92" descr="Häkchen mit einfarbiger Füllung">
            <a:extLst>
              <a:ext uri="{FF2B5EF4-FFF2-40B4-BE49-F238E27FC236}">
                <a16:creationId xmlns:a16="http://schemas.microsoft.com/office/drawing/2014/main" id="{CBD8D37D-C715-4CAD-ADB0-DDEDE3316E3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85730" y="2816164"/>
            <a:ext cx="591515" cy="591515"/>
          </a:xfrm>
          <a:prstGeom prst="rect">
            <a:avLst/>
          </a:prstGeom>
        </p:spPr>
      </p:pic>
      <p:pic>
        <p:nvPicPr>
          <p:cNvPr id="94" name="Grafik 93" descr="Häkchen mit einfarbiger Füllung">
            <a:extLst>
              <a:ext uri="{FF2B5EF4-FFF2-40B4-BE49-F238E27FC236}">
                <a16:creationId xmlns:a16="http://schemas.microsoft.com/office/drawing/2014/main" id="{D0D8D54C-A01C-445C-A89A-F20C9BCAA6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35446" y="3262324"/>
            <a:ext cx="591515" cy="591515"/>
          </a:xfrm>
          <a:prstGeom prst="rect">
            <a:avLst/>
          </a:prstGeom>
        </p:spPr>
      </p:pic>
      <p:pic>
        <p:nvPicPr>
          <p:cNvPr id="95" name="Grafik 94" descr="Schließen mit einfarbiger Füllung">
            <a:extLst>
              <a:ext uri="{FF2B5EF4-FFF2-40B4-BE49-F238E27FC236}">
                <a16:creationId xmlns:a16="http://schemas.microsoft.com/office/drawing/2014/main" id="{DA57A4B7-2F12-442F-8122-E4A24FAFA7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96105" y="4735762"/>
            <a:ext cx="591515" cy="591515"/>
          </a:xfrm>
          <a:prstGeom prst="rect">
            <a:avLst/>
          </a:prstGeom>
        </p:spPr>
      </p:pic>
      <p:sp>
        <p:nvSpPr>
          <p:cNvPr id="97" name="Textfeld 96">
            <a:extLst>
              <a:ext uri="{FF2B5EF4-FFF2-40B4-BE49-F238E27FC236}">
                <a16:creationId xmlns:a16="http://schemas.microsoft.com/office/drawing/2014/main" id="{8E35FA5E-5F6E-4EDE-ADB0-6513344CC203}"/>
              </a:ext>
            </a:extLst>
          </p:cNvPr>
          <p:cNvSpPr txBox="1"/>
          <p:nvPr/>
        </p:nvSpPr>
        <p:spPr>
          <a:xfrm>
            <a:off x="4984230" y="2742408"/>
            <a:ext cx="1231207" cy="601497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600" b="1" dirty="0">
                <a:ea typeface="Roboto Medium" panose="02000000000000000000" pitchFamily="2" charset="0"/>
              </a:rPr>
              <a:t>Consumer</a:t>
            </a:r>
            <a:br>
              <a:rPr lang="de-CH" sz="1600" b="1" dirty="0">
                <a:ea typeface="Roboto Medium" panose="02000000000000000000" pitchFamily="2" charset="0"/>
              </a:rPr>
            </a:br>
            <a:r>
              <a:rPr lang="de-CH" sz="1600" b="1" dirty="0">
                <a:ea typeface="Roboto Medium" panose="02000000000000000000" pitchFamily="2" charset="0"/>
              </a:rPr>
              <a:t>premium</a:t>
            </a:r>
          </a:p>
        </p:txBody>
      </p:sp>
      <p:pic>
        <p:nvPicPr>
          <p:cNvPr id="99" name="Grafik 98" descr="Schließen mit einfarbiger Füllung">
            <a:extLst>
              <a:ext uri="{FF2B5EF4-FFF2-40B4-BE49-F238E27FC236}">
                <a16:creationId xmlns:a16="http://schemas.microsoft.com/office/drawing/2014/main" id="{5523B4D0-7FC1-4603-93AC-1DB561AEC2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81597" y="2105185"/>
            <a:ext cx="591515" cy="591515"/>
          </a:xfrm>
          <a:prstGeom prst="rect">
            <a:avLst/>
          </a:prstGeom>
        </p:spPr>
      </p:pic>
      <p:pic>
        <p:nvPicPr>
          <p:cNvPr id="21" name="Grafik 20" descr="Schließen mit einfarbiger Füllung">
            <a:extLst>
              <a:ext uri="{FF2B5EF4-FFF2-40B4-BE49-F238E27FC236}">
                <a16:creationId xmlns:a16="http://schemas.microsoft.com/office/drawing/2014/main" id="{C29B4895-F032-4BA0-BD92-5BEC550C7EC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78137" y="2731971"/>
            <a:ext cx="591515" cy="591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8046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43A1A84-2E17-4F73-B895-ABB7CA42B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016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43A1A84-2E17-4F73-B895-ABB7CA42B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825C143-765E-427F-8F97-FC1377C6E7C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13FC6F8-8F09-4290-A7D3-F4275381C41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5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0BDCA1C-D178-4B79-9F16-700934FDC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trategic</a:t>
            </a:r>
            <a:r>
              <a:rPr lang="de-CH" dirty="0"/>
              <a:t> </a:t>
            </a:r>
            <a:r>
              <a:rPr lang="de-CH" dirty="0" err="1"/>
              <a:t>position</a:t>
            </a:r>
            <a:r>
              <a:rPr lang="de-CH" dirty="0"/>
              <a:t> </a:t>
            </a:r>
            <a:r>
              <a:rPr lang="de-CH" dirty="0" err="1"/>
              <a:t>implies</a:t>
            </a:r>
            <a:r>
              <a:rPr lang="de-CH" dirty="0"/>
              <a:t> a </a:t>
            </a:r>
            <a:r>
              <a:rPr lang="de-CH" dirty="0" err="1"/>
              <a:t>focus</a:t>
            </a:r>
            <a:r>
              <a:rPr lang="de-CH" dirty="0"/>
              <a:t> </a:t>
            </a:r>
            <a:r>
              <a:rPr lang="de-CH" dirty="0" err="1"/>
              <a:t>approach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echnological</a:t>
            </a:r>
            <a:r>
              <a:rPr lang="de-CH" dirty="0"/>
              <a:t> </a:t>
            </a:r>
            <a:r>
              <a:rPr lang="de-CH" dirty="0" err="1"/>
              <a:t>differentiation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935A757-11B3-421D-BE7C-4D440DEBC26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sz="2000" b="1" dirty="0" err="1">
                <a:solidFill>
                  <a:srgbClr val="191919"/>
                </a:solidFill>
              </a:rPr>
              <a:t>Wha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our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valu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proposition</a:t>
            </a:r>
            <a:r>
              <a:rPr lang="de-CH" sz="2000" b="1" dirty="0">
                <a:solidFill>
                  <a:srgbClr val="191919"/>
                </a:solidFill>
              </a:rPr>
              <a:t>?</a:t>
            </a:r>
          </a:p>
        </p:txBody>
      </p:sp>
      <p:graphicFrame>
        <p:nvGraphicFramePr>
          <p:cNvPr id="7" name="Tabelle 20">
            <a:extLst>
              <a:ext uri="{FF2B5EF4-FFF2-40B4-BE49-F238E27FC236}">
                <a16:creationId xmlns:a16="http://schemas.microsoft.com/office/drawing/2014/main" id="{C53F8DA9-D27B-40E4-A3AA-CD9CC7F3A8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4335451"/>
              </p:ext>
            </p:extLst>
          </p:nvPr>
        </p:nvGraphicFramePr>
        <p:xfrm>
          <a:off x="705781" y="1975737"/>
          <a:ext cx="6449178" cy="432251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63627">
                  <a:extLst>
                    <a:ext uri="{9D8B030D-6E8A-4147-A177-3AD203B41FA5}">
                      <a16:colId xmlns:a16="http://schemas.microsoft.com/office/drawing/2014/main" val="2212540117"/>
                    </a:ext>
                  </a:extLst>
                </a:gridCol>
                <a:gridCol w="386973">
                  <a:extLst>
                    <a:ext uri="{9D8B030D-6E8A-4147-A177-3AD203B41FA5}">
                      <a16:colId xmlns:a16="http://schemas.microsoft.com/office/drawing/2014/main" val="1273842138"/>
                    </a:ext>
                  </a:extLst>
                </a:gridCol>
                <a:gridCol w="2549289">
                  <a:extLst>
                    <a:ext uri="{9D8B030D-6E8A-4147-A177-3AD203B41FA5}">
                      <a16:colId xmlns:a16="http://schemas.microsoft.com/office/drawing/2014/main" val="3221019576"/>
                    </a:ext>
                  </a:extLst>
                </a:gridCol>
                <a:gridCol w="2549289">
                  <a:extLst>
                    <a:ext uri="{9D8B030D-6E8A-4147-A177-3AD203B41FA5}">
                      <a16:colId xmlns:a16="http://schemas.microsoft.com/office/drawing/2014/main" val="746461529"/>
                    </a:ext>
                  </a:extLst>
                </a:gridCol>
              </a:tblGrid>
              <a:tr h="1576889">
                <a:tc rowSpan="2">
                  <a:txBody>
                    <a:bodyPr/>
                    <a:lstStyle/>
                    <a:p>
                      <a:pPr algn="ctr"/>
                      <a:r>
                        <a:rPr lang="de-CH" b="1" dirty="0" err="1"/>
                        <a:t>Scope</a:t>
                      </a:r>
                      <a:endParaRPr lang="de-CH" b="1" dirty="0"/>
                    </a:p>
                  </a:txBody>
                  <a:tcPr vert="vert27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Industry-</a:t>
                      </a:r>
                      <a:r>
                        <a:rPr lang="de-CH" dirty="0" err="1"/>
                        <a:t>wide</a:t>
                      </a:r>
                      <a:endParaRPr lang="de-CH" dirty="0"/>
                    </a:p>
                  </a:txBody>
                  <a:tcPr vert="vert27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b="1" dirty="0" err="1">
                          <a:solidFill>
                            <a:schemeClr val="bg1"/>
                          </a:solidFill>
                        </a:rPr>
                        <a:t>Cost</a:t>
                      </a:r>
                      <a:r>
                        <a:rPr lang="de-CH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CH" b="1" dirty="0" err="1">
                          <a:solidFill>
                            <a:schemeClr val="bg1"/>
                          </a:solidFill>
                        </a:rPr>
                        <a:t>leadership</a:t>
                      </a:r>
                      <a:endParaRPr lang="de-CH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b="1" dirty="0">
                          <a:solidFill>
                            <a:schemeClr val="bg1"/>
                          </a:solidFill>
                        </a:rPr>
                        <a:t>Differenti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233567"/>
                  </a:ext>
                </a:extLst>
              </a:tr>
              <a:tr h="1576889">
                <a:tc vMerge="1">
                  <a:txBody>
                    <a:bodyPr/>
                    <a:lstStyle/>
                    <a:p>
                      <a:pPr algn="ctr"/>
                      <a:endParaRPr lang="de-CH" dirty="0"/>
                    </a:p>
                  </a:txBody>
                  <a:tcPr vert="vert27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Niche</a:t>
                      </a:r>
                      <a:r>
                        <a:rPr lang="de-CH" dirty="0"/>
                        <a:t> </a:t>
                      </a:r>
                      <a:r>
                        <a:rPr lang="de-CH" dirty="0" err="1"/>
                        <a:t>market</a:t>
                      </a:r>
                      <a:endParaRPr lang="de-CH" dirty="0"/>
                    </a:p>
                  </a:txBody>
                  <a:tcPr vert="vert27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r>
                        <a:rPr lang="de-CH" b="1" dirty="0">
                          <a:solidFill>
                            <a:schemeClr val="bg1"/>
                          </a:solidFill>
                        </a:rPr>
                        <a:t>Focu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029312"/>
                  </a:ext>
                </a:extLst>
              </a:tr>
              <a:tr h="512778"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Low </a:t>
                      </a:r>
                      <a:r>
                        <a:rPr lang="de-CH" dirty="0" err="1"/>
                        <a:t>cost</a:t>
                      </a:r>
                      <a:endParaRPr lang="de-CH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Differentiation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109174120"/>
                  </a:ext>
                </a:extLst>
              </a:tr>
              <a:tr h="655960"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CH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CH" b="1" dirty="0" err="1"/>
                        <a:t>Competitive</a:t>
                      </a:r>
                      <a:r>
                        <a:rPr lang="de-CH" b="1" dirty="0"/>
                        <a:t> </a:t>
                      </a:r>
                      <a:r>
                        <a:rPr lang="de-CH" b="1" dirty="0" err="1"/>
                        <a:t>advantage</a:t>
                      </a:r>
                      <a:endParaRPr lang="de-CH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9415978"/>
                  </a:ext>
                </a:extLst>
              </a:tr>
            </a:tbl>
          </a:graphicData>
        </a:graphic>
      </p:graphicFrame>
      <p:pic>
        <p:nvPicPr>
          <p:cNvPr id="18" name="Picture 10">
            <a:extLst>
              <a:ext uri="{FF2B5EF4-FFF2-40B4-BE49-F238E27FC236}">
                <a16:creationId xmlns:a16="http://schemas.microsoft.com/office/drawing/2014/main" id="{35BA0B99-FECA-4F57-B6A4-006DC363847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4582823" y="3739030"/>
            <a:ext cx="1516352" cy="1066806"/>
          </a:xfrm>
          <a:prstGeom prst="rect">
            <a:avLst/>
          </a:prstGeom>
        </p:spPr>
      </p:pic>
      <p:sp>
        <p:nvSpPr>
          <p:cNvPr id="20" name="Text Box 13">
            <a:extLst>
              <a:ext uri="{FF2B5EF4-FFF2-40B4-BE49-F238E27FC236}">
                <a16:creationId xmlns:a16="http://schemas.microsoft.com/office/drawing/2014/main" id="{262790FA-0ADF-47F1-AB9C-DD83E6631E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87596" y="1610608"/>
            <a:ext cx="2590453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762000" eaLnBrk="0" hangingPunct="0">
              <a:buSzPct val="115000"/>
            </a:pPr>
            <a:r>
              <a:rPr lang="en-US" sz="1600" b="1" dirty="0"/>
              <a:t>Porter’s generic strategies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5572809C-6BD2-46F7-A40D-41E6F043024A}"/>
              </a:ext>
            </a:extLst>
          </p:cNvPr>
          <p:cNvSpPr txBox="1"/>
          <p:nvPr/>
        </p:nvSpPr>
        <p:spPr>
          <a:xfrm>
            <a:off x="7541705" y="4332907"/>
            <a:ext cx="1575853" cy="355276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600" b="1" dirty="0" err="1">
                <a:ea typeface="Roboto Medium" panose="02000000000000000000" pitchFamily="2" charset="0"/>
              </a:rPr>
              <a:t>Stay</a:t>
            </a:r>
            <a:r>
              <a:rPr lang="de-CH" sz="1600" b="1" dirty="0">
                <a:ea typeface="Roboto Medium" panose="02000000000000000000" pitchFamily="2" charset="0"/>
              </a:rPr>
              <a:t> regional!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1F6BF5B1-1D81-4F3C-BC83-03A98B58A45F}"/>
              </a:ext>
            </a:extLst>
          </p:cNvPr>
          <p:cNvSpPr txBox="1"/>
          <p:nvPr/>
        </p:nvSpPr>
        <p:spPr>
          <a:xfrm>
            <a:off x="7541705" y="2572789"/>
            <a:ext cx="3480221" cy="355276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600" b="1" dirty="0" err="1">
                <a:ea typeface="Roboto Medium" panose="02000000000000000000" pitchFamily="2" charset="0"/>
              </a:rPr>
              <a:t>Build</a:t>
            </a:r>
            <a:r>
              <a:rPr lang="de-CH" sz="1600" b="1" dirty="0">
                <a:ea typeface="Roboto Medium" panose="02000000000000000000" pitchFamily="2" charset="0"/>
              </a:rPr>
              <a:t> on </a:t>
            </a:r>
            <a:r>
              <a:rPr lang="de-CH" sz="1600" b="1" dirty="0" err="1">
                <a:ea typeface="Roboto Medium" panose="02000000000000000000" pitchFamily="2" charset="0"/>
              </a:rPr>
              <a:t>technological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strenghts</a:t>
            </a:r>
            <a:r>
              <a:rPr lang="de-CH" sz="1600" b="1" dirty="0">
                <a:ea typeface="Roboto Medium" panose="02000000000000000000" pitchFamily="2" charset="0"/>
              </a:rPr>
              <a:t>!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A0D1DEB3-161B-4836-AB75-AE370C84D149}"/>
              </a:ext>
            </a:extLst>
          </p:cNvPr>
          <p:cNvSpPr txBox="1"/>
          <p:nvPr/>
        </p:nvSpPr>
        <p:spPr>
          <a:xfrm>
            <a:off x="7541705" y="3116541"/>
            <a:ext cx="3278627" cy="355276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600" b="1" dirty="0" err="1">
                <a:ea typeface="Roboto Medium" panose="02000000000000000000" pitchFamily="2" charset="0"/>
              </a:rPr>
              <a:t>Avoid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cost</a:t>
            </a:r>
            <a:r>
              <a:rPr lang="de-CH" sz="1600" b="1" dirty="0">
                <a:ea typeface="Roboto Medium" panose="02000000000000000000" pitchFamily="2" charset="0"/>
              </a:rPr>
              <a:t> sensitive </a:t>
            </a:r>
            <a:r>
              <a:rPr lang="de-CH" sz="1600" b="1" dirty="0" err="1">
                <a:ea typeface="Roboto Medium" panose="02000000000000000000" pitchFamily="2" charset="0"/>
              </a:rPr>
              <a:t>segments</a:t>
            </a:r>
            <a:r>
              <a:rPr lang="de-CH" sz="1600" b="1" dirty="0">
                <a:ea typeface="Roboto Medium" panose="02000000000000000000" pitchFamily="2" charset="0"/>
              </a:rPr>
              <a:t>!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F909BE6E-1BB2-4ECB-831A-CBCE509EBFAA}"/>
              </a:ext>
            </a:extLst>
          </p:cNvPr>
          <p:cNvSpPr txBox="1"/>
          <p:nvPr/>
        </p:nvSpPr>
        <p:spPr>
          <a:xfrm>
            <a:off x="7541705" y="3708741"/>
            <a:ext cx="4434392" cy="355276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600" b="1" dirty="0" err="1">
                <a:ea typeface="Roboto Medium" panose="02000000000000000000" pitchFamily="2" charset="0"/>
              </a:rPr>
              <a:t>Avoid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complexity</a:t>
            </a:r>
            <a:r>
              <a:rPr lang="de-CH" sz="1600" b="1" dirty="0">
                <a:ea typeface="Roboto Medium" panose="02000000000000000000" pitchFamily="2" charset="0"/>
              </a:rPr>
              <a:t> in </a:t>
            </a:r>
            <a:r>
              <a:rPr lang="de-CH" sz="1600" b="1" dirty="0" err="1">
                <a:ea typeface="Roboto Medium" panose="02000000000000000000" pitchFamily="2" charset="0"/>
              </a:rPr>
              <a:t>distribution</a:t>
            </a:r>
            <a:r>
              <a:rPr lang="de-CH" sz="1600" b="1" dirty="0">
                <a:ea typeface="Roboto Medium" panose="02000000000000000000" pitchFamily="2" charset="0"/>
              </a:rPr>
              <a:t> &amp; </a:t>
            </a:r>
            <a:r>
              <a:rPr lang="de-CH" sz="1600" b="1" dirty="0" err="1">
                <a:ea typeface="Roboto Medium" panose="02000000000000000000" pitchFamily="2" charset="0"/>
              </a:rPr>
              <a:t>service</a:t>
            </a:r>
            <a:r>
              <a:rPr lang="de-CH" sz="1600" b="1" dirty="0">
                <a:ea typeface="Roboto Medium" panose="02000000000000000000" pitchFamily="2" charset="0"/>
              </a:rPr>
              <a:t>! </a:t>
            </a:r>
          </a:p>
        </p:txBody>
      </p:sp>
    </p:spTree>
    <p:extLst>
      <p:ext uri="{BB962C8B-B14F-4D97-AF65-F5344CB8AC3E}">
        <p14:creationId xmlns:p14="http://schemas.microsoft.com/office/powerpoint/2010/main" val="14578083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6FD40599-561A-4F97-B337-86C4D53916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7199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6FD40599-561A-4F97-B337-86C4D5391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8E4B39B-3223-409F-BA04-FB39B05718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252F1E5-3553-4215-B391-CC521A8B7A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6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576965E-3B1C-4D63-938E-36F16A3A3B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CH" dirty="0" err="1"/>
              <a:t>Using</a:t>
            </a:r>
            <a:r>
              <a:rPr lang="de-CH" dirty="0"/>
              <a:t> a </a:t>
            </a:r>
            <a:r>
              <a:rPr lang="de-CH" dirty="0" err="1"/>
              <a:t>focus</a:t>
            </a:r>
            <a:r>
              <a:rPr lang="de-CH" dirty="0"/>
              <a:t> </a:t>
            </a:r>
            <a:r>
              <a:rPr lang="de-CH" dirty="0" err="1"/>
              <a:t>strategy</a:t>
            </a:r>
            <a:r>
              <a:rPr lang="de-CH" dirty="0"/>
              <a:t>, </a:t>
            </a:r>
            <a:r>
              <a:rPr lang="de-CH" dirty="0" err="1"/>
              <a:t>personalized</a:t>
            </a:r>
            <a:r>
              <a:rPr lang="de-CH" dirty="0"/>
              <a:t> design </a:t>
            </a:r>
            <a:r>
              <a:rPr lang="de-CH" dirty="0" err="1"/>
              <a:t>i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ifferentiation</a:t>
            </a:r>
            <a:endParaRPr lang="de-CH" dirty="0"/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9437DA43-FF93-48FB-81B5-DBAA3DEC1561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5">
            <a:clrChange>
              <a:clrFrom>
                <a:srgbClr val="EEEEEF"/>
              </a:clrFrom>
              <a:clrTo>
                <a:srgbClr val="EEEEE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028265" y="1596997"/>
            <a:ext cx="8610132" cy="4751387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4B14CFD-D7BF-4C29-895A-409EF3022B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sz="2000" b="1" dirty="0" err="1">
                <a:solidFill>
                  <a:srgbClr val="191919"/>
                </a:solidFill>
              </a:rPr>
              <a:t>Wha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our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valu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proposition</a:t>
            </a:r>
            <a:r>
              <a:rPr lang="de-CH" sz="2000" b="1" dirty="0">
                <a:solidFill>
                  <a:srgbClr val="191919"/>
                </a:solidFill>
              </a:rPr>
              <a:t>?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5CA343A-E931-4D81-B05E-8341FA26BAC8}"/>
              </a:ext>
            </a:extLst>
          </p:cNvPr>
          <p:cNvSpPr txBox="1"/>
          <p:nvPr/>
        </p:nvSpPr>
        <p:spPr>
          <a:xfrm>
            <a:off x="9815446" y="4006875"/>
            <a:ext cx="1056298" cy="66305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Keep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other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devices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powered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DC96387-3CC9-4AD5-8ABA-B87E0E80ADA2}"/>
              </a:ext>
            </a:extLst>
          </p:cNvPr>
          <p:cNvSpPr txBox="1"/>
          <p:nvPr/>
        </p:nvSpPr>
        <p:spPr>
          <a:xfrm>
            <a:off x="9447039" y="2784097"/>
            <a:ext cx="1119387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Keep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phon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powered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0ABB229-41F9-432B-9D1B-77589966BC37}"/>
              </a:ext>
            </a:extLst>
          </p:cNvPr>
          <p:cNvSpPr txBox="1"/>
          <p:nvPr/>
        </p:nvSpPr>
        <p:spPr>
          <a:xfrm>
            <a:off x="7727437" y="1869266"/>
            <a:ext cx="1400554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ommunicat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style and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values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A9869C-F50C-4452-89BD-1568565855E1}"/>
              </a:ext>
            </a:extLst>
          </p:cNvPr>
          <p:cNvSpPr txBox="1"/>
          <p:nvPr/>
        </p:nvSpPr>
        <p:spPr>
          <a:xfrm>
            <a:off x="6621325" y="3721631"/>
            <a:ext cx="1893953" cy="293721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Waiting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whil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harging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7ADF6C9-D911-4168-9B46-EB65BF7ED94B}"/>
              </a:ext>
            </a:extLst>
          </p:cNvPr>
          <p:cNvSpPr txBox="1"/>
          <p:nvPr/>
        </p:nvSpPr>
        <p:spPr>
          <a:xfrm>
            <a:off x="6759817" y="4084137"/>
            <a:ext cx="1237619" cy="293721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ompitability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884B652-D86B-455C-BF1C-F0F93E482EB5}"/>
              </a:ext>
            </a:extLst>
          </p:cNvPr>
          <p:cNvSpPr txBox="1"/>
          <p:nvPr/>
        </p:nvSpPr>
        <p:spPr>
          <a:xfrm>
            <a:off x="7922231" y="5086130"/>
            <a:ext cx="1102967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Positioning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on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harger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5BFC6A9-7B32-4F08-ADC0-2A024C0A5DEC}"/>
              </a:ext>
            </a:extLst>
          </p:cNvPr>
          <p:cNvSpPr txBox="1"/>
          <p:nvPr/>
        </p:nvSpPr>
        <p:spPr>
          <a:xfrm>
            <a:off x="4288705" y="5027919"/>
            <a:ext cx="1675240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Compact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siz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, 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singl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harging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pad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311A4D7-3C52-4A3C-8966-50070256C08F}"/>
              </a:ext>
            </a:extLst>
          </p:cNvPr>
          <p:cNvSpPr txBox="1"/>
          <p:nvPr/>
        </p:nvSpPr>
        <p:spPr>
          <a:xfrm>
            <a:off x="4538823" y="4010259"/>
            <a:ext cx="1425122" cy="293721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10W-15W power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830EC54-D42A-4636-B369-75283C15128D}"/>
              </a:ext>
            </a:extLst>
          </p:cNvPr>
          <p:cNvSpPr txBox="1"/>
          <p:nvPr/>
        </p:nvSpPr>
        <p:spPr>
          <a:xfrm>
            <a:off x="4799849" y="1731515"/>
            <a:ext cx="1162685" cy="478387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Personalized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design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FF68B786-17FA-47A5-A7F4-B86D0F8EEB26}"/>
              </a:ext>
            </a:extLst>
          </p:cNvPr>
          <p:cNvSpPr txBox="1"/>
          <p:nvPr/>
        </p:nvSpPr>
        <p:spPr>
          <a:xfrm>
            <a:off x="2156134" y="2756633"/>
            <a:ext cx="847125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Wireless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harger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7E325468-45E4-4646-BFF8-DC08B036355D}"/>
              </a:ext>
            </a:extLst>
          </p:cNvPr>
          <p:cNvSpPr txBox="1"/>
          <p:nvPr/>
        </p:nvSpPr>
        <p:spPr>
          <a:xfrm>
            <a:off x="3225137" y="4611517"/>
            <a:ext cx="1296931" cy="293721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Qi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ertification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D2C0436-3A95-4B12-983B-CD75F1A08110}"/>
              </a:ext>
            </a:extLst>
          </p:cNvPr>
          <p:cNvSpPr txBox="1"/>
          <p:nvPr/>
        </p:nvSpPr>
        <p:spPr>
          <a:xfrm>
            <a:off x="8085975" y="4549532"/>
            <a:ext cx="1611119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Battery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anxiety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,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harger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availability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03A89C3D-FE47-4EBE-BF95-A370FE36A8D9}"/>
              </a:ext>
            </a:extLst>
          </p:cNvPr>
          <p:cNvSpPr txBox="1"/>
          <p:nvPr/>
        </p:nvSpPr>
        <p:spPr>
          <a:xfrm>
            <a:off x="3374696" y="2544903"/>
            <a:ext cx="1119388" cy="478387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Sustainabl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materials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1A4344D1-57A6-4EC0-A1E6-57C49D182F1E}"/>
              </a:ext>
            </a:extLst>
          </p:cNvPr>
          <p:cNvSpPr txBox="1"/>
          <p:nvPr/>
        </p:nvSpPr>
        <p:spPr>
          <a:xfrm>
            <a:off x="3668080" y="1731515"/>
            <a:ext cx="984784" cy="478387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OST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branding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2A2771F3-338C-4721-9F2E-9CE16229C7D8}"/>
              </a:ext>
            </a:extLst>
          </p:cNvPr>
          <p:cNvSpPr txBox="1"/>
          <p:nvPr/>
        </p:nvSpPr>
        <p:spPr>
          <a:xfrm>
            <a:off x="8115505" y="2394908"/>
            <a:ext cx="1283257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Identification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with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OST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1910B47F-A168-4F17-99B5-68A3F660413C}"/>
              </a:ext>
            </a:extLst>
          </p:cNvPr>
          <p:cNvSpPr txBox="1"/>
          <p:nvPr/>
        </p:nvSpPr>
        <p:spPr>
          <a:xfrm>
            <a:off x="2621429" y="5062099"/>
            <a:ext cx="1074112" cy="478387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i="1" dirty="0">
                <a:solidFill>
                  <a:schemeClr val="bg1"/>
                </a:solidFill>
                <a:ea typeface="Roboto Medium" panose="02000000000000000000" pitchFamily="2" charset="0"/>
              </a:rPr>
              <a:t>Optional: 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MagSafe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DDEED5E3-EE74-4965-8396-D28A37B4CEAB}"/>
              </a:ext>
            </a:extLst>
          </p:cNvPr>
          <p:cNvSpPr txBox="1"/>
          <p:nvPr/>
        </p:nvSpPr>
        <p:spPr>
          <a:xfrm>
            <a:off x="6844132" y="2998703"/>
            <a:ext cx="1766610" cy="293721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Dual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us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as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USB hub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311C1F43-DDB4-48CB-BE5E-96760BE9C625}"/>
              </a:ext>
            </a:extLst>
          </p:cNvPr>
          <p:cNvSpPr txBox="1"/>
          <p:nvPr/>
        </p:nvSpPr>
        <p:spPr>
          <a:xfrm>
            <a:off x="4746902" y="3058562"/>
            <a:ext cx="1119387" cy="478387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i="1" dirty="0">
                <a:solidFill>
                  <a:schemeClr val="bg1"/>
                </a:solidFill>
                <a:ea typeface="Roboto Medium" panose="02000000000000000000" pitchFamily="2" charset="0"/>
              </a:rPr>
              <a:t>Optional: 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USB hub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B1A08AC-C153-44DF-A1A5-D6F1DD675DB7}"/>
              </a:ext>
            </a:extLst>
          </p:cNvPr>
          <p:cNvSpPr txBox="1"/>
          <p:nvPr/>
        </p:nvSpPr>
        <p:spPr>
          <a:xfrm>
            <a:off x="8114532" y="4092991"/>
            <a:ext cx="928240" cy="293721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Durability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064FBB9-3854-409A-B2AC-8E6771C1B073}"/>
              </a:ext>
            </a:extLst>
          </p:cNvPr>
          <p:cNvSpPr txBox="1"/>
          <p:nvPr/>
        </p:nvSpPr>
        <p:spPr>
          <a:xfrm>
            <a:off x="5172152" y="4435161"/>
            <a:ext cx="790382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Durable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design</a:t>
            </a:r>
          </a:p>
        </p:txBody>
      </p:sp>
    </p:spTree>
    <p:extLst>
      <p:ext uri="{BB962C8B-B14F-4D97-AF65-F5344CB8AC3E}">
        <p14:creationId xmlns:p14="http://schemas.microsoft.com/office/powerpoint/2010/main" val="39769254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6FD40599-561A-4F97-B337-86C4D53916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372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6FD40599-561A-4F97-B337-86C4D5391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8E4B39B-3223-409F-BA04-FB39B05718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252F1E5-3553-4215-B391-CC521A8B7A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7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576965E-3B1C-4D63-938E-36F16A3A3B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CH" dirty="0" err="1"/>
              <a:t>Personaliza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ifferentiation</a:t>
            </a:r>
            <a:r>
              <a:rPr lang="de-CH" dirty="0"/>
              <a:t>, </a:t>
            </a:r>
            <a:r>
              <a:rPr lang="de-CH" dirty="0" err="1"/>
              <a:t>combined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OST </a:t>
            </a:r>
            <a:r>
              <a:rPr lang="de-CH" dirty="0" err="1"/>
              <a:t>branding</a:t>
            </a:r>
            <a:r>
              <a:rPr lang="de-CH" dirty="0"/>
              <a:t> and </a:t>
            </a:r>
            <a:r>
              <a:rPr lang="de-CH" dirty="0" err="1"/>
              <a:t>sustainable</a:t>
            </a:r>
            <a:r>
              <a:rPr lang="de-CH" dirty="0"/>
              <a:t> </a:t>
            </a:r>
            <a:r>
              <a:rPr lang="de-CH" dirty="0" err="1"/>
              <a:t>materials</a:t>
            </a:r>
            <a:endParaRPr lang="de-CH" dirty="0"/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9437DA43-FF93-48FB-81B5-DBAA3DEC1561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5">
            <a:clrChange>
              <a:clrFrom>
                <a:srgbClr val="EEEEEF"/>
              </a:clrFrom>
              <a:clrTo>
                <a:srgbClr val="EEEEEF">
                  <a:alpha val="0"/>
                </a:srgbClr>
              </a:clrTo>
            </a:clrChange>
          </a:blip>
          <a:srcRect r="50288"/>
          <a:stretch/>
        </p:blipFill>
        <p:spPr>
          <a:xfrm>
            <a:off x="2028265" y="1596997"/>
            <a:ext cx="4280256" cy="4751387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4B14CFD-D7BF-4C29-895A-409EF3022B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sz="2000" b="1" dirty="0" err="1">
                <a:solidFill>
                  <a:srgbClr val="191919"/>
                </a:solidFill>
              </a:rPr>
              <a:t>Wha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our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valu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proposition</a:t>
            </a:r>
            <a:r>
              <a:rPr lang="de-CH" sz="2000" b="1" dirty="0">
                <a:solidFill>
                  <a:srgbClr val="191919"/>
                </a:solidFill>
              </a:rPr>
              <a:t>?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5BFC6A9-7B32-4F08-ADC0-2A024C0A5DEC}"/>
              </a:ext>
            </a:extLst>
          </p:cNvPr>
          <p:cNvSpPr txBox="1"/>
          <p:nvPr/>
        </p:nvSpPr>
        <p:spPr>
          <a:xfrm>
            <a:off x="4288705" y="5027919"/>
            <a:ext cx="1675240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Compact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siz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, 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singl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harging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pad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311A4D7-3C52-4A3C-8966-50070256C08F}"/>
              </a:ext>
            </a:extLst>
          </p:cNvPr>
          <p:cNvSpPr txBox="1"/>
          <p:nvPr/>
        </p:nvSpPr>
        <p:spPr>
          <a:xfrm>
            <a:off x="4538823" y="4010259"/>
            <a:ext cx="1425122" cy="293721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10W-15W power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FF68B786-17FA-47A5-A7F4-B86D0F8EEB26}"/>
              </a:ext>
            </a:extLst>
          </p:cNvPr>
          <p:cNvSpPr txBox="1"/>
          <p:nvPr/>
        </p:nvSpPr>
        <p:spPr>
          <a:xfrm>
            <a:off x="2156134" y="2756633"/>
            <a:ext cx="847125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Wireless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harger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064FBB9-3854-409A-B2AC-8E6771C1B073}"/>
              </a:ext>
            </a:extLst>
          </p:cNvPr>
          <p:cNvSpPr txBox="1"/>
          <p:nvPr/>
        </p:nvSpPr>
        <p:spPr>
          <a:xfrm>
            <a:off x="5172152" y="4435161"/>
            <a:ext cx="790382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Durable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design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8399786-93AD-4226-B646-30005A96E0EE}"/>
              </a:ext>
            </a:extLst>
          </p:cNvPr>
          <p:cNvSpPr/>
          <p:nvPr/>
        </p:nvSpPr>
        <p:spPr>
          <a:xfrm>
            <a:off x="3288484" y="2492845"/>
            <a:ext cx="1250339" cy="604564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0352BB0F-C475-4D82-AB2D-FD3427EF506E}"/>
              </a:ext>
            </a:extLst>
          </p:cNvPr>
          <p:cNvCxnSpPr>
            <a:cxnSpLocks/>
            <a:stCxn id="50" idx="3"/>
          </p:cNvCxnSpPr>
          <p:nvPr/>
        </p:nvCxnSpPr>
        <p:spPr>
          <a:xfrm>
            <a:off x="5962534" y="1970709"/>
            <a:ext cx="1017106" cy="8456"/>
          </a:xfrm>
          <a:prstGeom prst="line">
            <a:avLst/>
          </a:prstGeom>
          <a:ln w="25400">
            <a:solidFill>
              <a:schemeClr val="tx2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4DCDC9B2-1B41-4140-9A60-2AAADD82F22D}"/>
              </a:ext>
            </a:extLst>
          </p:cNvPr>
          <p:cNvSpPr txBox="1"/>
          <p:nvPr/>
        </p:nvSpPr>
        <p:spPr>
          <a:xfrm>
            <a:off x="2621429" y="5062099"/>
            <a:ext cx="1074112" cy="478387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i="1" dirty="0">
                <a:solidFill>
                  <a:schemeClr val="bg1"/>
                </a:solidFill>
                <a:ea typeface="Roboto Medium" panose="02000000000000000000" pitchFamily="2" charset="0"/>
              </a:rPr>
              <a:t>Optional: 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MagSafe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E2A93713-45DD-4D53-964E-74C7680E380F}"/>
              </a:ext>
            </a:extLst>
          </p:cNvPr>
          <p:cNvSpPr txBox="1"/>
          <p:nvPr/>
        </p:nvSpPr>
        <p:spPr>
          <a:xfrm>
            <a:off x="3225137" y="4611517"/>
            <a:ext cx="1296931" cy="293721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Qi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ertification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grpSp>
        <p:nvGrpSpPr>
          <p:cNvPr id="33" name="Grupo 275">
            <a:extLst>
              <a:ext uri="{FF2B5EF4-FFF2-40B4-BE49-F238E27FC236}">
                <a16:creationId xmlns:a16="http://schemas.microsoft.com/office/drawing/2014/main" id="{AFDD9A2A-6DD3-4A4A-9612-91EE2E6DB92C}"/>
              </a:ext>
            </a:extLst>
          </p:cNvPr>
          <p:cNvGrpSpPr/>
          <p:nvPr/>
        </p:nvGrpSpPr>
        <p:grpSpPr>
          <a:xfrm>
            <a:off x="7332922" y="1617029"/>
            <a:ext cx="3835892" cy="1868745"/>
            <a:chOff x="4247967" y="10486872"/>
            <a:chExt cx="4254270" cy="4333300"/>
          </a:xfrm>
        </p:grpSpPr>
        <p:sp>
          <p:nvSpPr>
            <p:cNvPr id="34" name="CuadroTexto 395">
              <a:extLst>
                <a:ext uri="{FF2B5EF4-FFF2-40B4-BE49-F238E27FC236}">
                  <a16:creationId xmlns:a16="http://schemas.microsoft.com/office/drawing/2014/main" id="{3A1A497D-D1A7-4607-957D-850104E2ED6F}"/>
                </a:ext>
              </a:extLst>
            </p:cNvPr>
            <p:cNvSpPr txBox="1"/>
            <p:nvPr/>
          </p:nvSpPr>
          <p:spPr>
            <a:xfrm flipH="1">
              <a:off x="4247967" y="10486872"/>
              <a:ext cx="4254270" cy="713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+mj-lt"/>
                  <a:ea typeface="Lato" charset="0"/>
                  <a:cs typeface="Lato" charset="0"/>
                </a:rPr>
                <a:t>Personalization makes us different</a:t>
              </a:r>
            </a:p>
          </p:txBody>
        </p:sp>
        <p:sp>
          <p:nvSpPr>
            <p:cNvPr id="35" name="Rectangle 40">
              <a:extLst>
                <a:ext uri="{FF2B5EF4-FFF2-40B4-BE49-F238E27FC236}">
                  <a16:creationId xmlns:a16="http://schemas.microsoft.com/office/drawing/2014/main" id="{F71457AE-BCAB-41CA-BB85-BD9782BF4084}"/>
                </a:ext>
              </a:extLst>
            </p:cNvPr>
            <p:cNvSpPr/>
            <p:nvPr/>
          </p:nvSpPr>
          <p:spPr>
            <a:xfrm>
              <a:off x="4263627" y="11180399"/>
              <a:ext cx="4221143" cy="36397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200" dirty="0" err="1"/>
                <a:t>We</a:t>
              </a:r>
              <a:r>
                <a:rPr lang="de-CH" sz="1200" dirty="0"/>
                <a:t> </a:t>
              </a:r>
              <a:r>
                <a:rPr lang="de-CH" sz="1200" dirty="0" err="1"/>
                <a:t>propose</a:t>
              </a:r>
              <a:r>
                <a:rPr lang="de-CH" sz="1200" dirty="0"/>
                <a:t> a </a:t>
              </a:r>
              <a:r>
                <a:rPr lang="de-CH" sz="1200" dirty="0" err="1"/>
                <a:t>personalized</a:t>
              </a:r>
              <a:r>
                <a:rPr lang="de-CH" sz="1200" dirty="0"/>
                <a:t> design </a:t>
              </a:r>
              <a:r>
                <a:rPr lang="de-CH" sz="1200" dirty="0" err="1"/>
                <a:t>as</a:t>
              </a:r>
              <a:r>
                <a:rPr lang="de-CH" sz="1200" dirty="0"/>
                <a:t> </a:t>
              </a:r>
              <a:r>
                <a:rPr lang="de-CH" sz="1200" dirty="0" err="1"/>
                <a:t>the</a:t>
              </a:r>
              <a:r>
                <a:rPr lang="de-CH" sz="1200" dirty="0"/>
                <a:t> </a:t>
              </a:r>
              <a:r>
                <a:rPr lang="de-CH" sz="1200" dirty="0" err="1"/>
                <a:t>core</a:t>
              </a:r>
              <a:r>
                <a:rPr lang="de-CH" sz="1200" dirty="0"/>
                <a:t> </a:t>
              </a:r>
              <a:r>
                <a:rPr lang="de-CH" sz="1200" dirty="0" err="1"/>
                <a:t>of</a:t>
              </a:r>
              <a:r>
                <a:rPr lang="de-CH" sz="1200" dirty="0"/>
                <a:t> </a:t>
              </a:r>
              <a:r>
                <a:rPr lang="de-CH" sz="1200" dirty="0" err="1"/>
                <a:t>our</a:t>
              </a:r>
              <a:r>
                <a:rPr lang="de-CH" sz="1200" dirty="0"/>
                <a:t> </a:t>
              </a:r>
              <a:r>
                <a:rPr lang="de-CH" sz="1200" dirty="0" err="1"/>
                <a:t>differentiation</a:t>
              </a:r>
              <a:r>
                <a:rPr lang="de-CH" sz="1200" dirty="0"/>
                <a:t>, </a:t>
              </a:r>
              <a:r>
                <a:rPr lang="de-CH" sz="1200" dirty="0" err="1"/>
                <a:t>because</a:t>
              </a:r>
              <a:endParaRPr lang="de-CH" sz="12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CH" sz="1200" dirty="0" err="1"/>
                <a:t>Consumers</a:t>
              </a:r>
              <a:r>
                <a:rPr lang="de-CH" sz="1200" dirty="0"/>
                <a:t> </a:t>
              </a:r>
              <a:r>
                <a:rPr lang="de-CH" sz="1200" dirty="0" err="1"/>
                <a:t>want</a:t>
              </a:r>
              <a:r>
                <a:rPr lang="de-CH" sz="1200" dirty="0"/>
                <a:t> </a:t>
              </a:r>
              <a:r>
                <a:rPr lang="de-CH" sz="1200" dirty="0" err="1"/>
                <a:t>it</a:t>
              </a:r>
              <a:r>
                <a:rPr lang="de-CH" sz="1200" dirty="0"/>
                <a:t> (</a:t>
              </a:r>
              <a:r>
                <a:rPr lang="de-CH" sz="1200" dirty="0">
                  <a:sym typeface="Wingdings" panose="05000000000000000000" pitchFamily="2" charset="2"/>
                </a:rPr>
                <a:t></a:t>
              </a:r>
              <a:r>
                <a:rPr lang="de-CH" sz="1200" dirty="0"/>
                <a:t> </a:t>
              </a:r>
              <a:r>
                <a:rPr lang="de-CH" sz="1200" dirty="0" err="1"/>
                <a:t>slide</a:t>
              </a:r>
              <a:r>
                <a:rPr lang="de-CH" sz="1200" dirty="0"/>
                <a:t> 20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CH" sz="1200" dirty="0" err="1"/>
                <a:t>Our</a:t>
              </a:r>
              <a:r>
                <a:rPr lang="de-CH" sz="1200" dirty="0"/>
                <a:t> </a:t>
              </a:r>
              <a:r>
                <a:rPr lang="de-CH" sz="1200" dirty="0" err="1"/>
                <a:t>strenghts</a:t>
              </a:r>
              <a:r>
                <a:rPr lang="de-CH" sz="1200" dirty="0"/>
                <a:t> in digital </a:t>
              </a:r>
              <a:r>
                <a:rPr lang="de-CH" sz="1200" dirty="0" err="1"/>
                <a:t>manufacturing</a:t>
              </a:r>
              <a:r>
                <a:rPr lang="de-CH" sz="1200" dirty="0"/>
                <a:t> </a:t>
              </a:r>
              <a:r>
                <a:rPr lang="de-CH" sz="1200" dirty="0" err="1"/>
                <a:t>enables</a:t>
              </a:r>
              <a:r>
                <a:rPr lang="de-CH" sz="1200" dirty="0"/>
                <a:t> </a:t>
              </a:r>
              <a:r>
                <a:rPr lang="de-CH" sz="1200" dirty="0" err="1"/>
                <a:t>us</a:t>
              </a:r>
              <a:r>
                <a:rPr lang="de-CH" sz="1200" dirty="0"/>
                <a:t> </a:t>
              </a:r>
              <a:r>
                <a:rPr lang="de-CH" sz="1200" dirty="0" err="1"/>
                <a:t>to</a:t>
              </a:r>
              <a:r>
                <a:rPr lang="de-CH" sz="1200" dirty="0"/>
                <a:t> do </a:t>
              </a:r>
              <a:r>
                <a:rPr lang="de-CH" sz="1200" dirty="0" err="1"/>
                <a:t>it</a:t>
              </a:r>
              <a:r>
                <a:rPr lang="de-CH" sz="1200" dirty="0"/>
                <a:t> (</a:t>
              </a:r>
              <a:r>
                <a:rPr lang="de-CH" sz="1200" dirty="0">
                  <a:sym typeface="Wingdings" panose="05000000000000000000" pitchFamily="2" charset="2"/>
                </a:rPr>
                <a:t></a:t>
              </a:r>
              <a:r>
                <a:rPr lang="de-CH" sz="1200" dirty="0"/>
                <a:t> </a:t>
              </a:r>
              <a:r>
                <a:rPr lang="de-CH" sz="1200" dirty="0" err="1"/>
                <a:t>slide</a:t>
              </a:r>
              <a:r>
                <a:rPr lang="de-CH" sz="1200" dirty="0"/>
                <a:t> 27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CH" sz="1200" dirty="0" err="1"/>
                <a:t>It</a:t>
              </a:r>
              <a:r>
                <a:rPr lang="de-CH" sz="1200" dirty="0"/>
                <a:t> </a:t>
              </a:r>
              <a:r>
                <a:rPr lang="de-CH" sz="1200" dirty="0" err="1"/>
                <a:t>enables</a:t>
              </a:r>
              <a:r>
                <a:rPr lang="de-CH" sz="1200" dirty="0"/>
                <a:t> </a:t>
              </a:r>
              <a:r>
                <a:rPr lang="de-CH" sz="1200" dirty="0" err="1"/>
                <a:t>us</a:t>
              </a:r>
              <a:r>
                <a:rPr lang="de-CH" sz="1200" dirty="0"/>
                <a:t> </a:t>
              </a:r>
              <a:r>
                <a:rPr lang="de-CH" sz="1200" dirty="0" err="1"/>
                <a:t>to</a:t>
              </a:r>
              <a:r>
                <a:rPr lang="de-CH" sz="1200" dirty="0"/>
                <a:t> </a:t>
              </a:r>
              <a:r>
                <a:rPr lang="de-CH" sz="1200" dirty="0" err="1"/>
                <a:t>demonstrate</a:t>
              </a:r>
              <a:r>
                <a:rPr lang="de-CH" sz="1200" dirty="0"/>
                <a:t> </a:t>
              </a:r>
              <a:r>
                <a:rPr lang="de-CH" sz="1200" dirty="0" err="1"/>
                <a:t>OST’s</a:t>
              </a:r>
              <a:r>
                <a:rPr lang="de-CH" sz="1200" dirty="0"/>
                <a:t> </a:t>
              </a:r>
              <a:r>
                <a:rPr lang="de-CH" sz="1200" dirty="0" err="1"/>
                <a:t>competencies</a:t>
              </a:r>
              <a:r>
                <a:rPr lang="de-CH" sz="1200" dirty="0"/>
                <a:t>, </a:t>
              </a:r>
              <a:r>
                <a:rPr lang="de-CH" sz="1200" dirty="0" err="1"/>
                <a:t>which</a:t>
              </a:r>
              <a:r>
                <a:rPr lang="de-CH" sz="1200" dirty="0"/>
                <a:t> </a:t>
              </a:r>
              <a:r>
                <a:rPr lang="de-CH" sz="1200" dirty="0" err="1"/>
                <a:t>is</a:t>
              </a:r>
              <a:r>
                <a:rPr lang="de-CH" sz="1200" dirty="0"/>
                <a:t> </a:t>
              </a:r>
              <a:r>
                <a:rPr lang="de-CH" sz="1200" dirty="0" err="1"/>
                <a:t>one</a:t>
              </a:r>
              <a:r>
                <a:rPr lang="de-CH" sz="1200" dirty="0"/>
                <a:t> </a:t>
              </a:r>
              <a:r>
                <a:rPr lang="de-CH" sz="1200" dirty="0" err="1"/>
                <a:t>of</a:t>
              </a:r>
              <a:r>
                <a:rPr lang="de-CH" sz="1200" dirty="0"/>
                <a:t> </a:t>
              </a:r>
              <a:r>
                <a:rPr lang="de-CH" sz="1200" dirty="0" err="1"/>
                <a:t>the</a:t>
              </a:r>
              <a:r>
                <a:rPr lang="de-CH" sz="1200" dirty="0"/>
                <a:t> </a:t>
              </a:r>
              <a:r>
                <a:rPr lang="de-CH" sz="1200" dirty="0" err="1"/>
                <a:t>key</a:t>
              </a:r>
              <a:r>
                <a:rPr lang="de-CH" sz="1200" dirty="0"/>
                <a:t> </a:t>
              </a:r>
              <a:r>
                <a:rPr lang="de-CH" sz="1200" dirty="0" err="1"/>
                <a:t>requirements</a:t>
              </a:r>
              <a:r>
                <a:rPr lang="de-CH" sz="1200" dirty="0"/>
                <a:t> on </a:t>
              </a:r>
              <a:r>
                <a:rPr lang="de-CH" sz="1200" dirty="0" err="1"/>
                <a:t>the</a:t>
              </a:r>
              <a:r>
                <a:rPr lang="de-CH" sz="1200" dirty="0"/>
                <a:t> </a:t>
              </a:r>
              <a:r>
                <a:rPr lang="de-CH" sz="1200" dirty="0" err="1"/>
                <a:t>product</a:t>
              </a:r>
              <a:r>
                <a:rPr lang="de-CH" sz="1200" dirty="0"/>
                <a:t> (</a:t>
              </a:r>
              <a:r>
                <a:rPr lang="de-CH" sz="1200" dirty="0">
                  <a:sym typeface="Wingdings" panose="05000000000000000000" pitchFamily="2" charset="2"/>
                </a:rPr>
                <a:t></a:t>
              </a:r>
              <a:r>
                <a:rPr lang="de-CH" sz="1200" dirty="0"/>
                <a:t> </a:t>
              </a:r>
              <a:r>
                <a:rPr lang="de-CH" sz="1200" dirty="0" err="1"/>
                <a:t>slide</a:t>
              </a:r>
              <a:r>
                <a:rPr lang="de-CH" sz="1200" dirty="0"/>
                <a:t> 6)</a:t>
              </a:r>
            </a:p>
          </p:txBody>
        </p:sp>
      </p:grpSp>
      <p:sp>
        <p:nvSpPr>
          <p:cNvPr id="39" name="Rechteck 38">
            <a:extLst>
              <a:ext uri="{FF2B5EF4-FFF2-40B4-BE49-F238E27FC236}">
                <a16:creationId xmlns:a16="http://schemas.microsoft.com/office/drawing/2014/main" id="{F039DE49-170A-44F4-BA61-3EFEC6B7134A}"/>
              </a:ext>
            </a:extLst>
          </p:cNvPr>
          <p:cNvSpPr/>
          <p:nvPr/>
        </p:nvSpPr>
        <p:spPr>
          <a:xfrm>
            <a:off x="3623416" y="1701052"/>
            <a:ext cx="1074112" cy="548628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9A47BBB8-9A79-438E-80B5-5DA86BE86BFC}"/>
              </a:ext>
            </a:extLst>
          </p:cNvPr>
          <p:cNvSpPr/>
          <p:nvPr/>
        </p:nvSpPr>
        <p:spPr>
          <a:xfrm>
            <a:off x="4742192" y="1692875"/>
            <a:ext cx="1255932" cy="548629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D09D575-978C-49AE-AAA0-0D608E0A120F}"/>
              </a:ext>
            </a:extLst>
          </p:cNvPr>
          <p:cNvCxnSpPr>
            <a:cxnSpLocks/>
            <a:stCxn id="5" idx="2"/>
          </p:cNvCxnSpPr>
          <p:nvPr/>
        </p:nvCxnSpPr>
        <p:spPr>
          <a:xfrm>
            <a:off x="3913654" y="3097409"/>
            <a:ext cx="3218386" cy="2079326"/>
          </a:xfrm>
          <a:prstGeom prst="line">
            <a:avLst/>
          </a:prstGeom>
          <a:ln w="25400">
            <a:solidFill>
              <a:schemeClr val="tx2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Textfeld 49">
            <a:extLst>
              <a:ext uri="{FF2B5EF4-FFF2-40B4-BE49-F238E27FC236}">
                <a16:creationId xmlns:a16="http://schemas.microsoft.com/office/drawing/2014/main" id="{63F259F5-0755-4DFD-8124-EB7D34A831B5}"/>
              </a:ext>
            </a:extLst>
          </p:cNvPr>
          <p:cNvSpPr txBox="1"/>
          <p:nvPr/>
        </p:nvSpPr>
        <p:spPr>
          <a:xfrm>
            <a:off x="4799849" y="1731515"/>
            <a:ext cx="1162685" cy="478387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Personalized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design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92CDC788-A66C-4CA6-B7A0-5F467A18CAEB}"/>
              </a:ext>
            </a:extLst>
          </p:cNvPr>
          <p:cNvSpPr txBox="1"/>
          <p:nvPr/>
        </p:nvSpPr>
        <p:spPr>
          <a:xfrm>
            <a:off x="3374696" y="2544903"/>
            <a:ext cx="1119388" cy="478387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Sustainabl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materials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7454D070-3397-4E1C-B3C2-85B4A46C9961}"/>
              </a:ext>
            </a:extLst>
          </p:cNvPr>
          <p:cNvSpPr txBox="1"/>
          <p:nvPr/>
        </p:nvSpPr>
        <p:spPr>
          <a:xfrm>
            <a:off x="3668080" y="1731515"/>
            <a:ext cx="984784" cy="478387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OST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branding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7F4D89DF-EE8A-4D50-9036-540141F1E6BB}"/>
              </a:ext>
            </a:extLst>
          </p:cNvPr>
          <p:cNvSpPr txBox="1"/>
          <p:nvPr/>
        </p:nvSpPr>
        <p:spPr>
          <a:xfrm>
            <a:off x="4746902" y="3058562"/>
            <a:ext cx="1119387" cy="478387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i="1" dirty="0">
                <a:solidFill>
                  <a:schemeClr val="bg1"/>
                </a:solidFill>
                <a:ea typeface="Roboto Medium" panose="02000000000000000000" pitchFamily="2" charset="0"/>
              </a:rPr>
              <a:t>Optional: 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USB hub</a:t>
            </a:r>
          </a:p>
        </p:txBody>
      </p:sp>
      <p:grpSp>
        <p:nvGrpSpPr>
          <p:cNvPr id="75" name="Grupo 275">
            <a:extLst>
              <a:ext uri="{FF2B5EF4-FFF2-40B4-BE49-F238E27FC236}">
                <a16:creationId xmlns:a16="http://schemas.microsoft.com/office/drawing/2014/main" id="{BCB8CD3E-62A7-4431-9AB8-6A09EB6B464F}"/>
              </a:ext>
            </a:extLst>
          </p:cNvPr>
          <p:cNvGrpSpPr/>
          <p:nvPr/>
        </p:nvGrpSpPr>
        <p:grpSpPr>
          <a:xfrm>
            <a:off x="7331293" y="3629884"/>
            <a:ext cx="3835892" cy="760750"/>
            <a:chOff x="4247967" y="10486872"/>
            <a:chExt cx="4254270" cy="1764049"/>
          </a:xfrm>
        </p:grpSpPr>
        <p:sp>
          <p:nvSpPr>
            <p:cNvPr id="76" name="CuadroTexto 395">
              <a:extLst>
                <a:ext uri="{FF2B5EF4-FFF2-40B4-BE49-F238E27FC236}">
                  <a16:creationId xmlns:a16="http://schemas.microsoft.com/office/drawing/2014/main" id="{256EF23F-92F4-4A72-B39F-886D4B990EA2}"/>
                </a:ext>
              </a:extLst>
            </p:cNvPr>
            <p:cNvSpPr txBox="1"/>
            <p:nvPr/>
          </p:nvSpPr>
          <p:spPr>
            <a:xfrm flipH="1">
              <a:off x="4247967" y="10486872"/>
              <a:ext cx="4254270" cy="713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+mj-lt"/>
                  <a:ea typeface="Lato" charset="0"/>
                  <a:cs typeface="Lato" charset="0"/>
                </a:rPr>
                <a:t>OST branding makes the merchandise</a:t>
              </a:r>
            </a:p>
          </p:txBody>
        </p:sp>
        <p:sp>
          <p:nvSpPr>
            <p:cNvPr id="77" name="Rectangle 40">
              <a:extLst>
                <a:ext uri="{FF2B5EF4-FFF2-40B4-BE49-F238E27FC236}">
                  <a16:creationId xmlns:a16="http://schemas.microsoft.com/office/drawing/2014/main" id="{FE9B6AC1-FAC3-4A07-86EC-78D45F857177}"/>
                </a:ext>
              </a:extLst>
            </p:cNvPr>
            <p:cNvSpPr/>
            <p:nvPr/>
          </p:nvSpPr>
          <p:spPr>
            <a:xfrm>
              <a:off x="4263627" y="11180399"/>
              <a:ext cx="4221143" cy="10705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200" dirty="0"/>
                <a:t>A strong and visible OST </a:t>
              </a:r>
              <a:r>
                <a:rPr lang="de-CH" sz="1200" dirty="0" err="1"/>
                <a:t>branding</a:t>
              </a:r>
              <a:r>
                <a:rPr lang="de-CH" sz="1200" dirty="0"/>
                <a:t> </a:t>
              </a:r>
              <a:r>
                <a:rPr lang="de-CH" sz="1200" dirty="0" err="1"/>
                <a:t>makes</a:t>
              </a:r>
              <a:r>
                <a:rPr lang="de-CH" sz="1200" dirty="0"/>
                <a:t> </a:t>
              </a:r>
              <a:r>
                <a:rPr lang="de-CH" sz="1200" dirty="0" err="1"/>
                <a:t>the</a:t>
              </a:r>
              <a:r>
                <a:rPr lang="de-CH" sz="1200" dirty="0"/>
                <a:t> </a:t>
              </a:r>
              <a:r>
                <a:rPr lang="de-CH" sz="1200" dirty="0" err="1"/>
                <a:t>product</a:t>
              </a:r>
              <a:r>
                <a:rPr lang="de-CH" sz="1200" dirty="0"/>
                <a:t> a </a:t>
              </a:r>
              <a:r>
                <a:rPr lang="de-CH" sz="1200" dirty="0" err="1"/>
                <a:t>merchandise</a:t>
              </a:r>
              <a:r>
                <a:rPr lang="de-CH" sz="1200" dirty="0"/>
                <a:t>.</a:t>
              </a:r>
            </a:p>
          </p:txBody>
        </p:sp>
      </p:grp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86BF5126-BD4F-4303-85DA-B0A5963EA12B}"/>
              </a:ext>
            </a:extLst>
          </p:cNvPr>
          <p:cNvCxnSpPr>
            <a:cxnSpLocks/>
            <a:stCxn id="39" idx="2"/>
          </p:cNvCxnSpPr>
          <p:nvPr/>
        </p:nvCxnSpPr>
        <p:spPr>
          <a:xfrm>
            <a:off x="4160472" y="2249680"/>
            <a:ext cx="2971568" cy="1635932"/>
          </a:xfrm>
          <a:prstGeom prst="line">
            <a:avLst/>
          </a:prstGeom>
          <a:ln w="25400">
            <a:solidFill>
              <a:schemeClr val="tx2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1" name="Grupo 275">
            <a:extLst>
              <a:ext uri="{FF2B5EF4-FFF2-40B4-BE49-F238E27FC236}">
                <a16:creationId xmlns:a16="http://schemas.microsoft.com/office/drawing/2014/main" id="{C7E44B73-75B6-41A5-999D-CB97D08F92E7}"/>
              </a:ext>
            </a:extLst>
          </p:cNvPr>
          <p:cNvGrpSpPr/>
          <p:nvPr/>
        </p:nvGrpSpPr>
        <p:grpSpPr>
          <a:xfrm>
            <a:off x="7331292" y="4653515"/>
            <a:ext cx="3837521" cy="1156890"/>
            <a:chOff x="4246160" y="10486872"/>
            <a:chExt cx="4256077" cy="2682630"/>
          </a:xfrm>
        </p:grpSpPr>
        <p:sp>
          <p:nvSpPr>
            <p:cNvPr id="82" name="CuadroTexto 395">
              <a:extLst>
                <a:ext uri="{FF2B5EF4-FFF2-40B4-BE49-F238E27FC236}">
                  <a16:creationId xmlns:a16="http://schemas.microsoft.com/office/drawing/2014/main" id="{42E6A5CD-A796-43CB-BB7E-41A6D1033B17}"/>
                </a:ext>
              </a:extLst>
            </p:cNvPr>
            <p:cNvSpPr txBox="1"/>
            <p:nvPr/>
          </p:nvSpPr>
          <p:spPr>
            <a:xfrm flipH="1">
              <a:off x="4247967" y="10486872"/>
              <a:ext cx="4254270" cy="12132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+mj-lt"/>
                  <a:ea typeface="Lato" charset="0"/>
                  <a:cs typeface="Lato" charset="0"/>
                </a:rPr>
                <a:t>Sustainable materials represent the values and mission of OST</a:t>
              </a:r>
            </a:p>
          </p:txBody>
        </p:sp>
        <p:sp>
          <p:nvSpPr>
            <p:cNvPr id="83" name="Rectangle 40">
              <a:extLst>
                <a:ext uri="{FF2B5EF4-FFF2-40B4-BE49-F238E27FC236}">
                  <a16:creationId xmlns:a16="http://schemas.microsoft.com/office/drawing/2014/main" id="{A89F3D11-EB4F-46EB-8753-EF7026ABF8C9}"/>
                </a:ext>
              </a:extLst>
            </p:cNvPr>
            <p:cNvSpPr/>
            <p:nvPr/>
          </p:nvSpPr>
          <p:spPr>
            <a:xfrm>
              <a:off x="4246160" y="11670771"/>
              <a:ext cx="4221144" cy="14987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200" dirty="0"/>
                <a:t>Climate and </a:t>
              </a:r>
              <a:r>
                <a:rPr lang="de-CH" sz="1200" dirty="0" err="1"/>
                <a:t>energy</a:t>
              </a:r>
              <a:r>
                <a:rPr lang="de-CH" sz="1200" dirty="0"/>
                <a:t> </a:t>
              </a:r>
              <a:r>
                <a:rPr lang="de-CH" sz="1200" dirty="0" err="1"/>
                <a:t>is</a:t>
              </a:r>
              <a:r>
                <a:rPr lang="de-CH" sz="1200" dirty="0"/>
                <a:t> </a:t>
              </a:r>
              <a:r>
                <a:rPr lang="de-CH" sz="1200" dirty="0" err="1"/>
                <a:t>one</a:t>
              </a:r>
              <a:r>
                <a:rPr lang="de-CH" sz="1200" dirty="0"/>
                <a:t> </a:t>
              </a:r>
              <a:r>
                <a:rPr lang="de-CH" sz="1200" dirty="0" err="1"/>
                <a:t>of</a:t>
              </a:r>
              <a:r>
                <a:rPr lang="de-CH" sz="1200" dirty="0"/>
                <a:t> </a:t>
              </a:r>
              <a:r>
                <a:rPr lang="de-CH" sz="1200" dirty="0" err="1"/>
                <a:t>the</a:t>
              </a:r>
              <a:r>
                <a:rPr lang="de-CH" sz="1200" dirty="0"/>
                <a:t> </a:t>
              </a:r>
              <a:r>
                <a:rPr lang="de-CH" sz="1200" dirty="0" err="1"/>
                <a:t>strategic</a:t>
              </a:r>
              <a:r>
                <a:rPr lang="de-CH" sz="1200" dirty="0"/>
                <a:t> </a:t>
              </a:r>
              <a:r>
                <a:rPr lang="de-CH" sz="1200" dirty="0" err="1"/>
                <a:t>focus</a:t>
              </a:r>
              <a:r>
                <a:rPr lang="de-CH" sz="1200" dirty="0"/>
                <a:t> </a:t>
              </a:r>
              <a:r>
                <a:rPr lang="de-CH" sz="1200" dirty="0" err="1"/>
                <a:t>areas</a:t>
              </a:r>
              <a:r>
                <a:rPr lang="de-CH" sz="1200" dirty="0"/>
                <a:t> </a:t>
              </a:r>
              <a:r>
                <a:rPr lang="de-CH" sz="1200" dirty="0" err="1"/>
                <a:t>of</a:t>
              </a:r>
              <a:r>
                <a:rPr lang="de-CH" sz="1200" dirty="0"/>
                <a:t> OST. The </a:t>
              </a:r>
              <a:r>
                <a:rPr lang="de-CH" sz="1200" dirty="0" err="1"/>
                <a:t>use</a:t>
              </a:r>
              <a:r>
                <a:rPr lang="de-CH" sz="1200" dirty="0"/>
                <a:t> </a:t>
              </a:r>
              <a:r>
                <a:rPr lang="de-CH" sz="1200" dirty="0" err="1"/>
                <a:t>of</a:t>
              </a:r>
              <a:r>
                <a:rPr lang="de-CH" sz="1200" dirty="0"/>
                <a:t> </a:t>
              </a:r>
              <a:r>
                <a:rPr lang="de-CH" sz="1200" dirty="0" err="1"/>
                <a:t>sustainable</a:t>
              </a:r>
              <a:r>
                <a:rPr lang="de-CH" sz="1200" dirty="0"/>
                <a:t> </a:t>
              </a:r>
              <a:r>
                <a:rPr lang="de-CH" sz="1200" dirty="0" err="1"/>
                <a:t>materials</a:t>
              </a:r>
              <a:r>
                <a:rPr lang="de-CH" sz="1200" dirty="0"/>
                <a:t> </a:t>
              </a:r>
              <a:r>
                <a:rPr lang="de-CH" sz="1200" dirty="0" err="1"/>
                <a:t>enables</a:t>
              </a:r>
              <a:r>
                <a:rPr lang="de-CH" sz="1200" dirty="0"/>
                <a:t> </a:t>
              </a:r>
              <a:r>
                <a:rPr lang="de-CH" sz="1200" dirty="0" err="1"/>
                <a:t>emphasizing</a:t>
              </a:r>
              <a:r>
                <a:rPr lang="de-CH" sz="1200" dirty="0"/>
                <a:t> </a:t>
              </a:r>
              <a:r>
                <a:rPr lang="de-CH" sz="1200" dirty="0" err="1"/>
                <a:t>that</a:t>
              </a:r>
              <a:r>
                <a:rPr lang="de-CH" sz="1200" dirty="0"/>
                <a:t> </a:t>
              </a:r>
              <a:r>
                <a:rPr lang="de-CH" sz="1200" dirty="0" err="1"/>
                <a:t>claim</a:t>
              </a:r>
              <a:r>
                <a:rPr lang="de-CH" sz="1200" dirty="0"/>
                <a:t>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9534972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6FD40599-561A-4F97-B337-86C4D53916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198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6FD40599-561A-4F97-B337-86C4D5391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8E4B39B-3223-409F-BA04-FB39B05718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252F1E5-3553-4215-B391-CC521A8B7A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8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576965E-3B1C-4D63-938E-36F16A3A3B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CH" dirty="0"/>
              <a:t>Qi </a:t>
            </a:r>
            <a:r>
              <a:rPr lang="de-CH" dirty="0" err="1"/>
              <a:t>certification</a:t>
            </a:r>
            <a:r>
              <a:rPr lang="de-CH" dirty="0"/>
              <a:t>, </a:t>
            </a:r>
            <a:r>
              <a:rPr lang="de-CH" dirty="0" err="1"/>
              <a:t>sufficient</a:t>
            </a:r>
            <a:r>
              <a:rPr lang="de-CH" dirty="0"/>
              <a:t> </a:t>
            </a:r>
            <a:r>
              <a:rPr lang="de-CH" dirty="0" err="1"/>
              <a:t>wattage</a:t>
            </a:r>
            <a:r>
              <a:rPr lang="de-CH" dirty="0"/>
              <a:t>, and </a:t>
            </a:r>
            <a:r>
              <a:rPr lang="de-CH" dirty="0" err="1"/>
              <a:t>durabilit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ust-haves</a:t>
            </a:r>
            <a:r>
              <a:rPr lang="de-CH" dirty="0"/>
              <a:t>.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a </a:t>
            </a:r>
            <a:r>
              <a:rPr lang="de-CH" dirty="0" err="1"/>
              <a:t>compact</a:t>
            </a:r>
            <a:r>
              <a:rPr lang="de-CH" dirty="0"/>
              <a:t>, mobile </a:t>
            </a:r>
            <a:r>
              <a:rPr lang="de-CH" dirty="0" err="1"/>
              <a:t>charger</a:t>
            </a:r>
            <a:r>
              <a:rPr lang="de-CH" dirty="0"/>
              <a:t>.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9437DA43-FF93-48FB-81B5-DBAA3DEC1561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5">
            <a:clrChange>
              <a:clrFrom>
                <a:srgbClr val="EEEEEF"/>
              </a:clrFrom>
              <a:clrTo>
                <a:srgbClr val="EEEEEF">
                  <a:alpha val="0"/>
                </a:srgbClr>
              </a:clrTo>
            </a:clrChange>
          </a:blip>
          <a:srcRect r="50288"/>
          <a:stretch/>
        </p:blipFill>
        <p:spPr>
          <a:xfrm>
            <a:off x="2028265" y="1596997"/>
            <a:ext cx="4280256" cy="4751387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4B14CFD-D7BF-4C29-895A-409EF3022B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sz="2000" b="1" dirty="0" err="1">
                <a:solidFill>
                  <a:srgbClr val="191919"/>
                </a:solidFill>
              </a:rPr>
              <a:t>Wha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our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valu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proposition</a:t>
            </a:r>
            <a:r>
              <a:rPr lang="de-CH" sz="2000" b="1" dirty="0">
                <a:solidFill>
                  <a:srgbClr val="191919"/>
                </a:solidFill>
              </a:rPr>
              <a:t>?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5BFC6A9-7B32-4F08-ADC0-2A024C0A5DEC}"/>
              </a:ext>
            </a:extLst>
          </p:cNvPr>
          <p:cNvSpPr txBox="1"/>
          <p:nvPr/>
        </p:nvSpPr>
        <p:spPr>
          <a:xfrm>
            <a:off x="4288705" y="5027919"/>
            <a:ext cx="1675240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Compact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siz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, 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singl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harging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pad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311A4D7-3C52-4A3C-8966-50070256C08F}"/>
              </a:ext>
            </a:extLst>
          </p:cNvPr>
          <p:cNvSpPr txBox="1"/>
          <p:nvPr/>
        </p:nvSpPr>
        <p:spPr>
          <a:xfrm>
            <a:off x="4538823" y="4010259"/>
            <a:ext cx="1425122" cy="293721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10W-15W power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FF68B786-17FA-47A5-A7F4-B86D0F8EEB26}"/>
              </a:ext>
            </a:extLst>
          </p:cNvPr>
          <p:cNvSpPr txBox="1"/>
          <p:nvPr/>
        </p:nvSpPr>
        <p:spPr>
          <a:xfrm>
            <a:off x="2156134" y="2756633"/>
            <a:ext cx="847125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Wireless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harger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064FBB9-3854-409A-B2AC-8E6771C1B073}"/>
              </a:ext>
            </a:extLst>
          </p:cNvPr>
          <p:cNvSpPr txBox="1"/>
          <p:nvPr/>
        </p:nvSpPr>
        <p:spPr>
          <a:xfrm>
            <a:off x="5172152" y="4435161"/>
            <a:ext cx="790382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Durable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design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0352BB0F-C475-4D82-AB2D-FD3427EF506E}"/>
              </a:ext>
            </a:extLst>
          </p:cNvPr>
          <p:cNvCxnSpPr>
            <a:cxnSpLocks/>
            <a:stCxn id="5" idx="3"/>
          </p:cNvCxnSpPr>
          <p:nvPr/>
        </p:nvCxnSpPr>
        <p:spPr>
          <a:xfrm flipV="1">
            <a:off x="6006911" y="3335453"/>
            <a:ext cx="1576040" cy="1099370"/>
          </a:xfrm>
          <a:prstGeom prst="line">
            <a:avLst/>
          </a:prstGeom>
          <a:ln w="25400">
            <a:solidFill>
              <a:schemeClr val="tx2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25D0CA43-7627-4285-8637-B166B05F3B8E}"/>
              </a:ext>
            </a:extLst>
          </p:cNvPr>
          <p:cNvSpPr txBox="1"/>
          <p:nvPr/>
        </p:nvSpPr>
        <p:spPr>
          <a:xfrm>
            <a:off x="2621429" y="5062099"/>
            <a:ext cx="1074112" cy="478387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i="1" dirty="0">
                <a:solidFill>
                  <a:schemeClr val="bg1"/>
                </a:solidFill>
                <a:ea typeface="Roboto Medium" panose="02000000000000000000" pitchFamily="2" charset="0"/>
              </a:rPr>
              <a:t>Optional: 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MagSafe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AD001C8-550B-4011-819C-C19356E3993C}"/>
              </a:ext>
            </a:extLst>
          </p:cNvPr>
          <p:cNvSpPr txBox="1"/>
          <p:nvPr/>
        </p:nvSpPr>
        <p:spPr>
          <a:xfrm>
            <a:off x="3225137" y="4611517"/>
            <a:ext cx="1296931" cy="293721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Qi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ertification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8399786-93AD-4226-B646-30005A96E0EE}"/>
              </a:ext>
            </a:extLst>
          </p:cNvPr>
          <p:cNvSpPr/>
          <p:nvPr/>
        </p:nvSpPr>
        <p:spPr>
          <a:xfrm>
            <a:off x="3112317" y="3914007"/>
            <a:ext cx="2894594" cy="1041631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  <p:grpSp>
        <p:nvGrpSpPr>
          <p:cNvPr id="28" name="Grupo 275">
            <a:extLst>
              <a:ext uri="{FF2B5EF4-FFF2-40B4-BE49-F238E27FC236}">
                <a16:creationId xmlns:a16="http://schemas.microsoft.com/office/drawing/2014/main" id="{5E862A10-B3E4-4B5B-85F3-77628ED1B7E1}"/>
              </a:ext>
            </a:extLst>
          </p:cNvPr>
          <p:cNvGrpSpPr/>
          <p:nvPr/>
        </p:nvGrpSpPr>
        <p:grpSpPr>
          <a:xfrm>
            <a:off x="7633513" y="1983992"/>
            <a:ext cx="3835892" cy="1499414"/>
            <a:chOff x="4247967" y="10486872"/>
            <a:chExt cx="4254270" cy="3476885"/>
          </a:xfrm>
        </p:grpSpPr>
        <p:sp>
          <p:nvSpPr>
            <p:cNvPr id="29" name="CuadroTexto 395">
              <a:extLst>
                <a:ext uri="{FF2B5EF4-FFF2-40B4-BE49-F238E27FC236}">
                  <a16:creationId xmlns:a16="http://schemas.microsoft.com/office/drawing/2014/main" id="{86F25D6E-A236-454D-B14B-EF0BFC474D32}"/>
                </a:ext>
              </a:extLst>
            </p:cNvPr>
            <p:cNvSpPr txBox="1"/>
            <p:nvPr/>
          </p:nvSpPr>
          <p:spPr>
            <a:xfrm flipH="1">
              <a:off x="4247967" y="10486872"/>
              <a:ext cx="4254270" cy="713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+mj-lt"/>
                  <a:ea typeface="Lato" charset="0"/>
                  <a:cs typeface="Lato" charset="0"/>
                </a:rPr>
                <a:t>These are must-haves</a:t>
              </a:r>
            </a:p>
          </p:txBody>
        </p:sp>
        <p:sp>
          <p:nvSpPr>
            <p:cNvPr id="30" name="Rectangle 40">
              <a:extLst>
                <a:ext uri="{FF2B5EF4-FFF2-40B4-BE49-F238E27FC236}">
                  <a16:creationId xmlns:a16="http://schemas.microsoft.com/office/drawing/2014/main" id="{43B03822-ED39-464F-BEB3-445671D64BA5}"/>
                </a:ext>
              </a:extLst>
            </p:cNvPr>
            <p:cNvSpPr/>
            <p:nvPr/>
          </p:nvSpPr>
          <p:spPr>
            <a:xfrm>
              <a:off x="4263627" y="11180399"/>
              <a:ext cx="4221143" cy="2783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200" dirty="0" err="1"/>
                <a:t>We</a:t>
              </a:r>
              <a:r>
                <a:rPr lang="de-CH" sz="1200" dirty="0"/>
                <a:t> </a:t>
              </a:r>
              <a:r>
                <a:rPr lang="de-CH" sz="1200" dirty="0" err="1"/>
                <a:t>consider</a:t>
              </a:r>
              <a:r>
                <a:rPr lang="de-CH" sz="1200" dirty="0"/>
                <a:t>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CH" sz="1200" dirty="0"/>
                <a:t>Qi </a:t>
              </a:r>
              <a:r>
                <a:rPr lang="de-CH" sz="1200" dirty="0" err="1"/>
                <a:t>certification</a:t>
              </a:r>
              <a:r>
                <a:rPr lang="de-CH" sz="1200" dirty="0"/>
                <a:t>,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CH" sz="1200" dirty="0"/>
                <a:t>min. 10W and </a:t>
              </a:r>
              <a:r>
                <a:rPr lang="de-CH" sz="1200" dirty="0" err="1"/>
                <a:t>max</a:t>
              </a:r>
              <a:r>
                <a:rPr lang="de-CH" sz="1200" dirty="0"/>
                <a:t> 15W power, and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CH" sz="1200" dirty="0"/>
                <a:t>durable design</a:t>
              </a:r>
            </a:p>
            <a:p>
              <a:r>
                <a:rPr lang="de-CH" sz="1200" dirty="0"/>
                <a:t> </a:t>
              </a:r>
              <a:r>
                <a:rPr lang="de-CH" sz="1200" dirty="0" err="1"/>
                <a:t>hygiene</a:t>
              </a:r>
              <a:r>
                <a:rPr lang="de-CH" sz="1200" dirty="0"/>
                <a:t> </a:t>
              </a:r>
              <a:r>
                <a:rPr lang="de-CH" sz="1200" dirty="0" err="1"/>
                <a:t>factors</a:t>
              </a:r>
              <a:r>
                <a:rPr lang="de-CH" sz="1200" dirty="0"/>
                <a:t> </a:t>
              </a:r>
              <a:r>
                <a:rPr lang="de-CH" sz="1200" dirty="0" err="1"/>
                <a:t>that</a:t>
              </a:r>
              <a:r>
                <a:rPr lang="de-CH" sz="1200" dirty="0"/>
                <a:t> </a:t>
              </a:r>
              <a:r>
                <a:rPr lang="de-CH" sz="1200" dirty="0" err="1"/>
                <a:t>we</a:t>
              </a:r>
              <a:r>
                <a:rPr lang="de-CH" sz="1200" dirty="0"/>
                <a:t> </a:t>
              </a:r>
              <a:r>
                <a:rPr lang="de-CH" sz="1200" dirty="0" err="1"/>
                <a:t>must</a:t>
              </a:r>
              <a:r>
                <a:rPr lang="de-CH" sz="1200" dirty="0"/>
                <a:t> </a:t>
              </a:r>
              <a:r>
                <a:rPr lang="de-CH" sz="1200" dirty="0" err="1"/>
                <a:t>have</a:t>
              </a:r>
              <a:r>
                <a:rPr lang="de-CH" sz="1200" dirty="0"/>
                <a:t>, but </a:t>
              </a:r>
              <a:r>
                <a:rPr lang="de-CH" sz="1200" dirty="0" err="1"/>
                <a:t>which</a:t>
              </a:r>
              <a:r>
                <a:rPr lang="de-CH" sz="1200" dirty="0"/>
                <a:t> do not </a:t>
              </a:r>
              <a:r>
                <a:rPr lang="de-CH" sz="1200" dirty="0" err="1"/>
                <a:t>add</a:t>
              </a:r>
              <a:r>
                <a:rPr lang="de-CH" sz="1200" dirty="0"/>
                <a:t> </a:t>
              </a:r>
              <a:r>
                <a:rPr lang="de-CH" sz="1200" dirty="0" err="1"/>
                <a:t>to</a:t>
              </a:r>
              <a:r>
                <a:rPr lang="de-CH" sz="1200" dirty="0"/>
                <a:t> </a:t>
              </a:r>
              <a:r>
                <a:rPr lang="de-CH" sz="1200" dirty="0" err="1"/>
                <a:t>differentiation</a:t>
              </a:r>
              <a:r>
                <a:rPr lang="de-CH" sz="1200" dirty="0"/>
                <a:t>.</a:t>
              </a:r>
            </a:p>
          </p:txBody>
        </p:sp>
      </p:grpSp>
      <p:grpSp>
        <p:nvGrpSpPr>
          <p:cNvPr id="34" name="Grupo 275">
            <a:extLst>
              <a:ext uri="{FF2B5EF4-FFF2-40B4-BE49-F238E27FC236}">
                <a16:creationId xmlns:a16="http://schemas.microsoft.com/office/drawing/2014/main" id="{111631CE-0C9D-4E59-9A4C-0CA8ADE99A6A}"/>
              </a:ext>
            </a:extLst>
          </p:cNvPr>
          <p:cNvGrpSpPr/>
          <p:nvPr/>
        </p:nvGrpSpPr>
        <p:grpSpPr>
          <a:xfrm>
            <a:off x="7645978" y="4045002"/>
            <a:ext cx="3835892" cy="1684080"/>
            <a:chOff x="4247967" y="10486872"/>
            <a:chExt cx="4254270" cy="3905094"/>
          </a:xfrm>
        </p:grpSpPr>
        <p:sp>
          <p:nvSpPr>
            <p:cNvPr id="35" name="CuadroTexto 395">
              <a:extLst>
                <a:ext uri="{FF2B5EF4-FFF2-40B4-BE49-F238E27FC236}">
                  <a16:creationId xmlns:a16="http://schemas.microsoft.com/office/drawing/2014/main" id="{05A078BC-219E-4A9F-87D9-56605DE9EB58}"/>
                </a:ext>
              </a:extLst>
            </p:cNvPr>
            <p:cNvSpPr txBox="1"/>
            <p:nvPr/>
          </p:nvSpPr>
          <p:spPr>
            <a:xfrm flipH="1">
              <a:off x="4247967" y="10486872"/>
              <a:ext cx="4254270" cy="713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+mj-lt"/>
                  <a:ea typeface="Lato" charset="0"/>
                  <a:cs typeface="Lato" charset="0"/>
                </a:rPr>
                <a:t>We prefer mobility</a:t>
              </a:r>
            </a:p>
          </p:txBody>
        </p:sp>
        <p:sp>
          <p:nvSpPr>
            <p:cNvPr id="36" name="Rectangle 40">
              <a:extLst>
                <a:ext uri="{FF2B5EF4-FFF2-40B4-BE49-F238E27FC236}">
                  <a16:creationId xmlns:a16="http://schemas.microsoft.com/office/drawing/2014/main" id="{679C7C1E-D17B-49B8-947F-E9DCAA432663}"/>
                </a:ext>
              </a:extLst>
            </p:cNvPr>
            <p:cNvSpPr/>
            <p:nvPr/>
          </p:nvSpPr>
          <p:spPr>
            <a:xfrm>
              <a:off x="4263627" y="11180399"/>
              <a:ext cx="4221143" cy="321156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200" dirty="0" err="1"/>
                <a:t>We</a:t>
              </a:r>
              <a:r>
                <a:rPr lang="de-CH" sz="1200" dirty="0"/>
                <a:t> </a:t>
              </a:r>
              <a:r>
                <a:rPr lang="de-CH" sz="1200" dirty="0" err="1"/>
                <a:t>prefer</a:t>
              </a:r>
              <a:r>
                <a:rPr lang="de-CH" sz="1200" dirty="0"/>
                <a:t> a </a:t>
              </a:r>
              <a:r>
                <a:rPr lang="de-CH" sz="1200" dirty="0" err="1"/>
                <a:t>compact</a:t>
              </a:r>
              <a:r>
                <a:rPr lang="de-CH" sz="1200" dirty="0"/>
                <a:t>, single-pad, mobile </a:t>
              </a:r>
              <a:r>
                <a:rPr lang="de-CH" sz="1200" dirty="0" err="1"/>
                <a:t>charger</a:t>
              </a:r>
              <a:r>
                <a:rPr lang="de-CH" sz="1200" dirty="0"/>
                <a:t> </a:t>
              </a:r>
              <a:r>
                <a:rPr lang="de-CH" sz="1200" dirty="0" err="1"/>
                <a:t>over</a:t>
              </a:r>
              <a:r>
                <a:rPr lang="de-CH" sz="1200" dirty="0"/>
                <a:t> a </a:t>
              </a:r>
              <a:r>
                <a:rPr lang="de-CH" sz="1200" dirty="0" err="1"/>
                <a:t>stationary</a:t>
              </a:r>
              <a:r>
                <a:rPr lang="de-CH" sz="1200" dirty="0"/>
                <a:t> </a:t>
              </a:r>
              <a:r>
                <a:rPr lang="de-CH" sz="1200" dirty="0" err="1"/>
                <a:t>charger</a:t>
              </a:r>
              <a:r>
                <a:rPr lang="de-CH" sz="1200" dirty="0"/>
                <a:t> </a:t>
              </a:r>
              <a:r>
                <a:rPr lang="de-CH" sz="1200" dirty="0" err="1"/>
                <a:t>with</a:t>
              </a:r>
              <a:r>
                <a:rPr lang="de-CH" sz="1200" dirty="0"/>
                <a:t> multiple </a:t>
              </a:r>
              <a:r>
                <a:rPr lang="de-CH" sz="1200" dirty="0" err="1"/>
                <a:t>charging</a:t>
              </a:r>
              <a:r>
                <a:rPr lang="de-CH" sz="1200" dirty="0"/>
                <a:t> </a:t>
              </a:r>
              <a:r>
                <a:rPr lang="de-CH" sz="1200" dirty="0" err="1"/>
                <a:t>pads</a:t>
              </a:r>
              <a:r>
                <a:rPr lang="de-CH" sz="1200" dirty="0"/>
                <a:t>. This </a:t>
              </a:r>
              <a:r>
                <a:rPr lang="de-CH" sz="1200" dirty="0" err="1"/>
                <a:t>solution</a:t>
              </a:r>
              <a:r>
                <a:rPr lang="de-CH" sz="1200" dirty="0"/>
                <a:t> </a:t>
              </a:r>
              <a:r>
                <a:rPr lang="de-CH" sz="1200" dirty="0" err="1"/>
                <a:t>is</a:t>
              </a:r>
              <a:endParaRPr lang="de-CH" sz="12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CH" sz="1200" dirty="0" err="1"/>
                <a:t>less</a:t>
              </a:r>
              <a:r>
                <a:rPr lang="de-CH" sz="1200" dirty="0"/>
                <a:t> </a:t>
              </a:r>
              <a:r>
                <a:rPr lang="de-CH" sz="1200" dirty="0" err="1"/>
                <a:t>costly</a:t>
              </a:r>
              <a:r>
                <a:rPr lang="de-CH" sz="1200" dirty="0"/>
                <a:t>,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CH" sz="1200" dirty="0" err="1"/>
                <a:t>more</a:t>
              </a:r>
              <a:r>
                <a:rPr lang="de-CH" sz="1200" dirty="0"/>
                <a:t> flexible,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CH" sz="1200" dirty="0" err="1"/>
                <a:t>makes</a:t>
              </a:r>
              <a:r>
                <a:rPr lang="de-CH" sz="1200" dirty="0"/>
                <a:t> </a:t>
              </a:r>
              <a:r>
                <a:rPr lang="de-CH" sz="1200" dirty="0" err="1"/>
                <a:t>charging</a:t>
              </a:r>
              <a:r>
                <a:rPr lang="de-CH" sz="1200" dirty="0"/>
                <a:t> </a:t>
              </a:r>
              <a:r>
                <a:rPr lang="de-CH" sz="1200" dirty="0" err="1"/>
                <a:t>available</a:t>
              </a:r>
              <a:r>
                <a:rPr lang="de-CH" sz="1200" dirty="0"/>
                <a:t> on </a:t>
              </a:r>
              <a:r>
                <a:rPr lang="de-CH" sz="1200" dirty="0" err="1"/>
                <a:t>the</a:t>
              </a:r>
              <a:r>
                <a:rPr lang="de-CH" sz="1200" dirty="0"/>
                <a:t> </a:t>
              </a:r>
              <a:r>
                <a:rPr lang="de-CH" sz="1200" dirty="0" err="1"/>
                <a:t>go</a:t>
              </a:r>
              <a:r>
                <a:rPr lang="de-CH" sz="1200" dirty="0"/>
                <a:t>, and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CH" sz="1200" dirty="0" err="1"/>
                <a:t>displays</a:t>
              </a:r>
              <a:r>
                <a:rPr lang="de-CH" sz="1200" dirty="0"/>
                <a:t> </a:t>
              </a:r>
              <a:r>
                <a:rPr lang="de-CH" sz="1200" dirty="0" err="1"/>
                <a:t>the</a:t>
              </a:r>
              <a:r>
                <a:rPr lang="de-CH" sz="1200" dirty="0"/>
                <a:t> OST </a:t>
              </a:r>
              <a:r>
                <a:rPr lang="de-CH" sz="1200" dirty="0" err="1"/>
                <a:t>branding</a:t>
              </a:r>
              <a:r>
                <a:rPr lang="de-CH" sz="1200" dirty="0"/>
                <a:t> in </a:t>
              </a:r>
              <a:r>
                <a:rPr lang="de-CH" sz="1200" dirty="0" err="1"/>
                <a:t>public</a:t>
              </a:r>
              <a:r>
                <a:rPr lang="de-CH" sz="1200" dirty="0"/>
                <a:t>.</a:t>
              </a:r>
            </a:p>
          </p:txBody>
        </p: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F7673CFA-8D21-40D7-8A31-0234D4E6CBE7}"/>
              </a:ext>
            </a:extLst>
          </p:cNvPr>
          <p:cNvSpPr/>
          <p:nvPr/>
        </p:nvSpPr>
        <p:spPr>
          <a:xfrm>
            <a:off x="4231729" y="4994765"/>
            <a:ext cx="1775182" cy="545722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031D2A88-5270-4BA3-8B07-99400115FE16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6006911" y="4789240"/>
            <a:ext cx="1604885" cy="478386"/>
          </a:xfrm>
          <a:prstGeom prst="line">
            <a:avLst/>
          </a:prstGeom>
          <a:ln w="25400">
            <a:solidFill>
              <a:schemeClr val="tx2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4EE8DA7F-A1A1-49E8-BBC7-53992330C875}"/>
              </a:ext>
            </a:extLst>
          </p:cNvPr>
          <p:cNvSpPr txBox="1"/>
          <p:nvPr/>
        </p:nvSpPr>
        <p:spPr>
          <a:xfrm>
            <a:off x="4799849" y="1731515"/>
            <a:ext cx="1162685" cy="478387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Personalized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design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5C08657F-AA0C-40E7-B18F-36BAFA02FA19}"/>
              </a:ext>
            </a:extLst>
          </p:cNvPr>
          <p:cNvSpPr txBox="1"/>
          <p:nvPr/>
        </p:nvSpPr>
        <p:spPr>
          <a:xfrm>
            <a:off x="3374696" y="2544903"/>
            <a:ext cx="1119388" cy="478387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Sustainabl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materials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11B9FD24-29D7-4BED-8405-79601CC1AF2D}"/>
              </a:ext>
            </a:extLst>
          </p:cNvPr>
          <p:cNvSpPr txBox="1"/>
          <p:nvPr/>
        </p:nvSpPr>
        <p:spPr>
          <a:xfrm>
            <a:off x="3668080" y="1731515"/>
            <a:ext cx="984784" cy="478387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OST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branding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9FD77CB-5CF5-4FAC-992F-598591E7BFC9}"/>
              </a:ext>
            </a:extLst>
          </p:cNvPr>
          <p:cNvSpPr txBox="1"/>
          <p:nvPr/>
        </p:nvSpPr>
        <p:spPr>
          <a:xfrm>
            <a:off x="4746902" y="3058562"/>
            <a:ext cx="1119387" cy="478387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i="1" dirty="0">
                <a:solidFill>
                  <a:schemeClr val="bg1"/>
                </a:solidFill>
                <a:ea typeface="Roboto Medium" panose="02000000000000000000" pitchFamily="2" charset="0"/>
              </a:rPr>
              <a:t>Optional: 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USB hub</a:t>
            </a:r>
          </a:p>
        </p:txBody>
      </p:sp>
    </p:spTree>
    <p:extLst>
      <p:ext uri="{BB962C8B-B14F-4D97-AF65-F5344CB8AC3E}">
        <p14:creationId xmlns:p14="http://schemas.microsoft.com/office/powerpoint/2010/main" val="220531557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6FD40599-561A-4F97-B337-86C4D53916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313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6FD40599-561A-4F97-B337-86C4D5391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8E4B39B-3223-409F-BA04-FB39B05718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252F1E5-3553-4215-B391-CC521A8B7A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39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576965E-3B1C-4D63-938E-36F16A3A3B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CH" dirty="0"/>
              <a:t>MagSafe and/</a:t>
            </a:r>
            <a:r>
              <a:rPr lang="de-CH" dirty="0" err="1"/>
              <a:t>or</a:t>
            </a:r>
            <a:r>
              <a:rPr lang="de-CH" dirty="0"/>
              <a:t> USB hub </a:t>
            </a:r>
            <a:r>
              <a:rPr lang="de-CH" dirty="0" err="1"/>
              <a:t>are</a:t>
            </a:r>
            <a:r>
              <a:rPr lang="de-CH" dirty="0"/>
              <a:t> nice-</a:t>
            </a:r>
            <a:r>
              <a:rPr lang="de-CH" dirty="0" err="1"/>
              <a:t>to</a:t>
            </a:r>
            <a:r>
              <a:rPr lang="de-CH" dirty="0"/>
              <a:t>-</a:t>
            </a:r>
            <a:r>
              <a:rPr lang="de-CH" dirty="0" err="1"/>
              <a:t>have</a:t>
            </a:r>
            <a:r>
              <a:rPr lang="de-CH" dirty="0"/>
              <a:t> 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9437DA43-FF93-48FB-81B5-DBAA3DEC1561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5">
            <a:clrChange>
              <a:clrFrom>
                <a:srgbClr val="EEEEEF"/>
              </a:clrFrom>
              <a:clrTo>
                <a:srgbClr val="EEEEEF">
                  <a:alpha val="0"/>
                </a:srgbClr>
              </a:clrTo>
            </a:clrChange>
          </a:blip>
          <a:srcRect r="50288"/>
          <a:stretch/>
        </p:blipFill>
        <p:spPr>
          <a:xfrm>
            <a:off x="2028265" y="1596997"/>
            <a:ext cx="4280256" cy="4751387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4B14CFD-D7BF-4C29-895A-409EF3022B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sz="2000" b="1" dirty="0" err="1">
                <a:solidFill>
                  <a:srgbClr val="191919"/>
                </a:solidFill>
              </a:rPr>
              <a:t>Wha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our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valu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proposition</a:t>
            </a:r>
            <a:r>
              <a:rPr lang="de-CH" sz="2000" b="1" dirty="0">
                <a:solidFill>
                  <a:srgbClr val="191919"/>
                </a:solidFill>
              </a:rPr>
              <a:t>?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5BFC6A9-7B32-4F08-ADC0-2A024C0A5DEC}"/>
              </a:ext>
            </a:extLst>
          </p:cNvPr>
          <p:cNvSpPr txBox="1"/>
          <p:nvPr/>
        </p:nvSpPr>
        <p:spPr>
          <a:xfrm>
            <a:off x="4288705" y="5027919"/>
            <a:ext cx="1675240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Compact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siz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, 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singl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harging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pad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311A4D7-3C52-4A3C-8966-50070256C08F}"/>
              </a:ext>
            </a:extLst>
          </p:cNvPr>
          <p:cNvSpPr txBox="1"/>
          <p:nvPr/>
        </p:nvSpPr>
        <p:spPr>
          <a:xfrm>
            <a:off x="4538823" y="4010259"/>
            <a:ext cx="1425122" cy="293721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10W-15W power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FF68B786-17FA-47A5-A7F4-B86D0F8EEB26}"/>
              </a:ext>
            </a:extLst>
          </p:cNvPr>
          <p:cNvSpPr txBox="1"/>
          <p:nvPr/>
        </p:nvSpPr>
        <p:spPr>
          <a:xfrm>
            <a:off x="2156134" y="2756633"/>
            <a:ext cx="847125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Wireless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harger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064FBB9-3854-409A-B2AC-8E6771C1B073}"/>
              </a:ext>
            </a:extLst>
          </p:cNvPr>
          <p:cNvSpPr txBox="1"/>
          <p:nvPr/>
        </p:nvSpPr>
        <p:spPr>
          <a:xfrm>
            <a:off x="5172152" y="4435161"/>
            <a:ext cx="790382" cy="47838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Durable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design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0352BB0F-C475-4D82-AB2D-FD3427EF506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5895620" y="3276832"/>
            <a:ext cx="882685" cy="0"/>
          </a:xfrm>
          <a:prstGeom prst="line">
            <a:avLst/>
          </a:prstGeom>
          <a:ln w="25400">
            <a:solidFill>
              <a:schemeClr val="tx2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25D0CA43-7627-4285-8637-B166B05F3B8E}"/>
              </a:ext>
            </a:extLst>
          </p:cNvPr>
          <p:cNvSpPr txBox="1"/>
          <p:nvPr/>
        </p:nvSpPr>
        <p:spPr>
          <a:xfrm>
            <a:off x="2621429" y="5062099"/>
            <a:ext cx="1074112" cy="478387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i="1" dirty="0">
                <a:solidFill>
                  <a:schemeClr val="bg1"/>
                </a:solidFill>
                <a:ea typeface="Roboto Medium" panose="02000000000000000000" pitchFamily="2" charset="0"/>
              </a:rPr>
              <a:t>Optional: 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MagSafe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AD001C8-550B-4011-819C-C19356E3993C}"/>
              </a:ext>
            </a:extLst>
          </p:cNvPr>
          <p:cNvSpPr txBox="1"/>
          <p:nvPr/>
        </p:nvSpPr>
        <p:spPr>
          <a:xfrm>
            <a:off x="3225137" y="4611517"/>
            <a:ext cx="1296931" cy="293721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</p:spPr>
        <p:txBody>
          <a:bodyPr wrap="non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Qi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certification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8399786-93AD-4226-B646-30005A96E0EE}"/>
              </a:ext>
            </a:extLst>
          </p:cNvPr>
          <p:cNvSpPr/>
          <p:nvPr/>
        </p:nvSpPr>
        <p:spPr>
          <a:xfrm>
            <a:off x="4652864" y="2980778"/>
            <a:ext cx="1242756" cy="592107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1C02C8A-215C-4DBA-BBD9-73B1279BEBDA}"/>
              </a:ext>
            </a:extLst>
          </p:cNvPr>
          <p:cNvSpPr/>
          <p:nvPr/>
        </p:nvSpPr>
        <p:spPr>
          <a:xfrm>
            <a:off x="2484715" y="5005238"/>
            <a:ext cx="1321775" cy="592107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158067FC-2DF9-4BFC-A760-EF533974B0EB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3806490" y="4758377"/>
            <a:ext cx="2971815" cy="542915"/>
          </a:xfrm>
          <a:prstGeom prst="line">
            <a:avLst/>
          </a:prstGeom>
          <a:ln w="25400">
            <a:solidFill>
              <a:schemeClr val="tx2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8861363B-1CD8-46BE-9104-E20FFEF5E743}"/>
              </a:ext>
            </a:extLst>
          </p:cNvPr>
          <p:cNvSpPr txBox="1"/>
          <p:nvPr/>
        </p:nvSpPr>
        <p:spPr>
          <a:xfrm>
            <a:off x="4799849" y="1731515"/>
            <a:ext cx="1162685" cy="478387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Personalized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design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72F626B8-57BF-43BF-8E57-4E772FABECAF}"/>
              </a:ext>
            </a:extLst>
          </p:cNvPr>
          <p:cNvSpPr txBox="1"/>
          <p:nvPr/>
        </p:nvSpPr>
        <p:spPr>
          <a:xfrm>
            <a:off x="3374696" y="2544903"/>
            <a:ext cx="1119388" cy="478387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Sustainable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 </a:t>
            </a:r>
            <a:b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</a:b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materials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17B0CF6-5F14-422F-BFD0-BDC95F52B975}"/>
              </a:ext>
            </a:extLst>
          </p:cNvPr>
          <p:cNvSpPr txBox="1"/>
          <p:nvPr/>
        </p:nvSpPr>
        <p:spPr>
          <a:xfrm>
            <a:off x="3668080" y="1731515"/>
            <a:ext cx="984784" cy="478387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OST </a:t>
            </a:r>
            <a:r>
              <a:rPr lang="de-CH" sz="1200" b="1" dirty="0" err="1">
                <a:solidFill>
                  <a:schemeClr val="bg1"/>
                </a:solidFill>
                <a:ea typeface="Roboto Medium" panose="02000000000000000000" pitchFamily="2" charset="0"/>
              </a:rPr>
              <a:t>branding</a:t>
            </a:r>
            <a:endParaRPr lang="de-CH" sz="1200" b="1" dirty="0">
              <a:solidFill>
                <a:schemeClr val="bg1"/>
              </a:solidFill>
              <a:ea typeface="Roboto Medium" panose="02000000000000000000" pitchFamily="2" charset="0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41C3915-520D-42AB-9DE3-F1C7D6A76DEB}"/>
              </a:ext>
            </a:extLst>
          </p:cNvPr>
          <p:cNvSpPr txBox="1"/>
          <p:nvPr/>
        </p:nvSpPr>
        <p:spPr>
          <a:xfrm>
            <a:off x="4746902" y="3058562"/>
            <a:ext cx="1119387" cy="478387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CH" sz="1200" b="1" i="1" dirty="0">
                <a:solidFill>
                  <a:schemeClr val="bg1"/>
                </a:solidFill>
                <a:ea typeface="Roboto Medium" panose="02000000000000000000" pitchFamily="2" charset="0"/>
              </a:rPr>
              <a:t>Optional: </a:t>
            </a:r>
            <a:r>
              <a:rPr lang="de-CH" sz="1200" b="1" dirty="0">
                <a:solidFill>
                  <a:schemeClr val="bg1"/>
                </a:solidFill>
                <a:ea typeface="Roboto Medium" panose="02000000000000000000" pitchFamily="2" charset="0"/>
              </a:rPr>
              <a:t>USB hub</a:t>
            </a:r>
          </a:p>
        </p:txBody>
      </p:sp>
      <p:grpSp>
        <p:nvGrpSpPr>
          <p:cNvPr id="39" name="Grupo 275">
            <a:extLst>
              <a:ext uri="{FF2B5EF4-FFF2-40B4-BE49-F238E27FC236}">
                <a16:creationId xmlns:a16="http://schemas.microsoft.com/office/drawing/2014/main" id="{E533C47B-389B-4684-B204-E8C4C426BEEF}"/>
              </a:ext>
            </a:extLst>
          </p:cNvPr>
          <p:cNvGrpSpPr/>
          <p:nvPr/>
        </p:nvGrpSpPr>
        <p:grpSpPr>
          <a:xfrm>
            <a:off x="6979906" y="2661836"/>
            <a:ext cx="3835892" cy="1130082"/>
            <a:chOff x="4247967" y="10486872"/>
            <a:chExt cx="4254270" cy="2620467"/>
          </a:xfrm>
        </p:grpSpPr>
        <p:sp>
          <p:nvSpPr>
            <p:cNvPr id="40" name="CuadroTexto 395">
              <a:extLst>
                <a:ext uri="{FF2B5EF4-FFF2-40B4-BE49-F238E27FC236}">
                  <a16:creationId xmlns:a16="http://schemas.microsoft.com/office/drawing/2014/main" id="{CDDD2D66-F72F-4FB0-8436-CE8A40B8FE11}"/>
                </a:ext>
              </a:extLst>
            </p:cNvPr>
            <p:cNvSpPr txBox="1"/>
            <p:nvPr/>
          </p:nvSpPr>
          <p:spPr>
            <a:xfrm flipH="1">
              <a:off x="4247967" y="10486872"/>
              <a:ext cx="4254270" cy="713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+mj-lt"/>
                  <a:ea typeface="Lato" charset="0"/>
                  <a:cs typeface="Lato" charset="0"/>
                </a:rPr>
                <a:t>An USB hub is nice to have</a:t>
              </a:r>
            </a:p>
          </p:txBody>
        </p:sp>
        <p:sp>
          <p:nvSpPr>
            <p:cNvPr id="42" name="Rectangle 40">
              <a:extLst>
                <a:ext uri="{FF2B5EF4-FFF2-40B4-BE49-F238E27FC236}">
                  <a16:creationId xmlns:a16="http://schemas.microsoft.com/office/drawing/2014/main" id="{BE42ABDE-A6DD-434E-90E1-421E0627287C}"/>
                </a:ext>
              </a:extLst>
            </p:cNvPr>
            <p:cNvSpPr/>
            <p:nvPr/>
          </p:nvSpPr>
          <p:spPr>
            <a:xfrm>
              <a:off x="4263627" y="11180399"/>
              <a:ext cx="4221143" cy="19269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200" dirty="0"/>
                <a:t>An USB hub feature </a:t>
              </a:r>
              <a:r>
                <a:rPr lang="de-CH" sz="1200" dirty="0" err="1"/>
                <a:t>adds</a:t>
              </a:r>
              <a:r>
                <a:rPr lang="de-CH" sz="1200" dirty="0"/>
                <a:t> </a:t>
              </a:r>
              <a:r>
                <a:rPr lang="de-CH" sz="1200" dirty="0" err="1"/>
                <a:t>to</a:t>
              </a:r>
              <a:r>
                <a:rPr lang="de-CH" sz="1200" dirty="0"/>
                <a:t> </a:t>
              </a:r>
              <a:r>
                <a:rPr lang="de-CH" sz="1200" dirty="0" err="1"/>
                <a:t>differentiation</a:t>
              </a:r>
              <a:r>
                <a:rPr lang="de-CH" sz="1200" dirty="0"/>
                <a:t>, but </a:t>
              </a:r>
              <a:r>
                <a:rPr lang="de-CH" sz="1200" dirty="0" err="1"/>
                <a:t>is</a:t>
              </a:r>
              <a:r>
                <a:rPr lang="de-CH" sz="1200" dirty="0"/>
                <a:t> not </a:t>
              </a:r>
              <a:r>
                <a:rPr lang="de-CH" sz="1200" dirty="0" err="1"/>
                <a:t>related</a:t>
              </a:r>
              <a:r>
                <a:rPr lang="de-CH" sz="1200" dirty="0"/>
                <a:t> </a:t>
              </a:r>
              <a:r>
                <a:rPr lang="de-CH" sz="1200" dirty="0" err="1"/>
                <a:t>to</a:t>
              </a:r>
              <a:r>
                <a:rPr lang="de-CH" sz="1200" dirty="0"/>
                <a:t> </a:t>
              </a:r>
              <a:r>
                <a:rPr lang="de-CH" sz="1200" dirty="0" err="1"/>
                <a:t>our</a:t>
              </a:r>
              <a:r>
                <a:rPr lang="de-CH" sz="1200" dirty="0"/>
                <a:t> </a:t>
              </a:r>
              <a:r>
                <a:rPr lang="de-CH" sz="1200" dirty="0" err="1"/>
                <a:t>core</a:t>
              </a:r>
              <a:r>
                <a:rPr lang="de-CH" sz="1200" dirty="0"/>
                <a:t> </a:t>
              </a:r>
              <a:r>
                <a:rPr lang="de-CH" sz="1200" dirty="0" err="1"/>
                <a:t>competencies</a:t>
              </a:r>
              <a:r>
                <a:rPr lang="de-CH" sz="1200" dirty="0"/>
                <a:t> </a:t>
              </a:r>
              <a:r>
                <a:rPr lang="de-CH" sz="1200" dirty="0" err="1"/>
                <a:t>or</a:t>
              </a:r>
              <a:r>
                <a:rPr lang="de-CH" sz="1200" dirty="0"/>
                <a:t> </a:t>
              </a:r>
              <a:r>
                <a:rPr lang="de-CH" sz="1200" dirty="0" err="1"/>
                <a:t>values</a:t>
              </a:r>
              <a:r>
                <a:rPr lang="de-CH" sz="1200" dirty="0"/>
                <a:t>. </a:t>
              </a:r>
              <a:r>
                <a:rPr lang="de-CH" sz="1200" dirty="0" err="1"/>
                <a:t>We</a:t>
              </a:r>
              <a:r>
                <a:rPr lang="de-CH" sz="1200" dirty="0"/>
                <a:t> </a:t>
              </a:r>
              <a:r>
                <a:rPr lang="de-CH" sz="1200" dirty="0" err="1"/>
                <a:t>consider</a:t>
              </a:r>
              <a:r>
                <a:rPr lang="de-CH" sz="1200" dirty="0"/>
                <a:t> </a:t>
              </a:r>
              <a:r>
                <a:rPr lang="de-CH" sz="1200" dirty="0" err="1"/>
                <a:t>the</a:t>
              </a:r>
              <a:r>
                <a:rPr lang="de-CH" sz="1200" dirty="0"/>
                <a:t> feature nice </a:t>
              </a:r>
              <a:r>
                <a:rPr lang="de-CH" sz="1200" dirty="0" err="1"/>
                <a:t>to</a:t>
              </a:r>
              <a:r>
                <a:rPr lang="de-CH" sz="1200" dirty="0"/>
                <a:t> </a:t>
              </a:r>
              <a:r>
                <a:rPr lang="de-CH" sz="1200" dirty="0" err="1"/>
                <a:t>have</a:t>
              </a:r>
              <a:r>
                <a:rPr lang="de-CH" sz="1200" dirty="0"/>
                <a:t> </a:t>
              </a:r>
              <a:r>
                <a:rPr lang="de-CH" sz="1200" dirty="0" err="1"/>
                <a:t>if</a:t>
              </a:r>
              <a:r>
                <a:rPr lang="de-CH" sz="1200" dirty="0"/>
                <a:t> </a:t>
              </a:r>
              <a:r>
                <a:rPr lang="de-CH" sz="1200" dirty="0" err="1"/>
                <a:t>it</a:t>
              </a:r>
              <a:r>
                <a:rPr lang="de-CH" sz="1200" dirty="0"/>
                <a:t> </a:t>
              </a:r>
              <a:r>
                <a:rPr lang="de-CH" sz="1200" dirty="0" err="1"/>
                <a:t>can</a:t>
              </a:r>
              <a:r>
                <a:rPr lang="de-CH" sz="1200" dirty="0"/>
                <a:t> </a:t>
              </a:r>
              <a:r>
                <a:rPr lang="de-CH" sz="1200" dirty="0" err="1"/>
                <a:t>be</a:t>
              </a:r>
              <a:r>
                <a:rPr lang="de-CH" sz="1200" dirty="0"/>
                <a:t> </a:t>
              </a:r>
              <a:r>
                <a:rPr lang="de-CH" sz="1200" dirty="0" err="1"/>
                <a:t>added</a:t>
              </a:r>
              <a:r>
                <a:rPr lang="de-CH" sz="1200" dirty="0"/>
                <a:t> at </a:t>
              </a:r>
              <a:r>
                <a:rPr lang="de-CH" sz="1200" dirty="0" err="1"/>
                <a:t>minimum</a:t>
              </a:r>
              <a:r>
                <a:rPr lang="de-CH" sz="1200" dirty="0"/>
                <a:t> </a:t>
              </a:r>
              <a:r>
                <a:rPr lang="de-CH" sz="1200" dirty="0" err="1"/>
                <a:t>cost</a:t>
              </a:r>
              <a:r>
                <a:rPr lang="de-CH" sz="1200" dirty="0"/>
                <a:t>.</a:t>
              </a:r>
            </a:p>
          </p:txBody>
        </p:sp>
      </p:grpSp>
      <p:grpSp>
        <p:nvGrpSpPr>
          <p:cNvPr id="43" name="Grupo 275">
            <a:extLst>
              <a:ext uri="{FF2B5EF4-FFF2-40B4-BE49-F238E27FC236}">
                <a16:creationId xmlns:a16="http://schemas.microsoft.com/office/drawing/2014/main" id="{BD9509D5-0F2F-407A-978A-AC8F68EB9C1D}"/>
              </a:ext>
            </a:extLst>
          </p:cNvPr>
          <p:cNvGrpSpPr/>
          <p:nvPr/>
        </p:nvGrpSpPr>
        <p:grpSpPr>
          <a:xfrm>
            <a:off x="6965786" y="4455237"/>
            <a:ext cx="3835892" cy="1314748"/>
            <a:chOff x="4247967" y="10486872"/>
            <a:chExt cx="4254270" cy="3048676"/>
          </a:xfrm>
        </p:grpSpPr>
        <p:sp>
          <p:nvSpPr>
            <p:cNvPr id="44" name="CuadroTexto 395">
              <a:extLst>
                <a:ext uri="{FF2B5EF4-FFF2-40B4-BE49-F238E27FC236}">
                  <a16:creationId xmlns:a16="http://schemas.microsoft.com/office/drawing/2014/main" id="{642795E4-4AEE-462F-B3C1-23E45E78C60F}"/>
                </a:ext>
              </a:extLst>
            </p:cNvPr>
            <p:cNvSpPr txBox="1"/>
            <p:nvPr/>
          </p:nvSpPr>
          <p:spPr>
            <a:xfrm flipH="1">
              <a:off x="4247967" y="10486872"/>
              <a:ext cx="4254270" cy="713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+mj-lt"/>
                  <a:ea typeface="Lato" charset="0"/>
                  <a:cs typeface="Lato" charset="0"/>
                </a:rPr>
                <a:t>A </a:t>
              </a:r>
              <a:r>
                <a:rPr lang="en-US" sz="1400" b="1" dirty="0" err="1">
                  <a:latin typeface="+mj-lt"/>
                  <a:ea typeface="Lato" charset="0"/>
                  <a:cs typeface="Lato" charset="0"/>
                </a:rPr>
                <a:t>MagSafe</a:t>
              </a:r>
              <a:r>
                <a:rPr lang="en-US" sz="1400" b="1" dirty="0">
                  <a:latin typeface="+mj-lt"/>
                  <a:ea typeface="Lato" charset="0"/>
                  <a:cs typeface="Lato" charset="0"/>
                </a:rPr>
                <a:t> feature is nice to have</a:t>
              </a:r>
            </a:p>
          </p:txBody>
        </p:sp>
        <p:sp>
          <p:nvSpPr>
            <p:cNvPr id="45" name="Rectangle 40">
              <a:extLst>
                <a:ext uri="{FF2B5EF4-FFF2-40B4-BE49-F238E27FC236}">
                  <a16:creationId xmlns:a16="http://schemas.microsoft.com/office/drawing/2014/main" id="{AC468C79-EA56-457F-8DEA-AA14035A8B4B}"/>
                </a:ext>
              </a:extLst>
            </p:cNvPr>
            <p:cNvSpPr/>
            <p:nvPr/>
          </p:nvSpPr>
          <p:spPr>
            <a:xfrm>
              <a:off x="4263627" y="11180399"/>
              <a:ext cx="4221143" cy="23551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200" dirty="0"/>
                <a:t>A MagSafe feature </a:t>
              </a:r>
              <a:r>
                <a:rPr lang="de-CH" sz="1200" dirty="0" err="1"/>
                <a:t>adds</a:t>
              </a:r>
              <a:r>
                <a:rPr lang="de-CH" sz="1200" dirty="0"/>
                <a:t> </a:t>
              </a:r>
              <a:r>
                <a:rPr lang="de-CH" sz="1200" dirty="0" err="1"/>
                <a:t>to</a:t>
              </a:r>
              <a:r>
                <a:rPr lang="de-CH" sz="1200" dirty="0"/>
                <a:t> </a:t>
              </a:r>
              <a:r>
                <a:rPr lang="de-CH" sz="1200" dirty="0" err="1"/>
                <a:t>differentiation</a:t>
              </a:r>
              <a:r>
                <a:rPr lang="de-CH" sz="1200" dirty="0"/>
                <a:t> and will </a:t>
              </a:r>
              <a:r>
                <a:rPr lang="de-CH" sz="1200" dirty="0" err="1"/>
                <a:t>be</a:t>
              </a:r>
              <a:r>
                <a:rPr lang="de-CH" sz="1200" dirty="0"/>
                <a:t> </a:t>
              </a:r>
              <a:r>
                <a:rPr lang="de-CH" sz="1200" dirty="0" err="1"/>
                <a:t>welcomed</a:t>
              </a:r>
              <a:r>
                <a:rPr lang="de-CH" sz="1200" dirty="0"/>
                <a:t> </a:t>
              </a:r>
              <a:r>
                <a:rPr lang="de-CH" sz="1200" dirty="0" err="1"/>
                <a:t>by</a:t>
              </a:r>
              <a:r>
                <a:rPr lang="de-CH" sz="1200" dirty="0"/>
                <a:t> </a:t>
              </a:r>
              <a:r>
                <a:rPr lang="de-CH" sz="1200" dirty="0" err="1"/>
                <a:t>users</a:t>
              </a:r>
              <a:r>
                <a:rPr lang="de-CH" sz="1200" dirty="0"/>
                <a:t> </a:t>
              </a:r>
              <a:r>
                <a:rPr lang="de-CH" sz="1200" dirty="0" err="1"/>
                <a:t>of</a:t>
              </a:r>
              <a:r>
                <a:rPr lang="de-CH" sz="1200" dirty="0"/>
                <a:t> iPhone 12 </a:t>
              </a:r>
              <a:r>
                <a:rPr lang="de-CH" sz="1200" dirty="0" err="1"/>
                <a:t>or</a:t>
              </a:r>
              <a:r>
                <a:rPr lang="de-CH" sz="1200" dirty="0"/>
                <a:t> </a:t>
              </a:r>
              <a:r>
                <a:rPr lang="de-CH" sz="1200" dirty="0" err="1"/>
                <a:t>later</a:t>
              </a:r>
              <a:r>
                <a:rPr lang="de-CH" sz="1200" dirty="0"/>
                <a:t> (</a:t>
              </a:r>
              <a:r>
                <a:rPr lang="de-CH" sz="1200" dirty="0">
                  <a:sym typeface="Wingdings" panose="05000000000000000000" pitchFamily="2" charset="2"/>
                </a:rPr>
                <a:t></a:t>
              </a:r>
              <a:r>
                <a:rPr lang="de-CH" sz="1200" dirty="0"/>
                <a:t> </a:t>
              </a:r>
              <a:r>
                <a:rPr lang="de-CH" sz="1200" dirty="0" err="1"/>
                <a:t>slide</a:t>
              </a:r>
              <a:r>
                <a:rPr lang="de-CH" sz="1200" dirty="0"/>
                <a:t> 17). </a:t>
              </a:r>
              <a:r>
                <a:rPr lang="de-CH" sz="1200" dirty="0" err="1"/>
                <a:t>Since</a:t>
              </a:r>
              <a:r>
                <a:rPr lang="de-CH" sz="1200" dirty="0"/>
                <a:t> </a:t>
              </a:r>
              <a:r>
                <a:rPr lang="de-CH" sz="1200" dirty="0" err="1"/>
                <a:t>these</a:t>
              </a:r>
              <a:r>
                <a:rPr lang="de-CH" sz="1200" dirty="0"/>
                <a:t> </a:t>
              </a:r>
              <a:r>
                <a:rPr lang="de-CH" sz="1200" dirty="0" err="1"/>
                <a:t>are</a:t>
              </a:r>
              <a:r>
                <a:rPr lang="de-CH" sz="1200" dirty="0"/>
                <a:t> </a:t>
              </a:r>
              <a:r>
                <a:rPr lang="de-CH" sz="1200" dirty="0" err="1"/>
                <a:t>only</a:t>
              </a:r>
              <a:r>
                <a:rPr lang="de-CH" sz="1200" dirty="0"/>
                <a:t> a </a:t>
              </a:r>
              <a:r>
                <a:rPr lang="de-CH" sz="1200" dirty="0" err="1"/>
                <a:t>minority</a:t>
              </a:r>
              <a:r>
                <a:rPr lang="de-CH" sz="1200" dirty="0"/>
                <a:t> </a:t>
              </a:r>
              <a:r>
                <a:rPr lang="de-CH" sz="1200" dirty="0" err="1"/>
                <a:t>of</a:t>
              </a:r>
              <a:r>
                <a:rPr lang="de-CH" sz="1200" dirty="0"/>
                <a:t> </a:t>
              </a:r>
              <a:r>
                <a:rPr lang="de-CH" sz="1200" dirty="0" err="1"/>
                <a:t>the</a:t>
              </a:r>
              <a:r>
                <a:rPr lang="de-CH" sz="1200" dirty="0"/>
                <a:t> </a:t>
              </a:r>
              <a:r>
                <a:rPr lang="de-CH" sz="1200" dirty="0" err="1"/>
                <a:t>market</a:t>
              </a:r>
              <a:r>
                <a:rPr lang="de-CH" sz="1200" dirty="0"/>
                <a:t>, </a:t>
              </a:r>
              <a:r>
                <a:rPr lang="de-CH" sz="1200" dirty="0" err="1"/>
                <a:t>we</a:t>
              </a:r>
              <a:r>
                <a:rPr lang="de-CH" sz="1200" dirty="0"/>
                <a:t> </a:t>
              </a:r>
              <a:r>
                <a:rPr lang="de-CH" sz="1200" dirty="0" err="1"/>
                <a:t>consider</a:t>
              </a:r>
              <a:r>
                <a:rPr lang="de-CH" sz="1200" dirty="0"/>
                <a:t> </a:t>
              </a:r>
              <a:r>
                <a:rPr lang="de-CH" sz="1200" dirty="0" err="1"/>
                <a:t>the</a:t>
              </a:r>
              <a:r>
                <a:rPr lang="de-CH" sz="1200" dirty="0"/>
                <a:t> feature nice </a:t>
              </a:r>
              <a:r>
                <a:rPr lang="de-CH" sz="1200" dirty="0" err="1"/>
                <a:t>to</a:t>
              </a:r>
              <a:r>
                <a:rPr lang="de-CH" sz="1200" dirty="0"/>
                <a:t> </a:t>
              </a:r>
              <a:r>
                <a:rPr lang="de-CH" sz="1200" dirty="0" err="1"/>
                <a:t>have</a:t>
              </a:r>
              <a:r>
                <a:rPr lang="de-CH" sz="1200" dirty="0"/>
                <a:t> </a:t>
              </a:r>
              <a:r>
                <a:rPr lang="de-CH" sz="1200" dirty="0" err="1"/>
                <a:t>if</a:t>
              </a:r>
              <a:r>
                <a:rPr lang="de-CH" sz="1200" dirty="0"/>
                <a:t> </a:t>
              </a:r>
              <a:r>
                <a:rPr lang="de-CH" sz="1200" dirty="0" err="1"/>
                <a:t>it</a:t>
              </a:r>
              <a:r>
                <a:rPr lang="de-CH" sz="1200" dirty="0"/>
                <a:t> </a:t>
              </a:r>
              <a:r>
                <a:rPr lang="de-CH" sz="1200" dirty="0" err="1"/>
                <a:t>can</a:t>
              </a:r>
              <a:r>
                <a:rPr lang="de-CH" sz="1200" dirty="0"/>
                <a:t> </a:t>
              </a:r>
              <a:r>
                <a:rPr lang="de-CH" sz="1200" dirty="0" err="1"/>
                <a:t>be</a:t>
              </a:r>
              <a:r>
                <a:rPr lang="de-CH" sz="1200" dirty="0"/>
                <a:t> </a:t>
              </a:r>
              <a:r>
                <a:rPr lang="de-CH" sz="1200" dirty="0" err="1"/>
                <a:t>added</a:t>
              </a:r>
              <a:r>
                <a:rPr lang="de-CH" sz="1200" dirty="0"/>
                <a:t> at moderate </a:t>
              </a:r>
              <a:r>
                <a:rPr lang="de-CH" sz="1200" dirty="0" err="1"/>
                <a:t>cost</a:t>
              </a:r>
              <a:r>
                <a:rPr lang="de-CH" sz="1200" dirty="0"/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351297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2686110-44AA-43D5-8090-7B4494E569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2686110-44AA-43D5-8090-7B4494E56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C50911A-B050-449C-B911-A7759B67D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450" y="692150"/>
            <a:ext cx="11053763" cy="684213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The OST Smart Factory </a:t>
            </a:r>
            <a:r>
              <a:rPr lang="de-CH" dirty="0" err="1"/>
              <a:t>is</a:t>
            </a:r>
            <a:r>
              <a:rPr lang="de-CH" dirty="0"/>
              <a:t> a real-</a:t>
            </a:r>
            <a:r>
              <a:rPr lang="de-CH" dirty="0" err="1"/>
              <a:t>world</a:t>
            </a:r>
            <a:r>
              <a:rPr lang="de-CH" dirty="0"/>
              <a:t> </a:t>
            </a:r>
            <a:r>
              <a:rPr lang="de-CH" dirty="0" err="1"/>
              <a:t>industrial</a:t>
            </a:r>
            <a:r>
              <a:rPr lang="de-CH" dirty="0"/>
              <a:t> </a:t>
            </a:r>
            <a:r>
              <a:rPr lang="de-CH" dirty="0" err="1"/>
              <a:t>production</a:t>
            </a:r>
            <a:r>
              <a:rPr lang="de-CH" dirty="0"/>
              <a:t> </a:t>
            </a:r>
            <a:r>
              <a:rPr lang="de-CH" dirty="0" err="1"/>
              <a:t>environm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howcase</a:t>
            </a:r>
            <a:r>
              <a:rPr lang="de-CH" dirty="0"/>
              <a:t> </a:t>
            </a:r>
            <a:r>
              <a:rPr lang="de-CH" dirty="0" err="1"/>
              <a:t>applied</a:t>
            </a:r>
            <a:r>
              <a:rPr lang="de-CH" dirty="0"/>
              <a:t> </a:t>
            </a:r>
            <a:r>
              <a:rPr lang="de-CH" dirty="0" err="1"/>
              <a:t>digitalization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A9007FF-AB24-4D92-B56B-2C7EAACD05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-Gadget»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D37718E-EE60-47AA-8D55-1AFB2D8364A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ase Study OST-Gadget Sample Solution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6F56DE8-8901-4CBD-911B-DD084E94516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4</a:t>
            </a:fld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598ABC8-4F7A-4213-89E9-91E6A370ACE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6821" t="31511" r="47" b="7483"/>
          <a:stretch/>
        </p:blipFill>
        <p:spPr>
          <a:xfrm>
            <a:off x="3593306" y="2063790"/>
            <a:ext cx="4186318" cy="363374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E562270-D360-48D9-B717-C979A75B08A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742"/>
          <a:stretch/>
        </p:blipFill>
        <p:spPr>
          <a:xfrm>
            <a:off x="5325893" y="2281009"/>
            <a:ext cx="752847" cy="71791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F427AE0-A7B1-438F-ABBE-0C7D80C63A7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742"/>
          <a:stretch/>
        </p:blipFill>
        <p:spPr>
          <a:xfrm>
            <a:off x="5703222" y="3713272"/>
            <a:ext cx="752847" cy="71791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C0A34AF-1474-43E6-853C-8C46D2A292C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742"/>
          <a:stretch/>
        </p:blipFill>
        <p:spPr>
          <a:xfrm>
            <a:off x="3439999" y="3381011"/>
            <a:ext cx="752847" cy="71791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AD88938-CA90-49FD-98B7-7162235BB81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5" r="38053"/>
          <a:stretch/>
        </p:blipFill>
        <p:spPr>
          <a:xfrm>
            <a:off x="3071795" y="4094809"/>
            <a:ext cx="1800000" cy="1200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C8CAC8EB-C0A7-4579-97B0-3FD3E13CAEE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95183" y="4462968"/>
            <a:ext cx="1800000" cy="11997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C17508FC-D12F-4002-B912-0A3E4350465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9228" r="19228"/>
          <a:stretch/>
        </p:blipFill>
        <p:spPr>
          <a:xfrm>
            <a:off x="3449240" y="1838875"/>
            <a:ext cx="1800000" cy="1200000"/>
          </a:xfrm>
          <a:prstGeom prst="rect">
            <a:avLst/>
          </a:prstGeom>
        </p:spPr>
      </p:pic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4C39B760-7146-4633-956D-65678E32DABD}"/>
              </a:ext>
            </a:extLst>
          </p:cNvPr>
          <p:cNvCxnSpPr>
            <a:cxnSpLocks/>
            <a:stCxn id="16" idx="1"/>
          </p:cNvCxnSpPr>
          <p:nvPr/>
        </p:nvCxnSpPr>
        <p:spPr>
          <a:xfrm flipH="1">
            <a:off x="2240369" y="3739966"/>
            <a:ext cx="1199630" cy="43367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5" name="Grupo 275">
            <a:extLst>
              <a:ext uri="{FF2B5EF4-FFF2-40B4-BE49-F238E27FC236}">
                <a16:creationId xmlns:a16="http://schemas.microsoft.com/office/drawing/2014/main" id="{470C8D1B-5293-4BF9-9919-EBCD6D0506BD}"/>
              </a:ext>
            </a:extLst>
          </p:cNvPr>
          <p:cNvGrpSpPr/>
          <p:nvPr/>
        </p:nvGrpSpPr>
        <p:grpSpPr>
          <a:xfrm>
            <a:off x="806450" y="4285712"/>
            <a:ext cx="2325162" cy="822306"/>
            <a:chOff x="4247967" y="10486870"/>
            <a:chExt cx="4254270" cy="1906786"/>
          </a:xfrm>
        </p:grpSpPr>
        <p:sp>
          <p:nvSpPr>
            <p:cNvPr id="26" name="CuadroTexto 395">
              <a:extLst>
                <a:ext uri="{FF2B5EF4-FFF2-40B4-BE49-F238E27FC236}">
                  <a16:creationId xmlns:a16="http://schemas.microsoft.com/office/drawing/2014/main" id="{5CB5E0CF-9FD2-42A2-9960-46AFF6F8B063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err="1">
                  <a:latin typeface="+mj-lt"/>
                  <a:ea typeface="Lato" charset="0"/>
                  <a:cs typeface="Lato" charset="0"/>
                </a:rPr>
                <a:t>Rapperswil-Jona</a:t>
              </a:r>
              <a:endParaRPr lang="en-US" sz="1600" b="1" dirty="0">
                <a:latin typeface="+mj-lt"/>
                <a:ea typeface="Lato" charset="0"/>
                <a:cs typeface="Lato" charset="0"/>
              </a:endParaRPr>
            </a:p>
          </p:txBody>
        </p:sp>
        <p:sp>
          <p:nvSpPr>
            <p:cNvPr id="27" name="Rectangle 40">
              <a:extLst>
                <a:ext uri="{FF2B5EF4-FFF2-40B4-BE49-F238E27FC236}">
                  <a16:creationId xmlns:a16="http://schemas.microsoft.com/office/drawing/2014/main" id="{346610E2-54BD-4401-94D0-619D90D43E32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400" dirty="0" err="1"/>
                <a:t>Production</a:t>
              </a:r>
              <a:r>
                <a:rPr lang="de-CH" sz="1400" dirty="0"/>
                <a:t> </a:t>
              </a:r>
              <a:r>
                <a:rPr lang="de-CH" sz="1400" dirty="0" err="1"/>
                <a:t>of</a:t>
              </a:r>
              <a:r>
                <a:rPr lang="de-CH" sz="1400" dirty="0"/>
                <a:t> </a:t>
              </a:r>
              <a:r>
                <a:rPr lang="de-CH" sz="1400" dirty="0" err="1"/>
                <a:t>injection-moulded</a:t>
              </a:r>
              <a:r>
                <a:rPr lang="de-CH" sz="1400" dirty="0"/>
                <a:t> </a:t>
              </a:r>
              <a:r>
                <a:rPr lang="de-CH" sz="1400" dirty="0" err="1"/>
                <a:t>parts</a:t>
              </a:r>
              <a:r>
                <a:rPr lang="de-CH" sz="1400" dirty="0"/>
                <a:t>. 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28" name="Grupo 275">
            <a:extLst>
              <a:ext uri="{FF2B5EF4-FFF2-40B4-BE49-F238E27FC236}">
                <a16:creationId xmlns:a16="http://schemas.microsoft.com/office/drawing/2014/main" id="{9BFA8606-1758-459C-AB28-C7EB43638864}"/>
              </a:ext>
            </a:extLst>
          </p:cNvPr>
          <p:cNvGrpSpPr/>
          <p:nvPr/>
        </p:nvGrpSpPr>
        <p:grpSpPr>
          <a:xfrm>
            <a:off x="7990087" y="3553352"/>
            <a:ext cx="2325162" cy="1037750"/>
            <a:chOff x="4247967" y="10486870"/>
            <a:chExt cx="4254270" cy="2406364"/>
          </a:xfrm>
        </p:grpSpPr>
        <p:sp>
          <p:nvSpPr>
            <p:cNvPr id="29" name="CuadroTexto 395">
              <a:extLst>
                <a:ext uri="{FF2B5EF4-FFF2-40B4-BE49-F238E27FC236}">
                  <a16:creationId xmlns:a16="http://schemas.microsoft.com/office/drawing/2014/main" id="{739C3B99-AB0C-4336-B358-C0B74D9399F3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err="1">
                  <a:latin typeface="+mj-lt"/>
                  <a:ea typeface="Lato" charset="0"/>
                  <a:cs typeface="Lato" charset="0"/>
                </a:rPr>
                <a:t>Buchs</a:t>
              </a:r>
              <a:endParaRPr lang="en-US" sz="1600" b="1" dirty="0">
                <a:latin typeface="+mj-lt"/>
                <a:ea typeface="Lato" charset="0"/>
                <a:cs typeface="Lato" charset="0"/>
              </a:endParaRPr>
            </a:p>
          </p:txBody>
        </p:sp>
        <p:sp>
          <p:nvSpPr>
            <p:cNvPr id="30" name="Rectangle 40">
              <a:extLst>
                <a:ext uri="{FF2B5EF4-FFF2-40B4-BE49-F238E27FC236}">
                  <a16:creationId xmlns:a16="http://schemas.microsoft.com/office/drawing/2014/main" id="{AEC652A7-DED8-4E16-881C-0FDBBE22F089}"/>
                </a:ext>
              </a:extLst>
            </p:cNvPr>
            <p:cNvSpPr/>
            <p:nvPr/>
          </p:nvSpPr>
          <p:spPr>
            <a:xfrm>
              <a:off x="4263627" y="11180399"/>
              <a:ext cx="4221144" cy="17128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400" dirty="0" err="1"/>
                <a:t>Product</a:t>
              </a:r>
              <a:r>
                <a:rPr lang="de-CH" sz="1400" dirty="0"/>
                <a:t> </a:t>
              </a:r>
              <a:r>
                <a:rPr lang="de-CH" sz="1400" dirty="0" err="1"/>
                <a:t>management</a:t>
              </a:r>
              <a:r>
                <a:rPr lang="de-CH" sz="1400" dirty="0"/>
                <a:t>, </a:t>
              </a:r>
              <a:r>
                <a:rPr lang="de-CH" sz="1400" dirty="0" err="1"/>
                <a:t>electronics</a:t>
              </a:r>
              <a:r>
                <a:rPr lang="de-CH" sz="1400" dirty="0"/>
                <a:t> </a:t>
              </a:r>
              <a:r>
                <a:rPr lang="de-CH" sz="1400" dirty="0" err="1"/>
                <a:t>development</a:t>
              </a:r>
              <a:r>
                <a:rPr lang="de-CH" sz="1400" dirty="0"/>
                <a:t>, and final </a:t>
              </a:r>
              <a:r>
                <a:rPr lang="de-CH" sz="1400" dirty="0" err="1"/>
                <a:t>assembly</a:t>
              </a:r>
              <a:r>
                <a:rPr lang="de-CH" sz="1400" dirty="0"/>
                <a:t>.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EE635CB9-4FA3-4DD4-AF17-3EF678CA73E1}"/>
              </a:ext>
            </a:extLst>
          </p:cNvPr>
          <p:cNvCxnSpPr>
            <a:cxnSpLocks/>
          </p:cNvCxnSpPr>
          <p:nvPr/>
        </p:nvCxnSpPr>
        <p:spPr>
          <a:xfrm flipH="1" flipV="1">
            <a:off x="6464629" y="4040420"/>
            <a:ext cx="1468302" cy="530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3" name="Grupo 275">
            <a:extLst>
              <a:ext uri="{FF2B5EF4-FFF2-40B4-BE49-F238E27FC236}">
                <a16:creationId xmlns:a16="http://schemas.microsoft.com/office/drawing/2014/main" id="{3B9BDA80-7DDD-4206-8585-4E0A9264C9A2}"/>
              </a:ext>
            </a:extLst>
          </p:cNvPr>
          <p:cNvGrpSpPr/>
          <p:nvPr/>
        </p:nvGrpSpPr>
        <p:grpSpPr>
          <a:xfrm>
            <a:off x="7980541" y="2028755"/>
            <a:ext cx="2325162" cy="606863"/>
            <a:chOff x="4247967" y="10486870"/>
            <a:chExt cx="4254270" cy="1407211"/>
          </a:xfrm>
        </p:grpSpPr>
        <p:sp>
          <p:nvSpPr>
            <p:cNvPr id="34" name="CuadroTexto 395">
              <a:extLst>
                <a:ext uri="{FF2B5EF4-FFF2-40B4-BE49-F238E27FC236}">
                  <a16:creationId xmlns:a16="http://schemas.microsoft.com/office/drawing/2014/main" id="{6F013FCE-C8D3-4C74-9EF0-F9330D0A6A84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St. Gallen</a:t>
              </a:r>
            </a:p>
          </p:txBody>
        </p:sp>
        <p:sp>
          <p:nvSpPr>
            <p:cNvPr id="35" name="Rectangle 40">
              <a:extLst>
                <a:ext uri="{FF2B5EF4-FFF2-40B4-BE49-F238E27FC236}">
                  <a16:creationId xmlns:a16="http://schemas.microsoft.com/office/drawing/2014/main" id="{B193E5AC-2D0C-4B1B-860E-451459A672E1}"/>
                </a:ext>
              </a:extLst>
            </p:cNvPr>
            <p:cNvSpPr/>
            <p:nvPr/>
          </p:nvSpPr>
          <p:spPr>
            <a:xfrm>
              <a:off x="4263627" y="11180399"/>
              <a:ext cx="4221144" cy="7136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400" dirty="0"/>
                <a:t>Sales and </a:t>
              </a:r>
              <a:r>
                <a:rPr lang="de-CH" sz="1400" dirty="0" err="1"/>
                <a:t>service</a:t>
              </a:r>
              <a:r>
                <a:rPr lang="de-CH" sz="1400" dirty="0"/>
                <a:t>.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FEEB055-B0C6-4205-AA09-847FCC5433E8}"/>
              </a:ext>
            </a:extLst>
          </p:cNvPr>
          <p:cNvCxnSpPr>
            <a:cxnSpLocks/>
            <a:endCxn id="11" idx="3"/>
          </p:cNvCxnSpPr>
          <p:nvPr/>
        </p:nvCxnSpPr>
        <p:spPr>
          <a:xfrm flipH="1">
            <a:off x="6078740" y="2314642"/>
            <a:ext cx="1844952" cy="3253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9" name="Grafik 38">
            <a:extLst>
              <a:ext uri="{FF2B5EF4-FFF2-40B4-BE49-F238E27FC236}">
                <a16:creationId xmlns:a16="http://schemas.microsoft.com/office/drawing/2014/main" id="{1E6C42D6-086A-4C2C-8558-1BD1BC59D2C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31936" y="4932149"/>
            <a:ext cx="3228277" cy="1101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1006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58341CE-7C75-4573-BE16-669B403E4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4776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58341CE-7C75-4573-BE16-669B403E4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AC2BEAC0-53D3-482D-8FC6-A295480EB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Marketing Mi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3832B1-FC16-4FF1-9311-6DC486645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9B7F8D-886E-4469-90E8-604B40C98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40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F71B20-B1E9-4121-B2D6-C1EAF17C52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strategy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action</a:t>
            </a:r>
            <a:r>
              <a:rPr lang="de-CH" dirty="0"/>
              <a:t>?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B5AF3F34-6DCF-4325-B9B3-86C9FEBA21C0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5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46" b="41772"/>
          <a:stretch/>
        </p:blipFill>
        <p:spPr>
          <a:xfrm>
            <a:off x="0" y="3851275"/>
            <a:ext cx="12198350" cy="234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57896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B98F4FD-F2C1-4ED4-B97C-C8E9A4730E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786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AB98F4FD-F2C1-4ED4-B97C-C8E9A4730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8EDD29-16C2-444D-9DB6-7A3668EDB35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Case Study OST-Gadget Sample Solution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20A6263-5D29-4D8E-AEB5-7064D4F2BF4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41</a:t>
            </a:fld>
            <a:endParaRPr lang="de-CH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177E1B17-6FA6-4CA8-914E-581BDE9312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451" y="1533468"/>
            <a:ext cx="5364576" cy="332688"/>
          </a:xfrm>
        </p:spPr>
        <p:txBody>
          <a:bodyPr>
            <a:normAutofit/>
          </a:bodyPr>
          <a:lstStyle/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k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ous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how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trengths</a:t>
            </a:r>
            <a:endParaRPr lang="de-CH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5753FD4-6E93-4578-B529-A9ABA42560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05072" y="1524838"/>
            <a:ext cx="5353967" cy="358775"/>
          </a:xfrm>
        </p:spPr>
        <p:txBody>
          <a:bodyPr>
            <a:normAutofit/>
          </a:bodyPr>
          <a:lstStyle/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bu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lectronic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certification</a:t>
            </a:r>
            <a:endParaRPr lang="de-CH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475DB172-976B-4890-8109-038331477A5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duct</a:t>
            </a:r>
            <a:r>
              <a:rPr lang="de-CH" dirty="0"/>
              <a:t>?</a:t>
            </a:r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id="{D05AB1C8-ED90-4110-A9BD-BBB60A1B6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off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hysical</a:t>
            </a:r>
            <a:r>
              <a:rPr lang="de-CH" dirty="0"/>
              <a:t> </a:t>
            </a:r>
            <a:r>
              <a:rPr lang="de-CH" dirty="0" err="1"/>
              <a:t>product</a:t>
            </a:r>
            <a:r>
              <a:rPr lang="de-CH" dirty="0"/>
              <a:t> – </a:t>
            </a:r>
            <a:r>
              <a:rPr lang="de-CH" dirty="0" err="1"/>
              <a:t>no</a:t>
            </a:r>
            <a:r>
              <a:rPr lang="de-CH" dirty="0"/>
              <a:t> </a:t>
            </a:r>
            <a:r>
              <a:rPr lang="de-CH" dirty="0" err="1"/>
              <a:t>frills</a:t>
            </a:r>
            <a:r>
              <a:rPr lang="de-CH" dirty="0"/>
              <a:t>, </a:t>
            </a:r>
            <a:r>
              <a:rPr lang="de-CH" dirty="0" err="1"/>
              <a:t>no</a:t>
            </a:r>
            <a:r>
              <a:rPr lang="de-CH" dirty="0"/>
              <a:t> </a:t>
            </a:r>
            <a:r>
              <a:rPr lang="de-CH" dirty="0" err="1"/>
              <a:t>service</a:t>
            </a:r>
            <a:r>
              <a:rPr lang="de-CH" dirty="0"/>
              <a:t>. </a:t>
            </a:r>
            <a:br>
              <a:rPr lang="de-CH" dirty="0"/>
            </a:b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k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ousing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bu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lectronics</a:t>
            </a:r>
            <a:r>
              <a:rPr lang="de-CH" dirty="0"/>
              <a:t>.</a:t>
            </a:r>
          </a:p>
        </p:txBody>
      </p:sp>
      <p:sp>
        <p:nvSpPr>
          <p:cNvPr id="24" name="Inhaltsplatzhalter 23">
            <a:extLst>
              <a:ext uri="{FF2B5EF4-FFF2-40B4-BE49-F238E27FC236}">
                <a16:creationId xmlns:a16="http://schemas.microsoft.com/office/drawing/2014/main" id="{F4DA3FF3-F09B-497E-8002-6D4E6A5C692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34406" y="4292304"/>
            <a:ext cx="5364163" cy="1593034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/>
              <a:t>In-house </a:t>
            </a:r>
            <a:r>
              <a:rPr lang="de-CH" sz="1400" dirty="0" err="1"/>
              <a:t>production</a:t>
            </a:r>
            <a:r>
              <a:rPr lang="de-CH" sz="1400" dirty="0"/>
              <a:t> </a:t>
            </a:r>
            <a:r>
              <a:rPr lang="de-CH" sz="1400" dirty="0" err="1"/>
              <a:t>to</a:t>
            </a:r>
            <a:r>
              <a:rPr lang="de-CH" sz="1400" dirty="0"/>
              <a:t> </a:t>
            </a:r>
            <a:r>
              <a:rPr lang="de-CH" sz="1400" dirty="0" err="1"/>
              <a:t>demonstrate</a:t>
            </a:r>
            <a:r>
              <a:rPr lang="de-CH" sz="1400" dirty="0"/>
              <a:t> </a:t>
            </a:r>
            <a:r>
              <a:rPr lang="de-CH" sz="1400" dirty="0" err="1"/>
              <a:t>the</a:t>
            </a:r>
            <a:r>
              <a:rPr lang="de-CH" sz="1400" dirty="0"/>
              <a:t> smart </a:t>
            </a:r>
            <a:r>
              <a:rPr lang="de-CH" sz="1400" dirty="0" err="1"/>
              <a:t>factory’s</a:t>
            </a:r>
            <a:r>
              <a:rPr lang="de-CH" sz="1400" dirty="0"/>
              <a:t> </a:t>
            </a:r>
            <a:r>
              <a:rPr lang="de-CH" sz="1400" dirty="0" err="1"/>
              <a:t>competencies</a:t>
            </a:r>
            <a:r>
              <a:rPr lang="de-CH" sz="1400" dirty="0"/>
              <a:t> and </a:t>
            </a:r>
            <a:r>
              <a:rPr lang="de-CH" sz="1400" dirty="0" err="1"/>
              <a:t>infrastructure</a:t>
            </a:r>
            <a:r>
              <a:rPr lang="de-CH" sz="1400" dirty="0"/>
              <a:t> in </a:t>
            </a:r>
            <a:r>
              <a:rPr lang="de-CH" sz="1400" dirty="0" err="1"/>
              <a:t>injection</a:t>
            </a:r>
            <a:r>
              <a:rPr lang="de-CH" sz="1400" dirty="0"/>
              <a:t> </a:t>
            </a:r>
            <a:r>
              <a:rPr lang="de-CH" sz="1400" dirty="0" err="1"/>
              <a:t>moulding</a:t>
            </a:r>
            <a:r>
              <a:rPr lang="de-CH" sz="1400" dirty="0"/>
              <a:t> and digital </a:t>
            </a:r>
            <a:r>
              <a:rPr lang="de-CH" sz="1400" dirty="0" err="1"/>
              <a:t>manufacturing</a:t>
            </a:r>
            <a:endParaRPr lang="de-CH" sz="14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 err="1"/>
              <a:t>Personalized</a:t>
            </a:r>
            <a:r>
              <a:rPr lang="de-CH" sz="1400" dirty="0"/>
              <a:t> design e.g. </a:t>
            </a:r>
            <a:r>
              <a:rPr lang="de-CH" sz="1400" dirty="0" err="1"/>
              <a:t>by</a:t>
            </a:r>
            <a:r>
              <a:rPr lang="de-CH" sz="1400" dirty="0"/>
              <a:t> </a:t>
            </a:r>
            <a:r>
              <a:rPr lang="de-CH" sz="1400" dirty="0" err="1"/>
              <a:t>choice</a:t>
            </a:r>
            <a:r>
              <a:rPr lang="de-CH" sz="1400" dirty="0"/>
              <a:t> </a:t>
            </a:r>
            <a:r>
              <a:rPr lang="de-CH" sz="1400" dirty="0" err="1"/>
              <a:t>of</a:t>
            </a:r>
            <a:r>
              <a:rPr lang="de-CH" sz="1400" dirty="0"/>
              <a:t> </a:t>
            </a:r>
            <a:r>
              <a:rPr lang="de-CH" sz="1400" dirty="0" err="1"/>
              <a:t>colors</a:t>
            </a:r>
            <a:r>
              <a:rPr lang="de-CH" sz="1400" dirty="0"/>
              <a:t>, </a:t>
            </a:r>
            <a:r>
              <a:rPr lang="de-CH" sz="1400" dirty="0" err="1"/>
              <a:t>variants</a:t>
            </a:r>
            <a:r>
              <a:rPr lang="de-CH" sz="1400" dirty="0"/>
              <a:t> </a:t>
            </a:r>
            <a:r>
              <a:rPr lang="de-CH" sz="1400" dirty="0" err="1"/>
              <a:t>or</a:t>
            </a:r>
            <a:r>
              <a:rPr lang="de-CH" sz="1400" dirty="0"/>
              <a:t> fully </a:t>
            </a:r>
            <a:r>
              <a:rPr lang="de-CH" sz="1400" dirty="0" err="1"/>
              <a:t>personalized</a:t>
            </a:r>
            <a:r>
              <a:rPr lang="de-CH" sz="1400" dirty="0"/>
              <a:t> </a:t>
            </a:r>
            <a:r>
              <a:rPr lang="de-CH" sz="1400" dirty="0" err="1"/>
              <a:t>print</a:t>
            </a:r>
            <a:r>
              <a:rPr lang="de-CH" sz="1400" dirty="0"/>
              <a:t>, etc. 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/>
              <a:t>Strong OST </a:t>
            </a:r>
            <a:r>
              <a:rPr lang="de-CH" sz="1400" dirty="0" err="1"/>
              <a:t>branding</a:t>
            </a:r>
            <a:r>
              <a:rPr lang="de-CH" sz="1400" dirty="0"/>
              <a:t> </a:t>
            </a:r>
            <a:r>
              <a:rPr lang="de-CH" sz="1400" dirty="0" err="1"/>
              <a:t>by</a:t>
            </a:r>
            <a:r>
              <a:rPr lang="de-CH" sz="1400" dirty="0"/>
              <a:t> </a:t>
            </a:r>
            <a:r>
              <a:rPr lang="de-CH" sz="1400" dirty="0" err="1"/>
              <a:t>housing</a:t>
            </a:r>
            <a:r>
              <a:rPr lang="de-CH" sz="1400" dirty="0"/>
              <a:t> in </a:t>
            </a:r>
            <a:r>
              <a:rPr lang="de-CH" sz="1400" dirty="0" err="1"/>
              <a:t>the</a:t>
            </a:r>
            <a:r>
              <a:rPr lang="de-CH" sz="1400" dirty="0"/>
              <a:t> </a:t>
            </a:r>
            <a:r>
              <a:rPr lang="de-CH" sz="1400" dirty="0" err="1"/>
              <a:t>shape</a:t>
            </a:r>
            <a:r>
              <a:rPr lang="de-CH" sz="1400" dirty="0"/>
              <a:t> </a:t>
            </a:r>
            <a:r>
              <a:rPr lang="de-CH" sz="1400" dirty="0" err="1"/>
              <a:t>of</a:t>
            </a:r>
            <a:r>
              <a:rPr lang="de-CH" sz="1400" dirty="0"/>
              <a:t> </a:t>
            </a:r>
            <a:r>
              <a:rPr lang="de-CH" sz="1400" dirty="0" err="1"/>
              <a:t>the</a:t>
            </a:r>
            <a:r>
              <a:rPr lang="de-CH" sz="1400" dirty="0"/>
              <a:t> OST logo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/>
              <a:t>Durable design </a:t>
            </a:r>
            <a:r>
              <a:rPr lang="de-CH" sz="1400" dirty="0" err="1"/>
              <a:t>with</a:t>
            </a:r>
            <a:r>
              <a:rPr lang="de-CH" sz="1400" dirty="0"/>
              <a:t> </a:t>
            </a:r>
            <a:r>
              <a:rPr lang="de-CH" sz="1400" dirty="0" err="1"/>
              <a:t>sufficient</a:t>
            </a:r>
            <a:r>
              <a:rPr lang="de-CH" sz="1400" dirty="0"/>
              <a:t> </a:t>
            </a:r>
            <a:r>
              <a:rPr lang="de-CH" sz="1400" dirty="0" err="1"/>
              <a:t>thickness</a:t>
            </a:r>
            <a:r>
              <a:rPr lang="de-CH" sz="1400" dirty="0"/>
              <a:t>  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 err="1"/>
              <a:t>Using</a:t>
            </a:r>
            <a:r>
              <a:rPr lang="de-CH" sz="1400" dirty="0"/>
              <a:t> </a:t>
            </a:r>
            <a:r>
              <a:rPr lang="de-CH" sz="1400" dirty="0" err="1"/>
              <a:t>recycled</a:t>
            </a:r>
            <a:r>
              <a:rPr lang="de-CH" sz="1400" dirty="0"/>
              <a:t> </a:t>
            </a:r>
            <a:r>
              <a:rPr lang="de-CH" sz="1400" dirty="0" err="1"/>
              <a:t>plastics</a:t>
            </a:r>
            <a:r>
              <a:rPr lang="de-CH" sz="1400" dirty="0"/>
              <a:t> </a:t>
            </a:r>
            <a:r>
              <a:rPr lang="de-CH" sz="1400" dirty="0" err="1"/>
              <a:t>for</a:t>
            </a:r>
            <a:r>
              <a:rPr lang="de-CH" sz="1400" dirty="0"/>
              <a:t> </a:t>
            </a:r>
            <a:r>
              <a:rPr lang="de-CH" sz="1400" dirty="0" err="1"/>
              <a:t>sustainability</a:t>
            </a:r>
            <a:r>
              <a:rPr lang="de-CH" sz="1400" dirty="0"/>
              <a:t> </a:t>
            </a:r>
          </a:p>
        </p:txBody>
      </p:sp>
      <p:sp>
        <p:nvSpPr>
          <p:cNvPr id="25" name="Inhaltsplatzhalter 24">
            <a:extLst>
              <a:ext uri="{FF2B5EF4-FFF2-40B4-BE49-F238E27FC236}">
                <a16:creationId xmlns:a16="http://schemas.microsoft.com/office/drawing/2014/main" id="{CA24B351-4107-4177-9AD7-6F28FBF1132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494463" y="4948102"/>
            <a:ext cx="5364163" cy="1432217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 err="1"/>
              <a:t>To</a:t>
            </a:r>
            <a:r>
              <a:rPr lang="de-CH" sz="1400" dirty="0"/>
              <a:t> </a:t>
            </a:r>
            <a:r>
              <a:rPr lang="de-CH" sz="1400" dirty="0" err="1"/>
              <a:t>avoid</a:t>
            </a:r>
            <a:r>
              <a:rPr lang="de-CH" sz="1400" dirty="0"/>
              <a:t> </a:t>
            </a:r>
            <a:r>
              <a:rPr lang="de-CH" sz="1400" dirty="0" err="1"/>
              <a:t>the</a:t>
            </a:r>
            <a:r>
              <a:rPr lang="de-CH" sz="1400" dirty="0"/>
              <a:t> </a:t>
            </a:r>
            <a:r>
              <a:rPr lang="de-CH" sz="1400" dirty="0" err="1"/>
              <a:t>need</a:t>
            </a:r>
            <a:r>
              <a:rPr lang="de-CH" sz="1400" dirty="0"/>
              <a:t> </a:t>
            </a:r>
            <a:r>
              <a:rPr lang="de-CH" sz="1400" dirty="0" err="1"/>
              <a:t>for</a:t>
            </a:r>
            <a:r>
              <a:rPr lang="de-CH" sz="1400" dirty="0"/>
              <a:t> a Qi </a:t>
            </a:r>
            <a:r>
              <a:rPr lang="de-CH" sz="1400" dirty="0" err="1"/>
              <a:t>certification</a:t>
            </a:r>
            <a:r>
              <a:rPr lang="de-CH" sz="1400" dirty="0"/>
              <a:t> and </a:t>
            </a:r>
            <a:r>
              <a:rPr lang="de-CH" sz="1400" dirty="0" err="1"/>
              <a:t>to</a:t>
            </a:r>
            <a:r>
              <a:rPr lang="de-CH" sz="1400" dirty="0"/>
              <a:t> </a:t>
            </a:r>
            <a:r>
              <a:rPr lang="de-CH" sz="1400" dirty="0" err="1"/>
              <a:t>shorten</a:t>
            </a:r>
            <a:r>
              <a:rPr lang="de-CH" sz="1400" dirty="0"/>
              <a:t> time </a:t>
            </a:r>
            <a:r>
              <a:rPr lang="de-CH" sz="1400" dirty="0" err="1"/>
              <a:t>to</a:t>
            </a:r>
            <a:r>
              <a:rPr lang="de-CH" sz="1400" dirty="0"/>
              <a:t> </a:t>
            </a:r>
            <a:r>
              <a:rPr lang="de-CH" sz="1400" dirty="0" err="1"/>
              <a:t>market</a:t>
            </a:r>
            <a:r>
              <a:rPr lang="de-CH" sz="1400" dirty="0"/>
              <a:t>, </a:t>
            </a:r>
            <a:r>
              <a:rPr lang="de-CH" sz="1400" dirty="0" err="1"/>
              <a:t>we</a:t>
            </a:r>
            <a:r>
              <a:rPr lang="de-CH" sz="1400" dirty="0"/>
              <a:t> source </a:t>
            </a:r>
            <a:r>
              <a:rPr lang="de-CH" sz="1400" dirty="0" err="1"/>
              <a:t>the</a:t>
            </a:r>
            <a:r>
              <a:rPr lang="de-CH" sz="1400" dirty="0"/>
              <a:t> </a:t>
            </a:r>
            <a:r>
              <a:rPr lang="de-CH" sz="1400" dirty="0" err="1"/>
              <a:t>electronics</a:t>
            </a:r>
            <a:r>
              <a:rPr lang="de-CH" sz="1400" dirty="0"/>
              <a:t> </a:t>
            </a:r>
            <a:r>
              <a:rPr lang="de-CH" sz="1400" dirty="0" err="1"/>
              <a:t>externally</a:t>
            </a:r>
            <a:endParaRPr lang="de-CH" sz="14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/>
              <a:t>Assembly </a:t>
            </a:r>
            <a:r>
              <a:rPr lang="de-CH" sz="1400" dirty="0" err="1"/>
              <a:t>of</a:t>
            </a:r>
            <a:r>
              <a:rPr lang="de-CH" sz="1400" dirty="0"/>
              <a:t> </a:t>
            </a:r>
            <a:r>
              <a:rPr lang="de-CH" sz="1400" dirty="0" err="1"/>
              <a:t>housing</a:t>
            </a:r>
            <a:r>
              <a:rPr lang="de-CH" sz="1400" dirty="0"/>
              <a:t> and </a:t>
            </a:r>
            <a:r>
              <a:rPr lang="de-CH" sz="1400" dirty="0" err="1"/>
              <a:t>electronics</a:t>
            </a:r>
            <a:r>
              <a:rPr lang="de-CH" sz="1400" dirty="0"/>
              <a:t> </a:t>
            </a:r>
            <a:r>
              <a:rPr lang="de-CH" sz="1400" dirty="0" err="1"/>
              <a:t>is</a:t>
            </a:r>
            <a:r>
              <a:rPr lang="de-CH" sz="1400" dirty="0"/>
              <a:t> </a:t>
            </a:r>
            <a:r>
              <a:rPr lang="de-CH" sz="1400" dirty="0" err="1"/>
              <a:t>done</a:t>
            </a:r>
            <a:r>
              <a:rPr lang="de-CH" sz="1400" dirty="0"/>
              <a:t> in-house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/>
              <a:t>The </a:t>
            </a:r>
            <a:r>
              <a:rPr lang="de-CH" sz="1400" dirty="0" err="1"/>
              <a:t>propsed</a:t>
            </a:r>
            <a:r>
              <a:rPr lang="de-CH" sz="1400" dirty="0"/>
              <a:t> </a:t>
            </a:r>
            <a:r>
              <a:rPr lang="de-CH" sz="1400" dirty="0" err="1"/>
              <a:t>electronics</a:t>
            </a:r>
            <a:r>
              <a:rPr lang="de-CH" sz="1400" dirty="0"/>
              <a:t> feature 10W </a:t>
            </a:r>
            <a:r>
              <a:rPr lang="de-CH" sz="1400" dirty="0" err="1"/>
              <a:t>wireless</a:t>
            </a:r>
            <a:r>
              <a:rPr lang="de-CH" sz="1400" dirty="0"/>
              <a:t> </a:t>
            </a:r>
            <a:r>
              <a:rPr lang="de-CH" sz="1400" dirty="0" err="1"/>
              <a:t>output</a:t>
            </a:r>
            <a:r>
              <a:rPr lang="de-CH" sz="1400" dirty="0"/>
              <a:t>, </a:t>
            </a:r>
            <a:r>
              <a:rPr lang="de-CH" sz="1400" dirty="0" err="1"/>
              <a:t>compact</a:t>
            </a:r>
            <a:r>
              <a:rPr lang="de-CH" sz="1400" dirty="0"/>
              <a:t> </a:t>
            </a:r>
            <a:r>
              <a:rPr lang="de-CH" sz="1400" dirty="0" err="1"/>
              <a:t>size</a:t>
            </a:r>
            <a:r>
              <a:rPr lang="de-CH" sz="1400" dirty="0"/>
              <a:t> </a:t>
            </a:r>
            <a:r>
              <a:rPr lang="de-CH" sz="1400" dirty="0" err="1"/>
              <a:t>for</a:t>
            </a:r>
            <a:r>
              <a:rPr lang="de-CH" sz="1400" dirty="0"/>
              <a:t> a </a:t>
            </a:r>
            <a:r>
              <a:rPr lang="de-CH" sz="1400" dirty="0" err="1"/>
              <a:t>single</a:t>
            </a:r>
            <a:r>
              <a:rPr lang="de-CH" sz="1400" dirty="0"/>
              <a:t> </a:t>
            </a:r>
            <a:r>
              <a:rPr lang="de-CH" sz="1400" dirty="0" err="1"/>
              <a:t>charging</a:t>
            </a:r>
            <a:r>
              <a:rPr lang="de-CH" sz="1400" dirty="0"/>
              <a:t> </a:t>
            </a:r>
            <a:r>
              <a:rPr lang="de-CH" sz="1400" dirty="0" err="1"/>
              <a:t>pad</a:t>
            </a:r>
            <a:r>
              <a:rPr lang="de-CH" sz="1400" dirty="0"/>
              <a:t>, Qi </a:t>
            </a:r>
            <a:r>
              <a:rPr lang="de-CH" sz="1400" dirty="0" err="1"/>
              <a:t>certification</a:t>
            </a:r>
            <a:r>
              <a:rPr lang="de-CH" sz="1400" dirty="0"/>
              <a:t>, durable design, and an USB hub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EDF1CB8-D464-4438-82D2-C7472F83B11C}"/>
              </a:ext>
            </a:extLst>
          </p:cNvPr>
          <p:cNvGrpSpPr/>
          <p:nvPr/>
        </p:nvGrpSpPr>
        <p:grpSpPr>
          <a:xfrm>
            <a:off x="6618000" y="2054946"/>
            <a:ext cx="5471294" cy="2674375"/>
            <a:chOff x="984073" y="1266960"/>
            <a:chExt cx="10208698" cy="4990024"/>
          </a:xfrm>
        </p:grpSpPr>
        <p:pic>
          <p:nvPicPr>
            <p:cNvPr id="14" name="Inhaltsplatzhalter 7">
              <a:extLst>
                <a:ext uri="{FF2B5EF4-FFF2-40B4-BE49-F238E27FC236}">
                  <a16:creationId xmlns:a16="http://schemas.microsoft.com/office/drawing/2014/main" id="{3B28E394-7C11-4EB6-BB67-5D585ADDBB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0800000">
              <a:off x="2850004" y="2772140"/>
              <a:ext cx="6067923" cy="3413205"/>
            </a:xfrm>
            <a:prstGeom prst="rect">
              <a:avLst/>
            </a:prstGeom>
          </p:spPr>
        </p:pic>
        <p:sp>
          <p:nvSpPr>
            <p:cNvPr id="15" name="TextBox 13">
              <a:extLst>
                <a:ext uri="{FF2B5EF4-FFF2-40B4-BE49-F238E27FC236}">
                  <a16:creationId xmlns:a16="http://schemas.microsoft.com/office/drawing/2014/main" id="{51D28F19-421F-423A-BD84-42A67C244C54}"/>
                </a:ext>
              </a:extLst>
            </p:cNvPr>
            <p:cNvSpPr txBox="1"/>
            <p:nvPr/>
          </p:nvSpPr>
          <p:spPr>
            <a:xfrm>
              <a:off x="8595460" y="2862288"/>
              <a:ext cx="2597311" cy="6575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6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535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30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907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83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606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37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814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b="1" dirty="0">
                  <a:ea typeface="Roboto Medium" panose="02000000000000000000" pitchFamily="2" charset="0"/>
                </a:rPr>
                <a:t>USB-C </a:t>
              </a:r>
              <a:r>
                <a:rPr lang="de-CH" sz="800" b="1" dirty="0" err="1">
                  <a:ea typeface="Roboto Medium" panose="02000000000000000000" pitchFamily="2" charset="0"/>
                </a:rPr>
                <a:t>input</a:t>
              </a:r>
              <a:endParaRPr lang="de-CH" sz="800" b="1" dirty="0">
                <a:ea typeface="Roboto Medium" panose="02000000000000000000" pitchFamily="2" charset="0"/>
              </a:endParaRPr>
            </a:p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dirty="0">
                  <a:ea typeface="Roboto Medium" panose="02000000000000000000" pitchFamily="2" charset="0"/>
                </a:rPr>
                <a:t>DC 5V/2A, DC 9V/1.67A</a:t>
              </a:r>
            </a:p>
          </p:txBody>
        </p:sp>
        <p:cxnSp>
          <p:nvCxnSpPr>
            <p:cNvPr id="16" name="Straight Arrow Connector 24">
              <a:extLst>
                <a:ext uri="{FF2B5EF4-FFF2-40B4-BE49-F238E27FC236}">
                  <a16:creationId xmlns:a16="http://schemas.microsoft.com/office/drawing/2014/main" id="{3DFE94DA-37AE-459C-8D38-4D3F9EDCA31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76677" y="3171815"/>
              <a:ext cx="978135" cy="45782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51663E08-EA42-4963-BE91-E0355795D21A}"/>
                </a:ext>
              </a:extLst>
            </p:cNvPr>
            <p:cNvSpPr txBox="1"/>
            <p:nvPr/>
          </p:nvSpPr>
          <p:spPr>
            <a:xfrm>
              <a:off x="9010119" y="5173486"/>
              <a:ext cx="1947278" cy="6575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6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535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30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907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83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606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37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814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b="1" dirty="0">
                  <a:ea typeface="Roboto Medium" panose="02000000000000000000" pitchFamily="2" charset="0"/>
                </a:rPr>
                <a:t>Micro-USB </a:t>
              </a:r>
              <a:r>
                <a:rPr lang="de-CH" sz="800" b="1" dirty="0" err="1">
                  <a:ea typeface="Roboto Medium" panose="02000000000000000000" pitchFamily="2" charset="0"/>
                </a:rPr>
                <a:t>input</a:t>
              </a:r>
              <a:endParaRPr lang="de-CH" sz="800" b="1" dirty="0">
                <a:ea typeface="Roboto Medium" panose="02000000000000000000" pitchFamily="2" charset="0"/>
              </a:endParaRPr>
            </a:p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dirty="0">
                  <a:ea typeface="Roboto Medium" panose="02000000000000000000" pitchFamily="2" charset="0"/>
                </a:rPr>
                <a:t>DC 5V/2A, DC 9V/1.67A</a:t>
              </a:r>
            </a:p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endParaRPr lang="de-CH" sz="800" dirty="0">
                <a:ea typeface="Roboto Medium" panose="02000000000000000000" pitchFamily="2" charset="0"/>
              </a:endParaRPr>
            </a:p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endParaRPr lang="de-CH" sz="800" dirty="0">
                <a:ea typeface="Roboto Medium" panose="02000000000000000000" pitchFamily="2" charset="0"/>
              </a:endParaRPr>
            </a:p>
          </p:txBody>
        </p:sp>
        <p:cxnSp>
          <p:nvCxnSpPr>
            <p:cNvPr id="20" name="Straight Arrow Connector 24">
              <a:extLst>
                <a:ext uri="{FF2B5EF4-FFF2-40B4-BE49-F238E27FC236}">
                  <a16:creationId xmlns:a16="http://schemas.microsoft.com/office/drawing/2014/main" id="{57A7348D-CF58-481D-BC20-2A53A6A88DD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876677" y="4943768"/>
              <a:ext cx="978134" cy="40731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Arrow Connector 24">
              <a:extLst>
                <a:ext uri="{FF2B5EF4-FFF2-40B4-BE49-F238E27FC236}">
                  <a16:creationId xmlns:a16="http://schemas.microsoft.com/office/drawing/2014/main" id="{CD42703E-A237-4CDC-A29E-F8D28D40396D}"/>
                </a:ext>
              </a:extLst>
            </p:cNvPr>
            <p:cNvCxnSpPr>
              <a:cxnSpLocks/>
            </p:cNvCxnSpPr>
            <p:nvPr/>
          </p:nvCxnSpPr>
          <p:spPr>
            <a:xfrm>
              <a:off x="5343277" y="2697785"/>
              <a:ext cx="405516" cy="70805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9" name="TextBox 13">
              <a:extLst>
                <a:ext uri="{FF2B5EF4-FFF2-40B4-BE49-F238E27FC236}">
                  <a16:creationId xmlns:a16="http://schemas.microsoft.com/office/drawing/2014/main" id="{6FA36F69-1F97-4BBF-8403-67C8A73EBA3E}"/>
                </a:ext>
              </a:extLst>
            </p:cNvPr>
            <p:cNvSpPr txBox="1"/>
            <p:nvPr/>
          </p:nvSpPr>
          <p:spPr>
            <a:xfrm>
              <a:off x="3507438" y="1266960"/>
              <a:ext cx="3048902" cy="6575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6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535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30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907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83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606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37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814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b="1" dirty="0">
                  <a:ea typeface="Roboto Medium" panose="02000000000000000000" pitchFamily="2" charset="0"/>
                </a:rPr>
                <a:t>Wireless </a:t>
              </a:r>
              <a:r>
                <a:rPr lang="de-CH" sz="800" b="1" dirty="0" err="1">
                  <a:ea typeface="Roboto Medium" panose="02000000000000000000" pitchFamily="2" charset="0"/>
                </a:rPr>
                <a:t>output</a:t>
              </a:r>
              <a:endParaRPr lang="de-CH" sz="800" b="1" dirty="0">
                <a:ea typeface="Roboto Medium" panose="02000000000000000000" pitchFamily="2" charset="0"/>
              </a:endParaRPr>
            </a:p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dirty="0">
                  <a:ea typeface="Roboto Medium" panose="02000000000000000000" pitchFamily="2" charset="0"/>
                </a:rPr>
                <a:t>DC 5V/1A (5W), DC 9V/1.1A (10W)</a:t>
              </a:r>
              <a:br>
                <a:rPr lang="de-CH" sz="800" dirty="0">
                  <a:ea typeface="Roboto Medium" panose="02000000000000000000" pitchFamily="2" charset="0"/>
                </a:rPr>
              </a:br>
              <a:r>
                <a:rPr lang="de-CH" sz="800" dirty="0" err="1">
                  <a:ea typeface="Roboto Medium" panose="02000000000000000000" pitchFamily="2" charset="0"/>
                </a:rPr>
                <a:t>charging</a:t>
              </a:r>
              <a:r>
                <a:rPr lang="de-CH" sz="800" dirty="0">
                  <a:ea typeface="Roboto Medium" panose="02000000000000000000" pitchFamily="2" charset="0"/>
                </a:rPr>
                <a:t> </a:t>
              </a:r>
              <a:r>
                <a:rPr lang="de-CH" sz="800" dirty="0" err="1">
                  <a:ea typeface="Roboto Medium" panose="02000000000000000000" pitchFamily="2" charset="0"/>
                </a:rPr>
                <a:t>distance</a:t>
              </a:r>
              <a:r>
                <a:rPr lang="de-CH" sz="800" dirty="0">
                  <a:ea typeface="Roboto Medium" panose="02000000000000000000" pitchFamily="2" charset="0"/>
                </a:rPr>
                <a:t> ≤6mm</a:t>
              </a:r>
              <a:br>
                <a:rPr lang="de-CH" sz="800" dirty="0">
                  <a:ea typeface="Roboto Medium" panose="02000000000000000000" pitchFamily="2" charset="0"/>
                </a:rPr>
              </a:br>
              <a:r>
                <a:rPr lang="de-CH" sz="800" dirty="0" err="1">
                  <a:ea typeface="Roboto Medium" panose="02000000000000000000" pitchFamily="2" charset="0"/>
                </a:rPr>
                <a:t>works</a:t>
              </a:r>
              <a:r>
                <a:rPr lang="de-CH" sz="800" dirty="0">
                  <a:ea typeface="Roboto Medium" panose="02000000000000000000" pitchFamily="2" charset="0"/>
                </a:rPr>
                <a:t> </a:t>
              </a:r>
              <a:r>
                <a:rPr lang="de-CH" sz="800" dirty="0" err="1">
                  <a:ea typeface="Roboto Medium" panose="02000000000000000000" pitchFamily="2" charset="0"/>
                </a:rPr>
                <a:t>with</a:t>
              </a:r>
              <a:r>
                <a:rPr lang="de-CH" sz="800" dirty="0">
                  <a:ea typeface="Roboto Medium" panose="02000000000000000000" pitchFamily="2" charset="0"/>
                </a:rPr>
                <a:t> all Qi-</a:t>
              </a:r>
              <a:r>
                <a:rPr lang="de-CH" sz="800" dirty="0" err="1">
                  <a:ea typeface="Roboto Medium" panose="02000000000000000000" pitchFamily="2" charset="0"/>
                </a:rPr>
                <a:t>compatible</a:t>
              </a:r>
              <a:r>
                <a:rPr lang="de-CH" sz="800" dirty="0">
                  <a:ea typeface="Roboto Medium" panose="02000000000000000000" pitchFamily="2" charset="0"/>
                </a:rPr>
                <a:t> </a:t>
              </a:r>
              <a:r>
                <a:rPr lang="de-CH" sz="800" dirty="0" err="1">
                  <a:ea typeface="Roboto Medium" panose="02000000000000000000" pitchFamily="2" charset="0"/>
                </a:rPr>
                <a:t>devices</a:t>
              </a:r>
              <a:endParaRPr lang="de-CH" sz="800" dirty="0">
                <a:ea typeface="Roboto Medium" panose="02000000000000000000" pitchFamily="2" charset="0"/>
              </a:endParaRPr>
            </a:p>
          </p:txBody>
        </p:sp>
        <p:cxnSp>
          <p:nvCxnSpPr>
            <p:cNvPr id="30" name="Straight Arrow Connector 24">
              <a:extLst>
                <a:ext uri="{FF2B5EF4-FFF2-40B4-BE49-F238E27FC236}">
                  <a16:creationId xmlns:a16="http://schemas.microsoft.com/office/drawing/2014/main" id="{E2544A57-BF10-4829-8DEF-DFE40C697EE0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 flipV="1">
              <a:off x="2968091" y="3500587"/>
              <a:ext cx="884454" cy="39589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Arrow Connector 24">
              <a:extLst>
                <a:ext uri="{FF2B5EF4-FFF2-40B4-BE49-F238E27FC236}">
                  <a16:creationId xmlns:a16="http://schemas.microsoft.com/office/drawing/2014/main" id="{7FA9593F-9677-4C59-A13F-4DC31D788B15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>
              <a:off x="2968091" y="3896481"/>
              <a:ext cx="796989" cy="127700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2" name="TextBox 13">
              <a:extLst>
                <a:ext uri="{FF2B5EF4-FFF2-40B4-BE49-F238E27FC236}">
                  <a16:creationId xmlns:a16="http://schemas.microsoft.com/office/drawing/2014/main" id="{62CE0AAA-9C5F-460B-9A4E-0DB7CE56B7F4}"/>
                </a:ext>
              </a:extLst>
            </p:cNvPr>
            <p:cNvSpPr txBox="1"/>
            <p:nvPr/>
          </p:nvSpPr>
          <p:spPr>
            <a:xfrm>
              <a:off x="1136068" y="3567713"/>
              <a:ext cx="1832023" cy="6575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6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535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30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907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83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606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37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814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b="1" dirty="0">
                  <a:ea typeface="Roboto Medium" panose="02000000000000000000" pitchFamily="2" charset="0"/>
                </a:rPr>
                <a:t>2 USB-A </a:t>
              </a:r>
              <a:r>
                <a:rPr lang="de-CH" sz="800" b="1" dirty="0" err="1">
                  <a:ea typeface="Roboto Medium" panose="02000000000000000000" pitchFamily="2" charset="0"/>
                </a:rPr>
                <a:t>outputs</a:t>
              </a:r>
              <a:endParaRPr lang="de-CH" sz="800" b="1" dirty="0">
                <a:ea typeface="Roboto Medium" panose="02000000000000000000" pitchFamily="2" charset="0"/>
              </a:endParaRPr>
            </a:p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dirty="0">
                  <a:ea typeface="Roboto Medium" panose="02000000000000000000" pitchFamily="2" charset="0"/>
                </a:rPr>
                <a:t>DC 5V/1A</a:t>
              </a:r>
            </a:p>
          </p:txBody>
        </p:sp>
        <p:cxnSp>
          <p:nvCxnSpPr>
            <p:cNvPr id="33" name="Straight Arrow Connector 24">
              <a:extLst>
                <a:ext uri="{FF2B5EF4-FFF2-40B4-BE49-F238E27FC236}">
                  <a16:creationId xmlns:a16="http://schemas.microsoft.com/office/drawing/2014/main" id="{47C79DE9-5C3D-4532-B291-8E655689B093}"/>
                </a:ext>
              </a:extLst>
            </p:cNvPr>
            <p:cNvCxnSpPr>
              <a:cxnSpLocks/>
              <a:stCxn id="34" idx="0"/>
            </p:cNvCxnSpPr>
            <p:nvPr/>
          </p:nvCxnSpPr>
          <p:spPr>
            <a:xfrm flipV="1">
              <a:off x="2221637" y="4245969"/>
              <a:ext cx="1543443" cy="94384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4" name="TextBox 13">
              <a:extLst>
                <a:ext uri="{FF2B5EF4-FFF2-40B4-BE49-F238E27FC236}">
                  <a16:creationId xmlns:a16="http://schemas.microsoft.com/office/drawing/2014/main" id="{64E87A93-0CF5-458B-8E6F-8116F319E8A1}"/>
                </a:ext>
              </a:extLst>
            </p:cNvPr>
            <p:cNvSpPr txBox="1"/>
            <p:nvPr/>
          </p:nvSpPr>
          <p:spPr>
            <a:xfrm>
              <a:off x="984073" y="5189811"/>
              <a:ext cx="2475127" cy="6575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6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535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30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907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83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606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37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814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b="1" dirty="0">
                  <a:ea typeface="Roboto Medium" panose="02000000000000000000" pitchFamily="2" charset="0"/>
                </a:rPr>
                <a:t>LED</a:t>
              </a:r>
            </a:p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dirty="0" err="1">
                  <a:ea typeface="Roboto Medium" panose="02000000000000000000" pitchFamily="2" charset="0"/>
                </a:rPr>
                <a:t>Red</a:t>
              </a:r>
              <a:r>
                <a:rPr lang="de-CH" sz="800" dirty="0">
                  <a:ea typeface="Roboto Medium" panose="02000000000000000000" pitchFamily="2" charset="0"/>
                </a:rPr>
                <a:t> and </a:t>
              </a:r>
              <a:r>
                <a:rPr lang="de-CH" sz="800" dirty="0" err="1">
                  <a:ea typeface="Roboto Medium" panose="02000000000000000000" pitchFamily="2" charset="0"/>
                </a:rPr>
                <a:t>blue</a:t>
              </a:r>
              <a:r>
                <a:rPr lang="de-CH" sz="800" dirty="0">
                  <a:ea typeface="Roboto Medium" panose="02000000000000000000" pitchFamily="2" charset="0"/>
                </a:rPr>
                <a:t> LED </a:t>
              </a:r>
              <a:r>
                <a:rPr lang="de-CH" sz="800" dirty="0" err="1">
                  <a:ea typeface="Roboto Medium" panose="02000000000000000000" pitchFamily="2" charset="0"/>
                </a:rPr>
                <a:t>indicating</a:t>
              </a:r>
              <a:r>
                <a:rPr lang="de-CH" sz="800" dirty="0">
                  <a:ea typeface="Roboto Medium" panose="02000000000000000000" pitchFamily="2" charset="0"/>
                </a:rPr>
                <a:t> </a:t>
              </a:r>
              <a:r>
                <a:rPr lang="de-CH" sz="800" dirty="0" err="1">
                  <a:ea typeface="Roboto Medium" panose="02000000000000000000" pitchFamily="2" charset="0"/>
                </a:rPr>
                <a:t>the</a:t>
              </a:r>
              <a:r>
                <a:rPr lang="de-CH" sz="800" dirty="0">
                  <a:ea typeface="Roboto Medium" panose="02000000000000000000" pitchFamily="2" charset="0"/>
                </a:rPr>
                <a:t> </a:t>
              </a:r>
              <a:r>
                <a:rPr lang="de-CH" sz="800" dirty="0" err="1">
                  <a:ea typeface="Roboto Medium" panose="02000000000000000000" pitchFamily="2" charset="0"/>
                </a:rPr>
                <a:t>charging</a:t>
              </a:r>
              <a:r>
                <a:rPr lang="de-CH" sz="800" dirty="0">
                  <a:ea typeface="Roboto Medium" panose="02000000000000000000" pitchFamily="2" charset="0"/>
                </a:rPr>
                <a:t> </a:t>
              </a:r>
              <a:r>
                <a:rPr lang="de-CH" sz="800" dirty="0" err="1">
                  <a:ea typeface="Roboto Medium" panose="02000000000000000000" pitchFamily="2" charset="0"/>
                </a:rPr>
                <a:t>process</a:t>
              </a:r>
              <a:endParaRPr lang="de-CH" sz="800" dirty="0">
                <a:ea typeface="Roboto Medium" panose="02000000000000000000" pitchFamily="2" charset="0"/>
              </a:endParaRPr>
            </a:p>
          </p:txBody>
        </p:sp>
        <p:sp>
          <p:nvSpPr>
            <p:cNvPr id="35" name="TextBox 13">
              <a:extLst>
                <a:ext uri="{FF2B5EF4-FFF2-40B4-BE49-F238E27FC236}">
                  <a16:creationId xmlns:a16="http://schemas.microsoft.com/office/drawing/2014/main" id="{CC3849A5-F429-43D0-8E0B-269A9B915B4E}"/>
                </a:ext>
              </a:extLst>
            </p:cNvPr>
            <p:cNvSpPr txBox="1"/>
            <p:nvPr/>
          </p:nvSpPr>
          <p:spPr>
            <a:xfrm>
              <a:off x="6390587" y="5924321"/>
              <a:ext cx="2109357" cy="332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6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535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30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907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83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606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37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814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b="1" dirty="0">
                  <a:solidFill>
                    <a:schemeClr val="bg1"/>
                  </a:solidFill>
                  <a:ea typeface="Roboto Medium" panose="02000000000000000000" pitchFamily="2" charset="0"/>
                </a:rPr>
                <a:t>Model WPC488-10W</a:t>
              </a:r>
              <a:endParaRPr lang="de-CH" sz="800" dirty="0">
                <a:solidFill>
                  <a:schemeClr val="bg1"/>
                </a:solidFill>
                <a:ea typeface="Roboto Medium" panose="02000000000000000000" pitchFamily="2" charset="0"/>
              </a:endParaRP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E8458D35-A249-43DC-9A4F-5DDC74C969C4}"/>
              </a:ext>
            </a:extLst>
          </p:cNvPr>
          <p:cNvGrpSpPr/>
          <p:nvPr/>
        </p:nvGrpSpPr>
        <p:grpSpPr>
          <a:xfrm>
            <a:off x="806449" y="1930944"/>
            <a:ext cx="5334389" cy="2329094"/>
            <a:chOff x="265238" y="1296089"/>
            <a:chExt cx="11594975" cy="5062584"/>
          </a:xfrm>
        </p:grpSpPr>
        <p:pic>
          <p:nvPicPr>
            <p:cNvPr id="36" name="Picture 8">
              <a:extLst>
                <a:ext uri="{FF2B5EF4-FFF2-40B4-BE49-F238E27FC236}">
                  <a16:creationId xmlns:a16="http://schemas.microsoft.com/office/drawing/2014/main" id="{3F167B0E-71F1-480A-BD51-2D9B91699D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clrChange>
                <a:clrFrom>
                  <a:srgbClr val="232528"/>
                </a:clrFrom>
                <a:clrTo>
                  <a:srgbClr val="23252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88"/>
            <a:stretch/>
          </p:blipFill>
          <p:spPr>
            <a:xfrm>
              <a:off x="265238" y="2794857"/>
              <a:ext cx="5905375" cy="3381129"/>
            </a:xfrm>
            <a:prstGeom prst="rect">
              <a:avLst/>
            </a:prstGeom>
          </p:spPr>
        </p:pic>
        <p:pic>
          <p:nvPicPr>
            <p:cNvPr id="37" name="Picture 10">
              <a:extLst>
                <a:ext uri="{FF2B5EF4-FFF2-40B4-BE49-F238E27FC236}">
                  <a16:creationId xmlns:a16="http://schemas.microsoft.com/office/drawing/2014/main" id="{AA0CC99E-0C2F-48CC-94EF-58EFC8363A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clrChange>
                <a:clrFrom>
                  <a:srgbClr val="232528"/>
                </a:clrFrom>
                <a:clrTo>
                  <a:srgbClr val="23252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814" r="16047" b="5713"/>
            <a:stretch/>
          </p:blipFill>
          <p:spPr>
            <a:xfrm>
              <a:off x="5656083" y="1296089"/>
              <a:ext cx="4562573" cy="3209927"/>
            </a:xfrm>
            <a:prstGeom prst="rect">
              <a:avLst/>
            </a:prstGeom>
          </p:spPr>
        </p:pic>
        <p:pic>
          <p:nvPicPr>
            <p:cNvPr id="38" name="Picture 11">
              <a:extLst>
                <a:ext uri="{FF2B5EF4-FFF2-40B4-BE49-F238E27FC236}">
                  <a16:creationId xmlns:a16="http://schemas.microsoft.com/office/drawing/2014/main" id="{0DB317B7-4361-481C-9AEE-74550BE89F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clrChange>
                <a:clrFrom>
                  <a:srgbClr val="232528"/>
                </a:clrFrom>
                <a:clrTo>
                  <a:srgbClr val="23252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254"/>
            <a:stretch/>
          </p:blipFill>
          <p:spPr>
            <a:xfrm>
              <a:off x="9436231" y="4722540"/>
              <a:ext cx="2423982" cy="1636133"/>
            </a:xfrm>
            <a:prstGeom prst="rect">
              <a:avLst/>
            </a:prstGeom>
          </p:spPr>
        </p:pic>
        <p:sp>
          <p:nvSpPr>
            <p:cNvPr id="39" name="TextBox 12">
              <a:extLst>
                <a:ext uri="{FF2B5EF4-FFF2-40B4-BE49-F238E27FC236}">
                  <a16:creationId xmlns:a16="http://schemas.microsoft.com/office/drawing/2014/main" id="{A3174E38-289F-4629-A7EE-B73B1A5C0A8A}"/>
                </a:ext>
              </a:extLst>
            </p:cNvPr>
            <p:cNvSpPr txBox="1"/>
            <p:nvPr/>
          </p:nvSpPr>
          <p:spPr>
            <a:xfrm>
              <a:off x="699937" y="2125139"/>
              <a:ext cx="2271860" cy="6575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6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535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30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907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83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606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37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814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b="1" dirty="0">
                  <a:ea typeface="Roboto Medium" panose="02000000000000000000" pitchFamily="2" charset="0"/>
                </a:rPr>
                <a:t>Serial </a:t>
              </a:r>
              <a:r>
                <a:rPr lang="de-CH" sz="800" b="1" dirty="0" err="1">
                  <a:ea typeface="Roboto Medium" panose="02000000000000000000" pitchFamily="2" charset="0"/>
                </a:rPr>
                <a:t>number</a:t>
              </a:r>
              <a:r>
                <a:rPr lang="de-CH" sz="800" b="1" dirty="0">
                  <a:ea typeface="Roboto Medium" panose="02000000000000000000" pitchFamily="2" charset="0"/>
                </a:rPr>
                <a:t> </a:t>
              </a:r>
              <a:br>
                <a:rPr lang="de-CH" sz="800" b="1" dirty="0">
                  <a:ea typeface="Roboto Medium" panose="02000000000000000000" pitchFamily="2" charset="0"/>
                </a:rPr>
              </a:br>
              <a:r>
                <a:rPr lang="de-CH" sz="800" dirty="0">
                  <a:ea typeface="Roboto Medium" panose="02000000000000000000" pitchFamily="2" charset="0"/>
                </a:rPr>
                <a:t>(</a:t>
              </a:r>
              <a:r>
                <a:rPr lang="de-CH" sz="800" dirty="0" err="1">
                  <a:ea typeface="Roboto Medium" panose="02000000000000000000" pitchFamily="2" charset="0"/>
                </a:rPr>
                <a:t>DataMatrix</a:t>
              </a:r>
              <a:r>
                <a:rPr lang="de-CH" sz="800" dirty="0">
                  <a:ea typeface="Roboto Medium" panose="02000000000000000000" pitchFamily="2" charset="0"/>
                </a:rPr>
                <a:t>-Code)</a:t>
              </a:r>
            </a:p>
          </p:txBody>
        </p:sp>
        <p:sp>
          <p:nvSpPr>
            <p:cNvPr id="40" name="TextBox 13">
              <a:extLst>
                <a:ext uri="{FF2B5EF4-FFF2-40B4-BE49-F238E27FC236}">
                  <a16:creationId xmlns:a16="http://schemas.microsoft.com/office/drawing/2014/main" id="{DCDECCBE-ACB5-445A-AC42-977D36A7D891}"/>
                </a:ext>
              </a:extLst>
            </p:cNvPr>
            <p:cNvSpPr txBox="1"/>
            <p:nvPr/>
          </p:nvSpPr>
          <p:spPr>
            <a:xfrm>
              <a:off x="3534409" y="1633380"/>
              <a:ext cx="1947278" cy="6575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6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535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30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907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83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606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37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814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b="1" dirty="0" err="1">
                  <a:ea typeface="Roboto Medium" panose="02000000000000000000" pitchFamily="2" charset="0"/>
                </a:rPr>
                <a:t>Printed</a:t>
              </a:r>
              <a:r>
                <a:rPr lang="de-CH" sz="800" b="1" dirty="0">
                  <a:ea typeface="Roboto Medium" panose="02000000000000000000" pitchFamily="2" charset="0"/>
                </a:rPr>
                <a:t> </a:t>
              </a:r>
              <a:r>
                <a:rPr lang="de-CH" sz="800" b="1" dirty="0" err="1">
                  <a:ea typeface="Roboto Medium" panose="02000000000000000000" pitchFamily="2" charset="0"/>
                </a:rPr>
                <a:t>plastic</a:t>
              </a:r>
              <a:r>
                <a:rPr lang="de-CH" sz="800" b="1" dirty="0">
                  <a:ea typeface="Roboto Medium" panose="02000000000000000000" pitchFamily="2" charset="0"/>
                </a:rPr>
                <a:t> film </a:t>
              </a:r>
              <a:br>
                <a:rPr lang="de-CH" sz="800" dirty="0">
                  <a:ea typeface="Roboto Medium" panose="02000000000000000000" pitchFamily="2" charset="0"/>
                </a:rPr>
              </a:br>
              <a:r>
                <a:rPr lang="de-CH" sz="800" dirty="0">
                  <a:ea typeface="Roboto Medium" panose="02000000000000000000" pitchFamily="2" charset="0"/>
                </a:rPr>
                <a:t>(back </a:t>
              </a:r>
              <a:r>
                <a:rPr lang="de-CH" sz="800" dirty="0" err="1">
                  <a:ea typeface="Roboto Medium" panose="02000000000000000000" pitchFamily="2" charset="0"/>
                </a:rPr>
                <a:t>moulded</a:t>
              </a:r>
              <a:r>
                <a:rPr lang="de-CH" sz="800" dirty="0">
                  <a:ea typeface="Roboto Medium" panose="02000000000000000000" pitchFamily="2" charset="0"/>
                </a:rPr>
                <a:t>)</a:t>
              </a:r>
            </a:p>
          </p:txBody>
        </p:sp>
        <p:sp>
          <p:nvSpPr>
            <p:cNvPr id="41" name="TextBox 14">
              <a:extLst>
                <a:ext uri="{FF2B5EF4-FFF2-40B4-BE49-F238E27FC236}">
                  <a16:creationId xmlns:a16="http://schemas.microsoft.com/office/drawing/2014/main" id="{8CD24D94-DF8C-49DD-AEED-FF80A5BF4302}"/>
                </a:ext>
              </a:extLst>
            </p:cNvPr>
            <p:cNvSpPr txBox="1"/>
            <p:nvPr/>
          </p:nvSpPr>
          <p:spPr>
            <a:xfrm>
              <a:off x="7101469" y="4802962"/>
              <a:ext cx="1775284" cy="6575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6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535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30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907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83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606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37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814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en-US" sz="800" b="1" dirty="0">
                  <a:ea typeface="Roboto Medium" panose="02000000000000000000" pitchFamily="2" charset="0"/>
                </a:rPr>
                <a:t>Assembling using snap-in hooks</a:t>
              </a:r>
              <a:endParaRPr lang="de-CH" sz="800" b="1" dirty="0">
                <a:ea typeface="Roboto Medium" panose="02000000000000000000" pitchFamily="2" charset="0"/>
              </a:endParaRPr>
            </a:p>
          </p:txBody>
        </p:sp>
        <p:cxnSp>
          <p:nvCxnSpPr>
            <p:cNvPr id="42" name="Straight Arrow Connector 20">
              <a:extLst>
                <a:ext uri="{FF2B5EF4-FFF2-40B4-BE49-F238E27FC236}">
                  <a16:creationId xmlns:a16="http://schemas.microsoft.com/office/drawing/2014/main" id="{81E8D273-49B9-439F-AC95-674485B17DFD}"/>
                </a:ext>
              </a:extLst>
            </p:cNvPr>
            <p:cNvCxnSpPr/>
            <p:nvPr/>
          </p:nvCxnSpPr>
          <p:spPr>
            <a:xfrm>
              <a:off x="1800520" y="2639898"/>
              <a:ext cx="47134" cy="10540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3" name="Straight Arrow Connector 21">
              <a:extLst>
                <a:ext uri="{FF2B5EF4-FFF2-40B4-BE49-F238E27FC236}">
                  <a16:creationId xmlns:a16="http://schemas.microsoft.com/office/drawing/2014/main" id="{B8A6588C-AB0E-414E-8835-E94F90E8ABCE}"/>
                </a:ext>
              </a:extLst>
            </p:cNvPr>
            <p:cNvCxnSpPr>
              <a:cxnSpLocks/>
              <a:stCxn id="41" idx="3"/>
            </p:cNvCxnSpPr>
            <p:nvPr/>
          </p:nvCxnSpPr>
          <p:spPr>
            <a:xfrm>
              <a:off x="8876753" y="5131730"/>
              <a:ext cx="880276" cy="4203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4" name="Straight Arrow Connector 24">
              <a:extLst>
                <a:ext uri="{FF2B5EF4-FFF2-40B4-BE49-F238E27FC236}">
                  <a16:creationId xmlns:a16="http://schemas.microsoft.com/office/drawing/2014/main" id="{5BC43E6C-5645-4EA0-8F31-7692C93EA8F9}"/>
                </a:ext>
              </a:extLst>
            </p:cNvPr>
            <p:cNvCxnSpPr/>
            <p:nvPr/>
          </p:nvCxnSpPr>
          <p:spPr>
            <a:xfrm>
              <a:off x="5307291" y="1941613"/>
              <a:ext cx="778819" cy="55186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5" name="TextBox 30">
              <a:extLst>
                <a:ext uri="{FF2B5EF4-FFF2-40B4-BE49-F238E27FC236}">
                  <a16:creationId xmlns:a16="http://schemas.microsoft.com/office/drawing/2014/main" id="{55E8F391-6DE3-4A2A-91C7-A629CBEAA2E2}"/>
                </a:ext>
              </a:extLst>
            </p:cNvPr>
            <p:cNvSpPr txBox="1"/>
            <p:nvPr/>
          </p:nvSpPr>
          <p:spPr>
            <a:xfrm>
              <a:off x="10063942" y="1863084"/>
              <a:ext cx="1197514" cy="5059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6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535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30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907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83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606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37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814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de-CH" sz="800" b="1" dirty="0">
                  <a:ea typeface="Roboto Medium" panose="02000000000000000000" pitchFamily="2" charset="0"/>
                </a:rPr>
                <a:t>Integrated</a:t>
              </a:r>
              <a:br>
                <a:rPr lang="de-CH" sz="800" b="1" dirty="0">
                  <a:ea typeface="Roboto Medium" panose="02000000000000000000" pitchFamily="2" charset="0"/>
                </a:rPr>
              </a:br>
              <a:r>
                <a:rPr lang="de-CH" sz="800" b="1" dirty="0">
                  <a:ea typeface="Roboto Medium" panose="02000000000000000000" pitchFamily="2" charset="0"/>
                </a:rPr>
                <a:t>NFC-chip</a:t>
              </a:r>
            </a:p>
          </p:txBody>
        </p:sp>
        <p:cxnSp>
          <p:nvCxnSpPr>
            <p:cNvPr id="46" name="Straight Arrow Connector 31">
              <a:extLst>
                <a:ext uri="{FF2B5EF4-FFF2-40B4-BE49-F238E27FC236}">
                  <a16:creationId xmlns:a16="http://schemas.microsoft.com/office/drawing/2014/main" id="{1F9729CE-7A0A-4A16-8FA9-CED8F884350B}"/>
                </a:ext>
              </a:extLst>
            </p:cNvPr>
            <p:cNvCxnSpPr>
              <a:cxnSpLocks/>
              <a:stCxn id="45" idx="1"/>
            </p:cNvCxnSpPr>
            <p:nvPr/>
          </p:nvCxnSpPr>
          <p:spPr>
            <a:xfrm flipH="1">
              <a:off x="9573370" y="2116068"/>
              <a:ext cx="490572" cy="67878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7" name="TextBox 37">
              <a:extLst>
                <a:ext uri="{FF2B5EF4-FFF2-40B4-BE49-F238E27FC236}">
                  <a16:creationId xmlns:a16="http://schemas.microsoft.com/office/drawing/2014/main" id="{2914DC03-6C2B-40EF-8D62-52E5B8770D9D}"/>
                </a:ext>
              </a:extLst>
            </p:cNvPr>
            <p:cNvSpPr txBox="1"/>
            <p:nvPr/>
          </p:nvSpPr>
          <p:spPr>
            <a:xfrm>
              <a:off x="5236458" y="5530632"/>
              <a:ext cx="2185809" cy="6575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6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535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30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907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83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606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37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814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en-US" sz="800" b="1" dirty="0">
                  <a:ea typeface="Roboto Medium" panose="02000000000000000000" pitchFamily="2" charset="0"/>
                </a:rPr>
                <a:t>Connection by </a:t>
              </a:r>
              <a:br>
                <a:rPr lang="en-US" sz="800" b="1" dirty="0">
                  <a:ea typeface="Roboto Medium" panose="02000000000000000000" pitchFamily="2" charset="0"/>
                </a:rPr>
              </a:br>
              <a:r>
                <a:rPr lang="en-US" sz="800" b="1" dirty="0">
                  <a:ea typeface="Roboto Medium" panose="02000000000000000000" pitchFamily="2" charset="0"/>
                </a:rPr>
                <a:t>USB-C or Micro-USB</a:t>
              </a:r>
              <a:endParaRPr lang="de-CH" sz="800" b="1" dirty="0">
                <a:ea typeface="Roboto Medium" panose="02000000000000000000" pitchFamily="2" charset="0"/>
              </a:endParaRPr>
            </a:p>
          </p:txBody>
        </p:sp>
        <p:cxnSp>
          <p:nvCxnSpPr>
            <p:cNvPr id="48" name="Straight Arrow Connector 39">
              <a:extLst>
                <a:ext uri="{FF2B5EF4-FFF2-40B4-BE49-F238E27FC236}">
                  <a16:creationId xmlns:a16="http://schemas.microsoft.com/office/drawing/2014/main" id="{E2271B1E-E4DA-4CC5-8A15-B324899AC2E9}"/>
                </a:ext>
              </a:extLst>
            </p:cNvPr>
            <p:cNvCxnSpPr/>
            <p:nvPr/>
          </p:nvCxnSpPr>
          <p:spPr>
            <a:xfrm flipH="1" flipV="1">
              <a:off x="4570786" y="5119548"/>
              <a:ext cx="887334" cy="43254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9" name="Straight Arrow Connector 20">
              <a:extLst>
                <a:ext uri="{FF2B5EF4-FFF2-40B4-BE49-F238E27FC236}">
                  <a16:creationId xmlns:a16="http://schemas.microsoft.com/office/drawing/2014/main" id="{B6DD09FC-711B-4934-9A04-2DF831353C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82936" y="2938277"/>
              <a:ext cx="631590" cy="5551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0" name="TextBox 37">
              <a:extLst>
                <a:ext uri="{FF2B5EF4-FFF2-40B4-BE49-F238E27FC236}">
                  <a16:creationId xmlns:a16="http://schemas.microsoft.com/office/drawing/2014/main" id="{B9031D9C-CCA8-41EA-B614-80A1D6A14486}"/>
                </a:ext>
              </a:extLst>
            </p:cNvPr>
            <p:cNvSpPr txBox="1"/>
            <p:nvPr/>
          </p:nvSpPr>
          <p:spPr>
            <a:xfrm>
              <a:off x="3172223" y="2476655"/>
              <a:ext cx="2185809" cy="6575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6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535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30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907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838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606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373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8141" algn="l" defTabSz="609768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600"/>
                </a:spcAft>
                <a:buClr>
                  <a:schemeClr val="tx2"/>
                </a:buClr>
              </a:pPr>
              <a:r>
                <a:rPr lang="en-US" sz="800" b="1" dirty="0">
                  <a:ea typeface="Roboto Medium" panose="02000000000000000000" pitchFamily="2" charset="0"/>
                </a:rPr>
                <a:t>Housing possible in</a:t>
              </a:r>
              <a:br>
                <a:rPr lang="de-CH" sz="800" b="1" dirty="0">
                  <a:ea typeface="Roboto Medium" panose="02000000000000000000" pitchFamily="2" charset="0"/>
                </a:rPr>
              </a:br>
              <a:r>
                <a:rPr lang="de-CH" sz="800" b="1" dirty="0">
                  <a:ea typeface="Roboto Medium" panose="02000000000000000000" pitchFamily="2" charset="0"/>
                </a:rPr>
                <a:t>different </a:t>
              </a:r>
              <a:r>
                <a:rPr lang="de-CH" sz="800" b="1" dirty="0" err="1">
                  <a:ea typeface="Roboto Medium" panose="02000000000000000000" pitchFamily="2" charset="0"/>
                </a:rPr>
                <a:t>colors</a:t>
              </a:r>
              <a:endParaRPr lang="en-US" sz="800" b="1" dirty="0">
                <a:ea typeface="Roboto Medium" panose="020000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239765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6D55896-BC28-4AEF-BCB6-53E215EEC8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645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6D55896-BC28-4AEF-BCB6-53E215EEC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9CA801-327F-4052-B457-71B5ECCE0B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stim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material </a:t>
            </a:r>
            <a:r>
              <a:rPr lang="de-CH" dirty="0" err="1"/>
              <a:t>cost</a:t>
            </a:r>
            <a:r>
              <a:rPr lang="de-CH" dirty="0"/>
              <a:t> </a:t>
            </a:r>
            <a:r>
              <a:rPr lang="de-CH" dirty="0" err="1"/>
              <a:t>around</a:t>
            </a:r>
            <a:r>
              <a:rPr lang="de-CH" dirty="0"/>
              <a:t> 8CHF/</a:t>
            </a:r>
            <a:r>
              <a:rPr lang="de-CH" dirty="0" err="1"/>
              <a:t>pc</a:t>
            </a:r>
            <a:r>
              <a:rPr lang="de-CH" dirty="0"/>
              <a:t> </a:t>
            </a:r>
            <a:br>
              <a:rPr lang="de-CH" dirty="0"/>
            </a:br>
            <a:r>
              <a:rPr lang="de-CH" dirty="0"/>
              <a:t>plus 50kCHF </a:t>
            </a:r>
            <a:r>
              <a:rPr lang="de-CH" dirty="0" err="1"/>
              <a:t>fixed</a:t>
            </a:r>
            <a:r>
              <a:rPr lang="de-CH" dirty="0"/>
              <a:t> </a:t>
            </a:r>
            <a:r>
              <a:rPr lang="de-CH" dirty="0" err="1"/>
              <a:t>cost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3F2F4D8-367F-416E-BF7D-333952DA95C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ice</a:t>
            </a:r>
            <a:r>
              <a:rPr lang="de-CH" dirty="0"/>
              <a:t>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1ADADFE-9045-4552-BCA1-52D558216D7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ase Study OST-Gadget Sample Solution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4DB3865-2A08-4408-8AC5-BFB9C76431D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42</a:t>
            </a:fld>
            <a:endParaRPr lang="en-US" noProof="0"/>
          </a:p>
        </p:txBody>
      </p:sp>
      <p:graphicFrame>
        <p:nvGraphicFramePr>
          <p:cNvPr id="17" name="Inhaltsplatzhalter 8">
            <a:extLst>
              <a:ext uri="{FF2B5EF4-FFF2-40B4-BE49-F238E27FC236}">
                <a16:creationId xmlns:a16="http://schemas.microsoft.com/office/drawing/2014/main" id="{16A3806A-1EF0-4B10-BFB7-EB0514278D91}"/>
              </a:ext>
            </a:extLst>
          </p:cNvPr>
          <p:cNvGraphicFramePr>
            <a:graphicFrameLocks noGrp="1"/>
          </p:cNvGraphicFramePr>
          <p:nvPr>
            <p:ph sz="quarter" idx="21"/>
          </p:nvPr>
        </p:nvGraphicFramePr>
        <p:xfrm>
          <a:off x="806449" y="2235245"/>
          <a:ext cx="5180883" cy="37920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8" name="Inhaltsplatzhalter 7">
            <a:extLst>
              <a:ext uri="{FF2B5EF4-FFF2-40B4-BE49-F238E27FC236}">
                <a16:creationId xmlns:a16="http://schemas.microsoft.com/office/drawing/2014/main" id="{718C82D6-50C1-4CC7-8469-BEA9CE4F69BC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>
            <a:off x="3166466" y="4219180"/>
            <a:ext cx="1242077" cy="698668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E5435B89-C09F-4532-80F2-B12AD9512D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0823" y="3033477"/>
            <a:ext cx="633361" cy="576282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27107C1-2939-46AA-864B-D4A49F0C1196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56800" y="3655870"/>
            <a:ext cx="3599105" cy="1531534"/>
          </a:xfrm>
          <a:prstGeom prst="rect">
            <a:avLst/>
          </a:prstGeom>
        </p:spPr>
      </p:pic>
      <p:sp>
        <p:nvSpPr>
          <p:cNvPr id="27" name="TextBox 13">
            <a:extLst>
              <a:ext uri="{FF2B5EF4-FFF2-40B4-BE49-F238E27FC236}">
                <a16:creationId xmlns:a16="http://schemas.microsoft.com/office/drawing/2014/main" id="{15A54DB0-B42C-431C-BA8A-CF5D49CEA4B6}"/>
              </a:ext>
            </a:extLst>
          </p:cNvPr>
          <p:cNvSpPr txBox="1"/>
          <p:nvPr/>
        </p:nvSpPr>
        <p:spPr>
          <a:xfrm>
            <a:off x="7575421" y="3025710"/>
            <a:ext cx="3599105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dirty="0">
                <a:ea typeface="Roboto Medium" panose="02000000000000000000" pitchFamily="2" charset="0"/>
              </a:rPr>
              <a:t>The </a:t>
            </a:r>
            <a:r>
              <a:rPr lang="de-CH" sz="1400" dirty="0" err="1">
                <a:ea typeface="Roboto Medium" panose="02000000000000000000" pitchFamily="2" charset="0"/>
              </a:rPr>
              <a:t>cost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for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he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injection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moulding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tools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is</a:t>
            </a:r>
            <a:r>
              <a:rPr lang="de-CH" sz="1400" dirty="0">
                <a:ea typeface="Roboto Medium" panose="02000000000000000000" pitchFamily="2" charset="0"/>
              </a:rPr>
              <a:t> 50’000 CHF</a:t>
            </a:r>
          </a:p>
        </p:txBody>
      </p:sp>
      <p:sp>
        <p:nvSpPr>
          <p:cNvPr id="28" name="TextBox 13">
            <a:extLst>
              <a:ext uri="{FF2B5EF4-FFF2-40B4-BE49-F238E27FC236}">
                <a16:creationId xmlns:a16="http://schemas.microsoft.com/office/drawing/2014/main" id="{418FAF86-AA7A-4766-8CC2-B97158658D61}"/>
              </a:ext>
            </a:extLst>
          </p:cNvPr>
          <p:cNvSpPr txBox="1"/>
          <p:nvPr/>
        </p:nvSpPr>
        <p:spPr>
          <a:xfrm>
            <a:off x="759558" y="1766520"/>
            <a:ext cx="5180883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800" b="1" dirty="0">
                <a:ea typeface="Roboto Medium" panose="02000000000000000000" pitchFamily="2" charset="0"/>
              </a:rPr>
              <a:t>The variable </a:t>
            </a:r>
            <a:r>
              <a:rPr lang="de-CH" sz="1800" b="1" dirty="0" err="1">
                <a:ea typeface="Roboto Medium" panose="02000000000000000000" pitchFamily="2" charset="0"/>
              </a:rPr>
              <a:t>cost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for</a:t>
            </a:r>
            <a:r>
              <a:rPr lang="de-CH" sz="1800" b="1" dirty="0">
                <a:ea typeface="Roboto Medium" panose="02000000000000000000" pitchFamily="2" charset="0"/>
              </a:rPr>
              <a:t> material </a:t>
            </a:r>
            <a:r>
              <a:rPr lang="de-CH" sz="1800" b="1" dirty="0" err="1">
                <a:ea typeface="Roboto Medium" panose="02000000000000000000" pitchFamily="2" charset="0"/>
              </a:rPr>
              <a:t>is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currently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around</a:t>
            </a:r>
            <a:r>
              <a:rPr lang="de-CH" sz="1800" b="1" dirty="0">
                <a:ea typeface="Roboto Medium" panose="02000000000000000000" pitchFamily="2" charset="0"/>
              </a:rPr>
              <a:t> 8CHF/</a:t>
            </a:r>
            <a:r>
              <a:rPr lang="de-CH" sz="1800" b="1" dirty="0" err="1">
                <a:ea typeface="Roboto Medium" panose="02000000000000000000" pitchFamily="2" charset="0"/>
              </a:rPr>
              <a:t>pc</a:t>
            </a:r>
            <a:endParaRPr lang="de-CH" sz="1800" b="1" dirty="0">
              <a:ea typeface="Roboto Medium" panose="02000000000000000000" pitchFamily="2" charset="0"/>
            </a:endParaRPr>
          </a:p>
        </p:txBody>
      </p:sp>
      <p:sp>
        <p:nvSpPr>
          <p:cNvPr id="29" name="TextBox 13">
            <a:extLst>
              <a:ext uri="{FF2B5EF4-FFF2-40B4-BE49-F238E27FC236}">
                <a16:creationId xmlns:a16="http://schemas.microsoft.com/office/drawing/2014/main" id="{6111AF4F-7352-49DF-A0A5-313CB90974D7}"/>
              </a:ext>
            </a:extLst>
          </p:cNvPr>
          <p:cNvSpPr txBox="1"/>
          <p:nvPr/>
        </p:nvSpPr>
        <p:spPr>
          <a:xfrm>
            <a:off x="6632440" y="1778828"/>
            <a:ext cx="5180883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800" b="1" dirty="0">
                <a:ea typeface="Roboto Medium" panose="02000000000000000000" pitchFamily="2" charset="0"/>
              </a:rPr>
              <a:t>The </a:t>
            </a:r>
            <a:r>
              <a:rPr lang="de-CH" sz="1800" b="1" dirty="0" err="1">
                <a:ea typeface="Roboto Medium" panose="02000000000000000000" pitchFamily="2" charset="0"/>
              </a:rPr>
              <a:t>fixed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cost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for</a:t>
            </a:r>
            <a:r>
              <a:rPr lang="de-CH" sz="1800" b="1" dirty="0">
                <a:ea typeface="Roboto Medium" panose="02000000000000000000" pitchFamily="2" charset="0"/>
              </a:rPr>
              <a:t> material </a:t>
            </a:r>
            <a:r>
              <a:rPr lang="de-CH" sz="1800" b="1" dirty="0" err="1">
                <a:ea typeface="Roboto Medium" panose="02000000000000000000" pitchFamily="2" charset="0"/>
              </a:rPr>
              <a:t>is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currently</a:t>
            </a:r>
            <a:r>
              <a:rPr lang="de-CH" sz="1800" b="1" dirty="0"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ea typeface="Roboto Medium" panose="02000000000000000000" pitchFamily="2" charset="0"/>
              </a:rPr>
              <a:t>around</a:t>
            </a:r>
            <a:r>
              <a:rPr lang="de-CH" sz="1800" b="1" dirty="0">
                <a:ea typeface="Roboto Medium" panose="02000000000000000000" pitchFamily="2" charset="0"/>
              </a:rPr>
              <a:t> 50’000 CHF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2E69C2-EBE4-4CA7-8CBD-4844EB519E49}"/>
              </a:ext>
            </a:extLst>
          </p:cNvPr>
          <p:cNvSpPr txBox="1"/>
          <p:nvPr/>
        </p:nvSpPr>
        <p:spPr>
          <a:xfrm>
            <a:off x="7660444" y="5452888"/>
            <a:ext cx="3599105" cy="657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400" dirty="0" err="1">
                <a:ea typeface="Roboto Medium" panose="02000000000000000000" pitchFamily="2" charset="0"/>
              </a:rPr>
              <a:t>Assume</a:t>
            </a:r>
            <a:r>
              <a:rPr lang="de-CH" sz="1400" dirty="0">
                <a:ea typeface="Roboto Medium" panose="02000000000000000000" pitchFamily="2" charset="0"/>
              </a:rPr>
              <a:t> a </a:t>
            </a:r>
            <a:r>
              <a:rPr lang="de-CH" sz="1400" dirty="0" err="1">
                <a:ea typeface="Roboto Medium" panose="02000000000000000000" pitchFamily="2" charset="0"/>
              </a:rPr>
              <a:t>depreciation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period</a:t>
            </a:r>
            <a:r>
              <a:rPr lang="de-CH" sz="1400" dirty="0">
                <a:ea typeface="Roboto Medium" panose="02000000000000000000" pitchFamily="2" charset="0"/>
              </a:rPr>
              <a:t> </a:t>
            </a:r>
            <a:r>
              <a:rPr lang="de-CH" sz="1400" dirty="0" err="1">
                <a:ea typeface="Roboto Medium" panose="02000000000000000000" pitchFamily="2" charset="0"/>
              </a:rPr>
              <a:t>of</a:t>
            </a:r>
            <a:r>
              <a:rPr lang="de-CH" sz="1400" dirty="0">
                <a:ea typeface="Roboto Medium" panose="02000000000000000000" pitchFamily="2" charset="0"/>
              </a:rPr>
              <a:t> 7 </a:t>
            </a:r>
            <a:r>
              <a:rPr lang="de-CH" sz="1400" dirty="0" err="1">
                <a:ea typeface="Roboto Medium" panose="02000000000000000000" pitchFamily="2" charset="0"/>
              </a:rPr>
              <a:t>years</a:t>
            </a:r>
            <a:endParaRPr lang="de-CH" sz="14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77410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7619F4C-4BEA-471F-B7B0-623407C2C2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1322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7619F4C-4BEA-471F-B7B0-623407C2C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462B137-96CD-4ED8-B154-102E7317C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26F251B-1F8E-4607-AA18-64208C38D01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43</a:t>
            </a:fld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D57165-C4F4-4311-87C9-C4AD5C0FBF8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ice</a:t>
            </a:r>
            <a:r>
              <a:rPr lang="de-CH" dirty="0"/>
              <a:t>?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636D16C-7382-4A28-BE63-5DBBEE2B7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stimate</a:t>
            </a:r>
            <a:r>
              <a:rPr lang="de-CH" dirty="0"/>
              <a:t> a 25 CHF </a:t>
            </a:r>
            <a:r>
              <a:rPr lang="de-CH" dirty="0" err="1"/>
              <a:t>price</a:t>
            </a:r>
            <a:r>
              <a:rPr lang="de-CH" dirty="0"/>
              <a:t>;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uld</a:t>
            </a:r>
            <a:r>
              <a:rPr lang="de-CH" dirty="0"/>
              <a:t> still </a:t>
            </a:r>
            <a:r>
              <a:rPr lang="de-CH" dirty="0" err="1"/>
              <a:t>sell</a:t>
            </a:r>
            <a:r>
              <a:rPr lang="de-CH" dirty="0"/>
              <a:t> at </a:t>
            </a:r>
            <a:r>
              <a:rPr lang="de-CH" dirty="0" err="1"/>
              <a:t>market’s</a:t>
            </a:r>
            <a:r>
              <a:rPr lang="de-CH" dirty="0"/>
              <a:t> </a:t>
            </a:r>
            <a:r>
              <a:rPr lang="de-CH" dirty="0" err="1"/>
              <a:t>average</a:t>
            </a:r>
            <a:r>
              <a:rPr lang="de-CH" dirty="0"/>
              <a:t> 40 CHF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quantiti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-50% </a:t>
            </a:r>
            <a:r>
              <a:rPr lang="de-CH" dirty="0" err="1"/>
              <a:t>lower</a:t>
            </a:r>
            <a:r>
              <a:rPr lang="de-CH" dirty="0"/>
              <a:t> </a:t>
            </a:r>
            <a:r>
              <a:rPr lang="de-CH" dirty="0" err="1"/>
              <a:t>than</a:t>
            </a:r>
            <a:r>
              <a:rPr lang="de-CH" dirty="0"/>
              <a:t> </a:t>
            </a:r>
            <a:r>
              <a:rPr lang="de-CH" dirty="0" err="1"/>
              <a:t>expected</a:t>
            </a:r>
            <a:endParaRPr lang="de-CH" dirty="0"/>
          </a:p>
        </p:txBody>
      </p:sp>
      <p:sp>
        <p:nvSpPr>
          <p:cNvPr id="10" name="Inhaltsplatzhalter 15">
            <a:extLst>
              <a:ext uri="{FF2B5EF4-FFF2-40B4-BE49-F238E27FC236}">
                <a16:creationId xmlns:a16="http://schemas.microsoft.com/office/drawing/2014/main" id="{BD4114A6-A0C2-42D5-AD33-5BE300994FCB}"/>
              </a:ext>
            </a:extLst>
          </p:cNvPr>
          <p:cNvSpPr txBox="1">
            <a:spLocks/>
          </p:cNvSpPr>
          <p:nvPr/>
        </p:nvSpPr>
        <p:spPr>
          <a:xfrm>
            <a:off x="808451" y="2190139"/>
            <a:ext cx="5499646" cy="4128694"/>
          </a:xfrm>
          <a:prstGeom prst="rect">
            <a:avLst/>
          </a:prstGeom>
        </p:spPr>
        <p:txBody>
          <a:bodyPr>
            <a:normAutofit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600" dirty="0" err="1"/>
              <a:t>We</a:t>
            </a:r>
            <a:r>
              <a:rPr lang="de-CH" sz="1600" dirty="0"/>
              <a:t> </a:t>
            </a:r>
            <a:r>
              <a:rPr lang="de-CH" sz="1600" dirty="0" err="1"/>
              <a:t>expect</a:t>
            </a:r>
            <a:r>
              <a:rPr lang="de-CH" sz="1600" dirty="0"/>
              <a:t> </a:t>
            </a:r>
            <a:r>
              <a:rPr lang="de-CH" sz="1600" b="1" dirty="0"/>
              <a:t>300 </a:t>
            </a:r>
            <a:r>
              <a:rPr lang="de-CH" sz="1600" b="1" dirty="0" err="1"/>
              <a:t>chargers</a:t>
            </a:r>
            <a:r>
              <a:rPr lang="de-CH" sz="1600" b="1" dirty="0"/>
              <a:t> per </a:t>
            </a:r>
            <a:r>
              <a:rPr lang="de-CH" sz="1600" b="1" dirty="0" err="1"/>
              <a:t>year</a:t>
            </a:r>
            <a:r>
              <a:rPr lang="de-CH" sz="1600" b="1" dirty="0"/>
              <a:t> </a:t>
            </a:r>
            <a:r>
              <a:rPr lang="de-CH" sz="1600" dirty="0" err="1"/>
              <a:t>for</a:t>
            </a:r>
            <a:r>
              <a:rPr lang="de-CH" sz="1600" dirty="0"/>
              <a:t> </a:t>
            </a:r>
            <a:r>
              <a:rPr lang="de-CH" sz="1600" dirty="0" err="1"/>
              <a:t>merchandise</a:t>
            </a:r>
            <a:r>
              <a:rPr lang="de-CH" sz="1600" dirty="0"/>
              <a:t> </a:t>
            </a:r>
            <a:br>
              <a:rPr lang="de-CH" sz="1600" dirty="0"/>
            </a:br>
            <a:r>
              <a:rPr lang="de-CH" sz="1600" dirty="0"/>
              <a:t>(</a:t>
            </a:r>
            <a:r>
              <a:rPr lang="de-CH" sz="1600" dirty="0">
                <a:sym typeface="Wingdings" panose="05000000000000000000" pitchFamily="2" charset="2"/>
              </a:rPr>
              <a:t> </a:t>
            </a:r>
            <a:r>
              <a:rPr lang="de-CH" sz="1600" dirty="0" err="1">
                <a:sym typeface="Wingdings" panose="05000000000000000000" pitchFamily="2" charset="2"/>
              </a:rPr>
              <a:t>s</a:t>
            </a:r>
            <a:r>
              <a:rPr lang="de-CH" sz="1600" dirty="0" err="1"/>
              <a:t>lide</a:t>
            </a:r>
            <a:r>
              <a:rPr lang="de-CH" sz="1600" dirty="0"/>
              <a:t> 33)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600" dirty="0" err="1">
                <a:ea typeface="Roboto Medium" panose="02000000000000000000" pitchFamily="2" charset="0"/>
              </a:rPr>
              <a:t>W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expect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b="1" dirty="0">
                <a:ea typeface="Roboto Medium" panose="02000000000000000000" pitchFamily="2" charset="0"/>
              </a:rPr>
              <a:t>200 </a:t>
            </a:r>
            <a:r>
              <a:rPr lang="de-CH" sz="1600" b="1" dirty="0" err="1">
                <a:ea typeface="Roboto Medium" panose="02000000000000000000" pitchFamily="2" charset="0"/>
              </a:rPr>
              <a:t>chargers</a:t>
            </a:r>
            <a:r>
              <a:rPr lang="de-CH" sz="1600" b="1" dirty="0">
                <a:ea typeface="Roboto Medium" panose="02000000000000000000" pitchFamily="2" charset="0"/>
              </a:rPr>
              <a:t> per </a:t>
            </a:r>
            <a:r>
              <a:rPr lang="de-CH" sz="1600" b="1" dirty="0" err="1">
                <a:ea typeface="Roboto Medium" panose="02000000000000000000" pitchFamily="2" charset="0"/>
              </a:rPr>
              <a:t>year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for</a:t>
            </a:r>
            <a:r>
              <a:rPr lang="de-CH" sz="1600" dirty="0">
                <a:ea typeface="Roboto Medium" panose="02000000000000000000" pitchFamily="2" charset="0"/>
              </a:rPr>
              <a:t> OST </a:t>
            </a:r>
            <a:r>
              <a:rPr lang="de-CH" sz="1600" dirty="0" err="1">
                <a:ea typeface="Roboto Medium" panose="02000000000000000000" pitchFamily="2" charset="0"/>
              </a:rPr>
              <a:t>students</a:t>
            </a:r>
            <a:r>
              <a:rPr lang="de-CH" sz="1600" dirty="0">
                <a:ea typeface="Roboto Medium" panose="02000000000000000000" pitchFamily="2" charset="0"/>
              </a:rPr>
              <a:t> and </a:t>
            </a:r>
            <a:r>
              <a:rPr lang="de-CH" sz="1600" dirty="0" err="1">
                <a:ea typeface="Roboto Medium" panose="02000000000000000000" pitchFamily="2" charset="0"/>
              </a:rPr>
              <a:t>staff</a:t>
            </a:r>
            <a:r>
              <a:rPr lang="de-CH" sz="1600" dirty="0">
                <a:ea typeface="Roboto Medium" panose="02000000000000000000" pitchFamily="2" charset="0"/>
              </a:rPr>
              <a:t> (</a:t>
            </a:r>
            <a:r>
              <a:rPr lang="de-CH" sz="1600" dirty="0">
                <a:ea typeface="Roboto Medium" panose="02000000000000000000" pitchFamily="2" charset="0"/>
                <a:sym typeface="Wingdings" panose="05000000000000000000" pitchFamily="2" charset="2"/>
              </a:rPr>
              <a:t>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slide</a:t>
            </a:r>
            <a:r>
              <a:rPr lang="de-CH" sz="1600" dirty="0">
                <a:ea typeface="Roboto Medium" panose="02000000000000000000" pitchFamily="2" charset="0"/>
              </a:rPr>
              <a:t> 32)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600" dirty="0" err="1">
                <a:ea typeface="Roboto Medium" panose="02000000000000000000" pitchFamily="2" charset="0"/>
              </a:rPr>
              <a:t>W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assum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depriciation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of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th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tooling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over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b="1" dirty="0">
                <a:ea typeface="Roboto Medium" panose="02000000000000000000" pitchFamily="2" charset="0"/>
              </a:rPr>
              <a:t>7 </a:t>
            </a:r>
            <a:r>
              <a:rPr lang="de-CH" sz="1600" b="1" dirty="0" err="1">
                <a:ea typeface="Roboto Medium" panose="02000000000000000000" pitchFamily="2" charset="0"/>
              </a:rPr>
              <a:t>years</a:t>
            </a:r>
            <a:endParaRPr lang="de-CH" sz="1600" b="1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600" dirty="0" err="1">
                <a:ea typeface="Roboto Medium" panose="02000000000000000000" pitchFamily="2" charset="0"/>
              </a:rPr>
              <a:t>W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only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consider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materials</a:t>
            </a:r>
            <a:r>
              <a:rPr lang="de-CH" sz="1600" b="1" dirty="0">
                <a:ea typeface="Roboto Medium" panose="02000000000000000000" pitchFamily="2" charset="0"/>
              </a:rPr>
              <a:t> </a:t>
            </a:r>
            <a:r>
              <a:rPr lang="de-CH" sz="1600" b="1" dirty="0" err="1">
                <a:ea typeface="Roboto Medium" panose="02000000000000000000" pitchFamily="2" charset="0"/>
              </a:rPr>
              <a:t>cost</a:t>
            </a:r>
            <a:r>
              <a:rPr lang="de-CH" sz="1600" dirty="0">
                <a:ea typeface="Roboto Medium" panose="02000000000000000000" pitchFamily="2" charset="0"/>
              </a:rPr>
              <a:t>, </a:t>
            </a:r>
            <a:r>
              <a:rPr lang="de-CH" sz="1600" dirty="0" err="1">
                <a:ea typeface="Roboto Medium" panose="02000000000000000000" pitchFamily="2" charset="0"/>
              </a:rPr>
              <a:t>labor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covered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by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running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the</a:t>
            </a:r>
            <a:r>
              <a:rPr lang="de-CH" sz="1600" dirty="0">
                <a:ea typeface="Roboto Medium" panose="02000000000000000000" pitchFamily="2" charset="0"/>
              </a:rPr>
              <a:t> smart </a:t>
            </a:r>
            <a:r>
              <a:rPr lang="de-CH" sz="1600" dirty="0" err="1">
                <a:ea typeface="Roboto Medium" panose="02000000000000000000" pitchFamily="2" charset="0"/>
              </a:rPr>
              <a:t>factory</a:t>
            </a:r>
            <a:r>
              <a:rPr lang="de-CH" sz="1600" dirty="0">
                <a:ea typeface="Roboto Medium" panose="02000000000000000000" pitchFamily="2" charset="0"/>
              </a:rPr>
              <a:t>, </a:t>
            </a:r>
            <a:r>
              <a:rPr lang="de-CH" sz="1600" dirty="0" err="1">
                <a:ea typeface="Roboto Medium" panose="02000000000000000000" pitchFamily="2" charset="0"/>
              </a:rPr>
              <a:t>no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cost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for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distribution</a:t>
            </a:r>
            <a:endParaRPr lang="de-CH" sz="1600" dirty="0">
              <a:ea typeface="Roboto Medium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600" dirty="0" err="1">
                <a:ea typeface="Roboto Medium" panose="02000000000000000000" pitchFamily="2" charset="0"/>
              </a:rPr>
              <a:t>W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consider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b="1" dirty="0">
                <a:ea typeface="Roboto Medium" panose="02000000000000000000" pitchFamily="2" charset="0"/>
              </a:rPr>
              <a:t>Swiss VAT 7.7%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CH" sz="1600" dirty="0" err="1">
                <a:ea typeface="Roboto Medium" panose="02000000000000000000" pitchFamily="2" charset="0"/>
              </a:rPr>
              <a:t>For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th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us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as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merchandise</a:t>
            </a:r>
            <a:r>
              <a:rPr lang="de-CH" sz="1600" dirty="0">
                <a:ea typeface="Roboto Medium" panose="02000000000000000000" pitchFamily="2" charset="0"/>
              </a:rPr>
              <a:t> and </a:t>
            </a:r>
            <a:r>
              <a:rPr lang="de-CH" sz="1600" dirty="0" err="1">
                <a:ea typeface="Roboto Medium" panose="02000000000000000000" pitchFamily="2" charset="0"/>
              </a:rPr>
              <a:t>sales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to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students</a:t>
            </a:r>
            <a:r>
              <a:rPr lang="de-CH" sz="1600" dirty="0">
                <a:ea typeface="Roboto Medium" panose="02000000000000000000" pitchFamily="2" charset="0"/>
              </a:rPr>
              <a:t> and </a:t>
            </a:r>
            <a:r>
              <a:rPr lang="de-CH" sz="1600" dirty="0" err="1">
                <a:ea typeface="Roboto Medium" panose="02000000000000000000" pitchFamily="2" charset="0"/>
              </a:rPr>
              <a:t>staff</a:t>
            </a:r>
            <a:r>
              <a:rPr lang="de-CH" sz="1600" dirty="0">
                <a:ea typeface="Roboto Medium" panose="02000000000000000000" pitchFamily="2" charset="0"/>
              </a:rPr>
              <a:t>, </a:t>
            </a:r>
            <a:r>
              <a:rPr lang="de-CH" sz="1600" dirty="0" err="1">
                <a:ea typeface="Roboto Medium" panose="02000000000000000000" pitchFamily="2" charset="0"/>
              </a:rPr>
              <a:t>we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want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to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dirty="0" err="1">
                <a:ea typeface="Roboto Medium" panose="02000000000000000000" pitchFamily="2" charset="0"/>
              </a:rPr>
              <a:t>sell</a:t>
            </a:r>
            <a:r>
              <a:rPr lang="de-CH" sz="1600" dirty="0">
                <a:ea typeface="Roboto Medium" panose="02000000000000000000" pitchFamily="2" charset="0"/>
              </a:rPr>
              <a:t> </a:t>
            </a:r>
            <a:r>
              <a:rPr lang="de-CH" sz="1600" b="1" dirty="0">
                <a:ea typeface="Roboto Medium" panose="02000000000000000000" pitchFamily="2" charset="0"/>
              </a:rPr>
              <a:t>non-profit</a:t>
            </a:r>
            <a:r>
              <a:rPr lang="de-CH" sz="1600" dirty="0">
                <a:ea typeface="Roboto Medium" panose="02000000000000000000" pitchFamily="2" charset="0"/>
              </a:rPr>
              <a:t>  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B5583010-FF07-420F-A5BC-C30D5ECFF2C6}"/>
              </a:ext>
            </a:extLst>
          </p:cNvPr>
          <p:cNvSpPr txBox="1">
            <a:spLocks/>
          </p:cNvSpPr>
          <p:nvPr/>
        </p:nvSpPr>
        <p:spPr>
          <a:xfrm>
            <a:off x="808451" y="1682688"/>
            <a:ext cx="5364576" cy="358775"/>
          </a:xfrm>
          <a:prstGeom prst="rect">
            <a:avLst/>
          </a:prstGeom>
        </p:spPr>
        <p:txBody>
          <a:bodyPr/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b="1" dirty="0" err="1"/>
              <a:t>Assumptions</a:t>
            </a:r>
            <a:endParaRPr lang="de-CH" b="1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8C40125-F2E0-4CA0-8AB6-D2F5164B99F1}"/>
              </a:ext>
            </a:extLst>
          </p:cNvPr>
          <p:cNvSpPr txBox="1"/>
          <p:nvPr/>
        </p:nvSpPr>
        <p:spPr>
          <a:xfrm>
            <a:off x="6821110" y="1682688"/>
            <a:ext cx="433827" cy="914400"/>
          </a:xfrm>
          <a:prstGeom prst="rect">
            <a:avLst/>
          </a:prstGeom>
          <a:noFill/>
        </p:spPr>
        <p:txBody>
          <a:bodyPr vert="vert270" wrap="none" lIns="108000" tIns="36000" rIns="108000" bIns="108000" rtlCol="0">
            <a:norm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de-CH" sz="1400" dirty="0">
                <a:ea typeface="Roboto Medium" panose="02000000000000000000" pitchFamily="2" charset="0"/>
              </a:rPr>
              <a:t>Per </a:t>
            </a:r>
            <a:r>
              <a:rPr lang="de-CH" sz="1400" dirty="0" err="1">
                <a:ea typeface="Roboto Medium" panose="02000000000000000000" pitchFamily="2" charset="0"/>
              </a:rPr>
              <a:t>unit</a:t>
            </a:r>
            <a:endParaRPr lang="de-CH" sz="1400" dirty="0">
              <a:ea typeface="Roboto Medium" panose="02000000000000000000" pitchFamily="2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02EA0F1-B5E0-42DC-93AE-73B04E0000F8}"/>
              </a:ext>
            </a:extLst>
          </p:cNvPr>
          <p:cNvSpPr txBox="1"/>
          <p:nvPr/>
        </p:nvSpPr>
        <p:spPr>
          <a:xfrm rot="5400000">
            <a:off x="9971575" y="3993292"/>
            <a:ext cx="433827" cy="914400"/>
          </a:xfrm>
          <a:prstGeom prst="rect">
            <a:avLst/>
          </a:prstGeom>
          <a:noFill/>
        </p:spPr>
        <p:txBody>
          <a:bodyPr vert="vert270" wrap="none" lIns="108000" tIns="36000" rIns="108000" bIns="108000" rtlCol="0">
            <a:norm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de-CH" sz="1400" dirty="0">
                <a:ea typeface="Roboto Medium" panose="02000000000000000000" pitchFamily="2" charset="0"/>
              </a:rPr>
              <a:t>Units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9298BCE-083C-401C-9040-BE8B2F1B7665}"/>
              </a:ext>
            </a:extLst>
          </p:cNvPr>
          <p:cNvSpPr/>
          <p:nvPr/>
        </p:nvSpPr>
        <p:spPr>
          <a:xfrm>
            <a:off x="7267694" y="4061234"/>
            <a:ext cx="2790880" cy="171445"/>
          </a:xfrm>
          <a:prstGeom prst="rect">
            <a:avLst/>
          </a:prstGeom>
          <a:solidFill>
            <a:schemeClr val="accent2"/>
          </a:solidFill>
          <a:ln w="285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400" dirty="0">
                <a:solidFill>
                  <a:schemeClr val="bg1"/>
                </a:solidFill>
              </a:rPr>
              <a:t>Variable </a:t>
            </a:r>
            <a:r>
              <a:rPr lang="de-CH" sz="1400" dirty="0" err="1">
                <a:solidFill>
                  <a:schemeClr val="bg1"/>
                </a:solidFill>
              </a:rPr>
              <a:t>cost</a:t>
            </a:r>
            <a:endParaRPr lang="de-CH" sz="1400" dirty="0">
              <a:solidFill>
                <a:schemeClr val="bg1"/>
              </a:solidFill>
            </a:endParaRPr>
          </a:p>
        </p:txBody>
      </p:sp>
      <p:sp>
        <p:nvSpPr>
          <p:cNvPr id="15" name="Gleichschenkliges Dreieck 29">
            <a:extLst>
              <a:ext uri="{FF2B5EF4-FFF2-40B4-BE49-F238E27FC236}">
                <a16:creationId xmlns:a16="http://schemas.microsoft.com/office/drawing/2014/main" id="{B56A1B48-93BF-46A2-8C65-4C23B744E51D}"/>
              </a:ext>
            </a:extLst>
          </p:cNvPr>
          <p:cNvSpPr/>
          <p:nvPr/>
        </p:nvSpPr>
        <p:spPr>
          <a:xfrm flipH="1">
            <a:off x="7267694" y="2397760"/>
            <a:ext cx="2790880" cy="1650260"/>
          </a:xfrm>
          <a:custGeom>
            <a:avLst/>
            <a:gdLst>
              <a:gd name="connsiteX0" fmla="*/ 0 w 2790880"/>
              <a:gd name="connsiteY0" fmla="*/ 1843707 h 1843707"/>
              <a:gd name="connsiteX1" fmla="*/ 2790880 w 2790880"/>
              <a:gd name="connsiteY1" fmla="*/ 0 h 1843707"/>
              <a:gd name="connsiteX2" fmla="*/ 2790880 w 2790880"/>
              <a:gd name="connsiteY2" fmla="*/ 1843707 h 1843707"/>
              <a:gd name="connsiteX3" fmla="*/ 0 w 2790880"/>
              <a:gd name="connsiteY3" fmla="*/ 1843707 h 1843707"/>
              <a:gd name="connsiteX0" fmla="*/ 0 w 2790880"/>
              <a:gd name="connsiteY0" fmla="*/ 1843707 h 1843707"/>
              <a:gd name="connsiteX1" fmla="*/ 342900 w 2790880"/>
              <a:gd name="connsiteY1" fmla="*/ 1589088 h 1843707"/>
              <a:gd name="connsiteX2" fmla="*/ 2790880 w 2790880"/>
              <a:gd name="connsiteY2" fmla="*/ 0 h 1843707"/>
              <a:gd name="connsiteX3" fmla="*/ 2790880 w 2790880"/>
              <a:gd name="connsiteY3" fmla="*/ 1843707 h 1843707"/>
              <a:gd name="connsiteX4" fmla="*/ 0 w 2790880"/>
              <a:gd name="connsiteY4" fmla="*/ 1843707 h 1843707"/>
              <a:gd name="connsiteX0" fmla="*/ 0 w 2790880"/>
              <a:gd name="connsiteY0" fmla="*/ 1843707 h 1843707"/>
              <a:gd name="connsiteX1" fmla="*/ 9525 w 2790880"/>
              <a:gd name="connsiteY1" fmla="*/ 1674813 h 1843707"/>
              <a:gd name="connsiteX2" fmla="*/ 2790880 w 2790880"/>
              <a:gd name="connsiteY2" fmla="*/ 0 h 1843707"/>
              <a:gd name="connsiteX3" fmla="*/ 2790880 w 2790880"/>
              <a:gd name="connsiteY3" fmla="*/ 1843707 h 1843707"/>
              <a:gd name="connsiteX4" fmla="*/ 0 w 2790880"/>
              <a:gd name="connsiteY4" fmla="*/ 1843707 h 1843707"/>
              <a:gd name="connsiteX0" fmla="*/ 9525 w 2800405"/>
              <a:gd name="connsiteY0" fmla="*/ 1843707 h 1843707"/>
              <a:gd name="connsiteX1" fmla="*/ 0 w 2800405"/>
              <a:gd name="connsiteY1" fmla="*/ 1665288 h 1843707"/>
              <a:gd name="connsiteX2" fmla="*/ 2800405 w 2800405"/>
              <a:gd name="connsiteY2" fmla="*/ 0 h 1843707"/>
              <a:gd name="connsiteX3" fmla="*/ 2800405 w 2800405"/>
              <a:gd name="connsiteY3" fmla="*/ 1843707 h 1843707"/>
              <a:gd name="connsiteX4" fmla="*/ 9525 w 2800405"/>
              <a:gd name="connsiteY4" fmla="*/ 1843707 h 1843707"/>
              <a:gd name="connsiteX0" fmla="*/ 9525 w 2800405"/>
              <a:gd name="connsiteY0" fmla="*/ 1843707 h 1843707"/>
              <a:gd name="connsiteX1" fmla="*/ 0 w 2800405"/>
              <a:gd name="connsiteY1" fmla="*/ 1665288 h 1843707"/>
              <a:gd name="connsiteX2" fmla="*/ 2800405 w 2800405"/>
              <a:gd name="connsiteY2" fmla="*/ 0 h 1843707"/>
              <a:gd name="connsiteX3" fmla="*/ 2800405 w 2800405"/>
              <a:gd name="connsiteY3" fmla="*/ 1843707 h 1843707"/>
              <a:gd name="connsiteX4" fmla="*/ 9525 w 2800405"/>
              <a:gd name="connsiteY4" fmla="*/ 1843707 h 1843707"/>
              <a:gd name="connsiteX0" fmla="*/ 9525 w 2800405"/>
              <a:gd name="connsiteY0" fmla="*/ 1843707 h 1843707"/>
              <a:gd name="connsiteX1" fmla="*/ 0 w 2800405"/>
              <a:gd name="connsiteY1" fmla="*/ 1665288 h 1843707"/>
              <a:gd name="connsiteX2" fmla="*/ 2800405 w 2800405"/>
              <a:gd name="connsiteY2" fmla="*/ 0 h 1843707"/>
              <a:gd name="connsiteX3" fmla="*/ 2800405 w 2800405"/>
              <a:gd name="connsiteY3" fmla="*/ 1843707 h 1843707"/>
              <a:gd name="connsiteX4" fmla="*/ 9525 w 2800405"/>
              <a:gd name="connsiteY4" fmla="*/ 1843707 h 1843707"/>
              <a:gd name="connsiteX0" fmla="*/ 9525 w 2800405"/>
              <a:gd name="connsiteY0" fmla="*/ 1843707 h 1843707"/>
              <a:gd name="connsiteX1" fmla="*/ 0 w 2800405"/>
              <a:gd name="connsiteY1" fmla="*/ 1665288 h 1843707"/>
              <a:gd name="connsiteX2" fmla="*/ 2800405 w 2800405"/>
              <a:gd name="connsiteY2" fmla="*/ 0 h 1843707"/>
              <a:gd name="connsiteX3" fmla="*/ 2800405 w 2800405"/>
              <a:gd name="connsiteY3" fmla="*/ 1843707 h 1843707"/>
              <a:gd name="connsiteX4" fmla="*/ 9525 w 2800405"/>
              <a:gd name="connsiteY4" fmla="*/ 1843707 h 1843707"/>
              <a:gd name="connsiteX0" fmla="*/ 9525 w 2800405"/>
              <a:gd name="connsiteY0" fmla="*/ 1843707 h 1843707"/>
              <a:gd name="connsiteX1" fmla="*/ 0 w 2800405"/>
              <a:gd name="connsiteY1" fmla="*/ 1665288 h 1843707"/>
              <a:gd name="connsiteX2" fmla="*/ 2800405 w 2800405"/>
              <a:gd name="connsiteY2" fmla="*/ 0 h 1843707"/>
              <a:gd name="connsiteX3" fmla="*/ 2800405 w 2800405"/>
              <a:gd name="connsiteY3" fmla="*/ 1843707 h 1843707"/>
              <a:gd name="connsiteX4" fmla="*/ 9525 w 2800405"/>
              <a:gd name="connsiteY4" fmla="*/ 1843707 h 1843707"/>
              <a:gd name="connsiteX0" fmla="*/ 9525 w 2800405"/>
              <a:gd name="connsiteY0" fmla="*/ 1843707 h 1843707"/>
              <a:gd name="connsiteX1" fmla="*/ 0 w 2800405"/>
              <a:gd name="connsiteY1" fmla="*/ 1665288 h 1843707"/>
              <a:gd name="connsiteX2" fmla="*/ 2800405 w 2800405"/>
              <a:gd name="connsiteY2" fmla="*/ 0 h 1843707"/>
              <a:gd name="connsiteX3" fmla="*/ 2800405 w 2800405"/>
              <a:gd name="connsiteY3" fmla="*/ 1843707 h 1843707"/>
              <a:gd name="connsiteX4" fmla="*/ 9525 w 2800405"/>
              <a:gd name="connsiteY4" fmla="*/ 1843707 h 1843707"/>
              <a:gd name="connsiteX0" fmla="*/ 9525 w 2800405"/>
              <a:gd name="connsiteY0" fmla="*/ 1843707 h 1843707"/>
              <a:gd name="connsiteX1" fmla="*/ 0 w 2800405"/>
              <a:gd name="connsiteY1" fmla="*/ 1665288 h 1843707"/>
              <a:gd name="connsiteX2" fmla="*/ 2800405 w 2800405"/>
              <a:gd name="connsiteY2" fmla="*/ 0 h 1843707"/>
              <a:gd name="connsiteX3" fmla="*/ 2800405 w 2800405"/>
              <a:gd name="connsiteY3" fmla="*/ 1843707 h 1843707"/>
              <a:gd name="connsiteX4" fmla="*/ 9525 w 2800405"/>
              <a:gd name="connsiteY4" fmla="*/ 1843707 h 1843707"/>
              <a:gd name="connsiteX0" fmla="*/ 9525 w 2800405"/>
              <a:gd name="connsiteY0" fmla="*/ 1843707 h 1843707"/>
              <a:gd name="connsiteX1" fmla="*/ 0 w 2800405"/>
              <a:gd name="connsiteY1" fmla="*/ 1665288 h 1843707"/>
              <a:gd name="connsiteX2" fmla="*/ 2800405 w 2800405"/>
              <a:gd name="connsiteY2" fmla="*/ 0 h 1843707"/>
              <a:gd name="connsiteX3" fmla="*/ 2800405 w 2800405"/>
              <a:gd name="connsiteY3" fmla="*/ 1843707 h 1843707"/>
              <a:gd name="connsiteX4" fmla="*/ 9525 w 2800405"/>
              <a:gd name="connsiteY4" fmla="*/ 1843707 h 1843707"/>
              <a:gd name="connsiteX0" fmla="*/ 9525 w 2800405"/>
              <a:gd name="connsiteY0" fmla="*/ 1843707 h 1843707"/>
              <a:gd name="connsiteX1" fmla="*/ 0 w 2800405"/>
              <a:gd name="connsiteY1" fmla="*/ 1665288 h 1843707"/>
              <a:gd name="connsiteX2" fmla="*/ 2800405 w 2800405"/>
              <a:gd name="connsiteY2" fmla="*/ 0 h 1843707"/>
              <a:gd name="connsiteX3" fmla="*/ 2800405 w 2800405"/>
              <a:gd name="connsiteY3" fmla="*/ 1843707 h 1843707"/>
              <a:gd name="connsiteX4" fmla="*/ 9525 w 2800405"/>
              <a:gd name="connsiteY4" fmla="*/ 1843707 h 1843707"/>
              <a:gd name="connsiteX0" fmla="*/ 9525 w 2800405"/>
              <a:gd name="connsiteY0" fmla="*/ 1843707 h 1843707"/>
              <a:gd name="connsiteX1" fmla="*/ 0 w 2800405"/>
              <a:gd name="connsiteY1" fmla="*/ 1665288 h 1843707"/>
              <a:gd name="connsiteX2" fmla="*/ 2800405 w 2800405"/>
              <a:gd name="connsiteY2" fmla="*/ 0 h 1843707"/>
              <a:gd name="connsiteX3" fmla="*/ 2800405 w 2800405"/>
              <a:gd name="connsiteY3" fmla="*/ 1843707 h 1843707"/>
              <a:gd name="connsiteX4" fmla="*/ 9525 w 2800405"/>
              <a:gd name="connsiteY4" fmla="*/ 1843707 h 1843707"/>
              <a:gd name="connsiteX0" fmla="*/ 9525 w 2800405"/>
              <a:gd name="connsiteY0" fmla="*/ 1843707 h 1843707"/>
              <a:gd name="connsiteX1" fmla="*/ 0 w 2800405"/>
              <a:gd name="connsiteY1" fmla="*/ 1665288 h 1843707"/>
              <a:gd name="connsiteX2" fmla="*/ 2800405 w 2800405"/>
              <a:gd name="connsiteY2" fmla="*/ 0 h 1843707"/>
              <a:gd name="connsiteX3" fmla="*/ 2800405 w 2800405"/>
              <a:gd name="connsiteY3" fmla="*/ 1843707 h 1843707"/>
              <a:gd name="connsiteX4" fmla="*/ 9525 w 2800405"/>
              <a:gd name="connsiteY4" fmla="*/ 1843707 h 1843707"/>
              <a:gd name="connsiteX0" fmla="*/ 0 w 2790880"/>
              <a:gd name="connsiteY0" fmla="*/ 1843707 h 1843707"/>
              <a:gd name="connsiteX1" fmla="*/ 3264 w 2790880"/>
              <a:gd name="connsiteY1" fmla="*/ 1658893 h 1843707"/>
              <a:gd name="connsiteX2" fmla="*/ 2790880 w 2790880"/>
              <a:gd name="connsiteY2" fmla="*/ 0 h 1843707"/>
              <a:gd name="connsiteX3" fmla="*/ 2790880 w 2790880"/>
              <a:gd name="connsiteY3" fmla="*/ 1843707 h 1843707"/>
              <a:gd name="connsiteX4" fmla="*/ 0 w 2790880"/>
              <a:gd name="connsiteY4" fmla="*/ 1843707 h 1843707"/>
              <a:gd name="connsiteX0" fmla="*/ 0 w 2790880"/>
              <a:gd name="connsiteY0" fmla="*/ 1843707 h 1843707"/>
              <a:gd name="connsiteX1" fmla="*/ 3264 w 2790880"/>
              <a:gd name="connsiteY1" fmla="*/ 1658893 h 1843707"/>
              <a:gd name="connsiteX2" fmla="*/ 2790880 w 2790880"/>
              <a:gd name="connsiteY2" fmla="*/ 0 h 1843707"/>
              <a:gd name="connsiteX3" fmla="*/ 2790880 w 2790880"/>
              <a:gd name="connsiteY3" fmla="*/ 1843707 h 1843707"/>
              <a:gd name="connsiteX4" fmla="*/ 0 w 2790880"/>
              <a:gd name="connsiteY4" fmla="*/ 1843707 h 1843707"/>
              <a:gd name="connsiteX0" fmla="*/ 0 w 2790880"/>
              <a:gd name="connsiteY0" fmla="*/ 1843707 h 1843707"/>
              <a:gd name="connsiteX1" fmla="*/ 3264 w 2790880"/>
              <a:gd name="connsiteY1" fmla="*/ 1658893 h 1843707"/>
              <a:gd name="connsiteX2" fmla="*/ 2790880 w 2790880"/>
              <a:gd name="connsiteY2" fmla="*/ 0 h 1843707"/>
              <a:gd name="connsiteX3" fmla="*/ 2790880 w 2790880"/>
              <a:gd name="connsiteY3" fmla="*/ 1843707 h 1843707"/>
              <a:gd name="connsiteX4" fmla="*/ 0 w 2790880"/>
              <a:gd name="connsiteY4" fmla="*/ 1843707 h 1843707"/>
              <a:gd name="connsiteX0" fmla="*/ 0 w 2790880"/>
              <a:gd name="connsiteY0" fmla="*/ 1843707 h 1843707"/>
              <a:gd name="connsiteX1" fmla="*/ 3264 w 2790880"/>
              <a:gd name="connsiteY1" fmla="*/ 1633315 h 1843707"/>
              <a:gd name="connsiteX2" fmla="*/ 2790880 w 2790880"/>
              <a:gd name="connsiteY2" fmla="*/ 0 h 1843707"/>
              <a:gd name="connsiteX3" fmla="*/ 2790880 w 2790880"/>
              <a:gd name="connsiteY3" fmla="*/ 1843707 h 1843707"/>
              <a:gd name="connsiteX4" fmla="*/ 0 w 2790880"/>
              <a:gd name="connsiteY4" fmla="*/ 1843707 h 1843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90880" h="1843707">
                <a:moveTo>
                  <a:pt x="0" y="1843707"/>
                </a:moveTo>
                <a:lnTo>
                  <a:pt x="3264" y="1633315"/>
                </a:lnTo>
                <a:cubicBezTo>
                  <a:pt x="2171385" y="1449494"/>
                  <a:pt x="2492390" y="1027416"/>
                  <a:pt x="2790880" y="0"/>
                </a:cubicBezTo>
                <a:lnTo>
                  <a:pt x="2790880" y="1843707"/>
                </a:lnTo>
                <a:lnTo>
                  <a:pt x="0" y="1843707"/>
                </a:lnTo>
                <a:close/>
              </a:path>
            </a:pathLst>
          </a:cu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l"/>
            <a:r>
              <a:rPr lang="de-CH" sz="1400" dirty="0">
                <a:solidFill>
                  <a:schemeClr val="bg1"/>
                </a:solidFill>
              </a:rPr>
              <a:t>Fixed </a:t>
            </a:r>
            <a:r>
              <a:rPr lang="de-CH" sz="1400" dirty="0" err="1">
                <a:solidFill>
                  <a:schemeClr val="bg1"/>
                </a:solidFill>
              </a:rPr>
              <a:t>cost</a:t>
            </a:r>
            <a:endParaRPr lang="de-CH" sz="1400" dirty="0">
              <a:solidFill>
                <a:schemeClr val="bg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EE55A63-DBA2-451C-9BF2-0BB2BAF2BA0D}"/>
              </a:ext>
            </a:extLst>
          </p:cNvPr>
          <p:cNvSpPr txBox="1"/>
          <p:nvPr/>
        </p:nvSpPr>
        <p:spPr>
          <a:xfrm rot="5400000">
            <a:off x="8931413" y="2734276"/>
            <a:ext cx="433827" cy="914400"/>
          </a:xfrm>
          <a:prstGeom prst="rect">
            <a:avLst/>
          </a:prstGeom>
          <a:noFill/>
        </p:spPr>
        <p:txBody>
          <a:bodyPr vert="vert270" wrap="none" lIns="108000" tIns="36000" rIns="108000" bIns="108000" rtlCol="0">
            <a:norm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de-CH" sz="1400" dirty="0">
                <a:solidFill>
                  <a:schemeClr val="tx2"/>
                </a:solidFill>
                <a:ea typeface="Roboto Medium" panose="02000000000000000000" pitchFamily="2" charset="0"/>
              </a:rPr>
              <a:t>25 CHF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A55A27B-4D05-438F-82B3-205223C19789}"/>
              </a:ext>
            </a:extLst>
          </p:cNvPr>
          <p:cNvCxnSpPr>
            <a:cxnSpLocks/>
          </p:cNvCxnSpPr>
          <p:nvPr/>
        </p:nvCxnSpPr>
        <p:spPr>
          <a:xfrm>
            <a:off x="9016410" y="3408390"/>
            <a:ext cx="0" cy="1222420"/>
          </a:xfrm>
          <a:prstGeom prst="line">
            <a:avLst/>
          </a:prstGeom>
          <a:ln>
            <a:solidFill>
              <a:schemeClr val="tx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F43C0135-2F4E-4F93-BC7C-6A06E4E231A4}"/>
              </a:ext>
            </a:extLst>
          </p:cNvPr>
          <p:cNvSpPr txBox="1"/>
          <p:nvPr/>
        </p:nvSpPr>
        <p:spPr>
          <a:xfrm rot="5400000">
            <a:off x="9013350" y="4479911"/>
            <a:ext cx="624578" cy="914400"/>
          </a:xfrm>
          <a:prstGeom prst="rect">
            <a:avLst/>
          </a:prstGeom>
          <a:noFill/>
        </p:spPr>
        <p:txBody>
          <a:bodyPr vert="vert270" wrap="none" lIns="108000" tIns="36000" rIns="108000" bIns="108000" rtlCol="0">
            <a:normAutofit lnSpcReduction="10000"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de-CH" sz="1400" dirty="0">
                <a:solidFill>
                  <a:schemeClr val="tx2"/>
                </a:solidFill>
                <a:ea typeface="Roboto Medium" panose="02000000000000000000" pitchFamily="2" charset="0"/>
              </a:rPr>
              <a:t>500 </a:t>
            </a:r>
            <a:r>
              <a:rPr lang="de-CH" sz="1400" dirty="0" err="1">
                <a:solidFill>
                  <a:schemeClr val="tx2"/>
                </a:solidFill>
                <a:ea typeface="Roboto Medium" panose="02000000000000000000" pitchFamily="2" charset="0"/>
              </a:rPr>
              <a:t>pcs</a:t>
            </a:r>
            <a:r>
              <a:rPr lang="de-CH" sz="1400" dirty="0">
                <a:solidFill>
                  <a:schemeClr val="tx2"/>
                </a:solidFill>
                <a:ea typeface="Roboto Medium" panose="02000000000000000000" pitchFamily="2" charset="0"/>
              </a:rPr>
              <a:t> per </a:t>
            </a:r>
            <a:r>
              <a:rPr lang="de-CH" sz="1400" dirty="0" err="1">
                <a:solidFill>
                  <a:schemeClr val="tx2"/>
                </a:solidFill>
                <a:ea typeface="Roboto Medium" panose="02000000000000000000" pitchFamily="2" charset="0"/>
              </a:rPr>
              <a:t>year</a:t>
            </a:r>
            <a:r>
              <a:rPr lang="de-CH" sz="1400" dirty="0">
                <a:solidFill>
                  <a:schemeClr val="tx2"/>
                </a:solidFill>
                <a:ea typeface="Roboto Medium" panose="02000000000000000000" pitchFamily="2" charset="0"/>
              </a:rPr>
              <a:t> </a:t>
            </a:r>
            <a:br>
              <a:rPr lang="de-CH" sz="1400" dirty="0">
                <a:solidFill>
                  <a:schemeClr val="tx2"/>
                </a:solidFill>
                <a:ea typeface="Roboto Medium" panose="02000000000000000000" pitchFamily="2" charset="0"/>
              </a:rPr>
            </a:br>
            <a:endParaRPr lang="de-CH" sz="1400" dirty="0">
              <a:solidFill>
                <a:schemeClr val="tx2"/>
              </a:solidFill>
              <a:ea typeface="Roboto Medium" panose="02000000000000000000" pitchFamily="2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2C5CDAD-C659-47D7-A749-98695E9190E6}"/>
              </a:ext>
            </a:extLst>
          </p:cNvPr>
          <p:cNvCxnSpPr>
            <a:cxnSpLocks/>
          </p:cNvCxnSpPr>
          <p:nvPr/>
        </p:nvCxnSpPr>
        <p:spPr>
          <a:xfrm>
            <a:off x="7246845" y="4245361"/>
            <a:ext cx="308581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C78A54F4-13FC-43C3-B531-DD87C0FAB686}"/>
              </a:ext>
            </a:extLst>
          </p:cNvPr>
          <p:cNvCxnSpPr>
            <a:cxnSpLocks/>
          </p:cNvCxnSpPr>
          <p:nvPr/>
        </p:nvCxnSpPr>
        <p:spPr>
          <a:xfrm flipV="1">
            <a:off x="7254937" y="1843379"/>
            <a:ext cx="0" cy="240198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Textfeld 62">
            <a:extLst>
              <a:ext uri="{FF2B5EF4-FFF2-40B4-BE49-F238E27FC236}">
                <a16:creationId xmlns:a16="http://schemas.microsoft.com/office/drawing/2014/main" id="{4C068091-225C-406D-AEB4-34939E5AE0A6}"/>
              </a:ext>
            </a:extLst>
          </p:cNvPr>
          <p:cNvSpPr txBox="1"/>
          <p:nvPr/>
        </p:nvSpPr>
        <p:spPr>
          <a:xfrm rot="5400000">
            <a:off x="7989020" y="2336415"/>
            <a:ext cx="433827" cy="914400"/>
          </a:xfrm>
          <a:prstGeom prst="rect">
            <a:avLst/>
          </a:prstGeom>
          <a:noFill/>
        </p:spPr>
        <p:txBody>
          <a:bodyPr vert="vert270" wrap="none" lIns="108000" tIns="36000" rIns="108000" bIns="108000" rtlCol="0">
            <a:norm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de-CH" sz="1400" dirty="0">
                <a:solidFill>
                  <a:schemeClr val="tx2"/>
                </a:solidFill>
                <a:ea typeface="Roboto Medium" panose="02000000000000000000" pitchFamily="2" charset="0"/>
              </a:rPr>
              <a:t>40 CHF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2348DD6D-E1B5-4D72-A0B0-977CEF44381D}"/>
              </a:ext>
            </a:extLst>
          </p:cNvPr>
          <p:cNvSpPr txBox="1"/>
          <p:nvPr/>
        </p:nvSpPr>
        <p:spPr>
          <a:xfrm rot="5400000">
            <a:off x="7207236" y="4479911"/>
            <a:ext cx="720323" cy="914400"/>
          </a:xfrm>
          <a:prstGeom prst="rect">
            <a:avLst/>
          </a:prstGeom>
          <a:noFill/>
        </p:spPr>
        <p:txBody>
          <a:bodyPr vert="vert270" wrap="none" lIns="108000" tIns="36000" rIns="108000" bIns="108000" rtlCol="0">
            <a:norm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de-CH" sz="1400" dirty="0">
                <a:solidFill>
                  <a:schemeClr val="tx2"/>
                </a:solidFill>
                <a:ea typeface="Roboto Medium" panose="02000000000000000000" pitchFamily="2" charset="0"/>
              </a:rPr>
              <a:t>250 </a:t>
            </a:r>
            <a:r>
              <a:rPr lang="de-CH" sz="1400" dirty="0" err="1">
                <a:solidFill>
                  <a:schemeClr val="tx2"/>
                </a:solidFill>
                <a:ea typeface="Roboto Medium" panose="02000000000000000000" pitchFamily="2" charset="0"/>
              </a:rPr>
              <a:t>pcs</a:t>
            </a:r>
            <a:r>
              <a:rPr lang="de-CH" sz="1400" dirty="0">
                <a:solidFill>
                  <a:schemeClr val="tx2"/>
                </a:solidFill>
                <a:ea typeface="Roboto Medium" panose="02000000000000000000" pitchFamily="2" charset="0"/>
              </a:rPr>
              <a:t> per </a:t>
            </a:r>
            <a:r>
              <a:rPr lang="de-CH" sz="1400" dirty="0" err="1">
                <a:solidFill>
                  <a:schemeClr val="tx2"/>
                </a:solidFill>
                <a:ea typeface="Roboto Medium" panose="02000000000000000000" pitchFamily="2" charset="0"/>
              </a:rPr>
              <a:t>year</a:t>
            </a:r>
            <a:br>
              <a:rPr lang="de-CH" sz="1400" dirty="0">
                <a:solidFill>
                  <a:schemeClr val="tx2"/>
                </a:solidFill>
                <a:ea typeface="Roboto Medium" panose="02000000000000000000" pitchFamily="2" charset="0"/>
              </a:rPr>
            </a:br>
            <a:r>
              <a:rPr lang="de-CH" sz="1400" dirty="0">
                <a:solidFill>
                  <a:schemeClr val="tx2"/>
                </a:solidFill>
                <a:ea typeface="Roboto Medium" panose="02000000000000000000" pitchFamily="2" charset="0"/>
              </a:rPr>
              <a:t> </a:t>
            </a:r>
          </a:p>
        </p:txBody>
      </p: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DCAD5726-3866-4728-817F-951229C09F09}"/>
              </a:ext>
            </a:extLst>
          </p:cNvPr>
          <p:cNvCxnSpPr>
            <a:cxnSpLocks/>
          </p:cNvCxnSpPr>
          <p:nvPr/>
        </p:nvCxnSpPr>
        <p:spPr>
          <a:xfrm>
            <a:off x="8111535" y="2974562"/>
            <a:ext cx="0" cy="1650260"/>
          </a:xfrm>
          <a:prstGeom prst="line">
            <a:avLst/>
          </a:prstGeom>
          <a:ln>
            <a:solidFill>
              <a:schemeClr val="tx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39624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7C2CEA8-CFC0-4C43-9888-7AE87EAA9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1474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7C2CEA8-CFC0-4C43-9888-7AE87EAA9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FE801C4-0350-41EB-9314-65BB3E3D31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1835C9B-5C8E-439B-9743-0837FA74967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44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AE4A14D-F3F6-404F-A628-7920DA740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OST </a:t>
            </a:r>
            <a:r>
              <a:rPr lang="de-CH" dirty="0" err="1"/>
              <a:t>students</a:t>
            </a:r>
            <a:r>
              <a:rPr lang="de-CH" dirty="0"/>
              <a:t> and </a:t>
            </a:r>
            <a:r>
              <a:rPr lang="de-CH" dirty="0" err="1"/>
              <a:t>staff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order</a:t>
            </a:r>
            <a:r>
              <a:rPr lang="de-CH" dirty="0"/>
              <a:t> online and pick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their</a:t>
            </a:r>
            <a:r>
              <a:rPr lang="de-CH" dirty="0"/>
              <a:t> </a:t>
            </a:r>
            <a:r>
              <a:rPr lang="de-CH" dirty="0" err="1"/>
              <a:t>product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eception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9CCB16-B2E3-4477-815C-5B07796ED49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lace</a:t>
            </a:r>
            <a:r>
              <a:rPr lang="de-CH" dirty="0"/>
              <a:t>?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11380BBF-69CF-43D8-812D-9B0FEC5CAF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5285" y="2070415"/>
            <a:ext cx="4537075" cy="2177417"/>
          </a:xfrm>
          <a:prstGeom prst="rect">
            <a:avLst/>
          </a:prstGeom>
        </p:spPr>
      </p:pic>
      <p:grpSp>
        <p:nvGrpSpPr>
          <p:cNvPr id="24" name="Grupo 275">
            <a:extLst>
              <a:ext uri="{FF2B5EF4-FFF2-40B4-BE49-F238E27FC236}">
                <a16:creationId xmlns:a16="http://schemas.microsoft.com/office/drawing/2014/main" id="{6AC05B7C-9085-4BAF-AB12-D0ED34A5FA8C}"/>
              </a:ext>
            </a:extLst>
          </p:cNvPr>
          <p:cNvGrpSpPr/>
          <p:nvPr/>
        </p:nvGrpSpPr>
        <p:grpSpPr>
          <a:xfrm>
            <a:off x="1445492" y="4637262"/>
            <a:ext cx="3835892" cy="1761024"/>
            <a:chOff x="4247967" y="10486872"/>
            <a:chExt cx="4254270" cy="4083514"/>
          </a:xfrm>
        </p:grpSpPr>
        <p:sp>
          <p:nvSpPr>
            <p:cNvPr id="25" name="CuadroTexto 395">
              <a:extLst>
                <a:ext uri="{FF2B5EF4-FFF2-40B4-BE49-F238E27FC236}">
                  <a16:creationId xmlns:a16="http://schemas.microsoft.com/office/drawing/2014/main" id="{00278860-021A-4B1B-A92E-F7A000E806A5}"/>
                </a:ext>
              </a:extLst>
            </p:cNvPr>
            <p:cNvSpPr txBox="1"/>
            <p:nvPr/>
          </p:nvSpPr>
          <p:spPr>
            <a:xfrm flipH="1">
              <a:off x="4247967" y="10486872"/>
              <a:ext cx="4254270" cy="713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+mj-lt"/>
                  <a:ea typeface="Lato" charset="0"/>
                  <a:cs typeface="Lato" charset="0"/>
                </a:rPr>
                <a:t>Order online</a:t>
              </a:r>
            </a:p>
          </p:txBody>
        </p:sp>
        <p:sp>
          <p:nvSpPr>
            <p:cNvPr id="26" name="Rectangle 40">
              <a:extLst>
                <a:ext uri="{FF2B5EF4-FFF2-40B4-BE49-F238E27FC236}">
                  <a16:creationId xmlns:a16="http://schemas.microsoft.com/office/drawing/2014/main" id="{ABE72734-BDEC-4B0C-AB1D-EE299C9C642E}"/>
                </a:ext>
              </a:extLst>
            </p:cNvPr>
            <p:cNvSpPr/>
            <p:nvPr/>
          </p:nvSpPr>
          <p:spPr>
            <a:xfrm>
              <a:off x="4263627" y="11180399"/>
              <a:ext cx="4221143" cy="33899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CH" sz="1200" dirty="0"/>
                <a:t>The </a:t>
              </a:r>
              <a:r>
                <a:rPr lang="de-CH" sz="1200" dirty="0" err="1"/>
                <a:t>ordering</a:t>
              </a:r>
              <a:r>
                <a:rPr lang="de-CH" sz="1200" dirty="0"/>
                <a:t> </a:t>
              </a:r>
              <a:r>
                <a:rPr lang="de-CH" sz="1200" dirty="0" err="1"/>
                <a:t>infrastructure</a:t>
              </a:r>
              <a:r>
                <a:rPr lang="de-CH" sz="1200" dirty="0"/>
                <a:t> </a:t>
              </a:r>
              <a:r>
                <a:rPr lang="de-CH" sz="1200" dirty="0" err="1"/>
                <a:t>should</a:t>
              </a:r>
              <a:r>
                <a:rPr lang="de-CH" sz="1200" dirty="0"/>
                <a:t> </a:t>
              </a:r>
              <a:r>
                <a:rPr lang="de-CH" sz="1200" dirty="0" err="1"/>
                <a:t>create</a:t>
              </a:r>
              <a:r>
                <a:rPr lang="de-CH" sz="1200" dirty="0"/>
                <a:t> </a:t>
              </a:r>
              <a:r>
                <a:rPr lang="de-CH" sz="1200" dirty="0" err="1"/>
                <a:t>only</a:t>
              </a:r>
              <a:r>
                <a:rPr lang="de-CH" sz="1200" dirty="0"/>
                <a:t> moderate </a:t>
              </a:r>
              <a:r>
                <a:rPr lang="de-CH" sz="1200" dirty="0" err="1"/>
                <a:t>effort</a:t>
              </a:r>
              <a:r>
                <a:rPr lang="de-CH" sz="1200" dirty="0"/>
                <a:t> and </a:t>
              </a:r>
              <a:r>
                <a:rPr lang="de-CH" sz="1200" dirty="0" err="1"/>
                <a:t>allow</a:t>
              </a:r>
              <a:r>
                <a:rPr lang="de-CH" sz="1200" dirty="0"/>
                <a:t> </a:t>
              </a:r>
              <a:r>
                <a:rPr lang="de-CH" sz="1200" dirty="0" err="1"/>
                <a:t>personalizing</a:t>
              </a:r>
              <a:r>
                <a:rPr lang="de-CH" sz="1200" dirty="0"/>
                <a:t> </a:t>
              </a:r>
              <a:r>
                <a:rPr lang="de-CH" sz="1200" dirty="0" err="1"/>
                <a:t>the</a:t>
              </a:r>
              <a:r>
                <a:rPr lang="de-CH" sz="1200" dirty="0"/>
                <a:t> </a:t>
              </a:r>
              <a:r>
                <a:rPr lang="de-CH" sz="1200" dirty="0" err="1"/>
                <a:t>product</a:t>
              </a:r>
              <a:r>
                <a:rPr lang="de-CH" sz="1200" dirty="0"/>
                <a:t>. </a:t>
              </a:r>
            </a:p>
            <a:p>
              <a:r>
                <a:rPr lang="de-CH" sz="1200" dirty="0" err="1"/>
                <a:t>We</a:t>
              </a:r>
              <a:r>
                <a:rPr lang="de-CH" sz="1200" dirty="0"/>
                <a:t> </a:t>
              </a:r>
              <a:r>
                <a:rPr lang="de-CH" sz="1200" dirty="0" err="1"/>
                <a:t>propose</a:t>
              </a:r>
              <a:r>
                <a:rPr lang="de-CH" sz="1200" dirty="0"/>
                <a:t> an online </a:t>
              </a:r>
              <a:r>
                <a:rPr lang="de-CH" sz="1200" dirty="0" err="1"/>
                <a:t>system</a:t>
              </a:r>
              <a:r>
                <a:rPr lang="de-CH" sz="1200" dirty="0"/>
                <a:t>: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dirty="0"/>
                <a:t>Order on </a:t>
              </a:r>
              <a:r>
                <a:rPr lang="de-CH" sz="1200" dirty="0" err="1"/>
                <a:t>the</a:t>
              </a:r>
              <a:r>
                <a:rPr lang="de-CH" sz="1200" dirty="0"/>
                <a:t> smart </a:t>
              </a:r>
              <a:r>
                <a:rPr lang="de-CH" sz="1200" dirty="0" err="1"/>
                <a:t>factory’s</a:t>
              </a:r>
              <a:r>
                <a:rPr lang="de-CH" sz="1200" dirty="0"/>
                <a:t> </a:t>
              </a:r>
              <a:r>
                <a:rPr lang="de-CH" sz="1200" dirty="0" err="1"/>
                <a:t>homepage</a:t>
              </a:r>
              <a:endParaRPr lang="de-CH" sz="12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dirty="0"/>
                <a:t>Online design </a:t>
              </a:r>
              <a:r>
                <a:rPr lang="de-CH" sz="1200" dirty="0" err="1"/>
                <a:t>personalization</a:t>
              </a:r>
              <a:endParaRPr lang="de-CH" sz="12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dirty="0"/>
                <a:t>Online </a:t>
              </a:r>
              <a:r>
                <a:rPr lang="de-CH" sz="1200" dirty="0" err="1"/>
                <a:t>payment</a:t>
              </a:r>
              <a:endParaRPr lang="de-CH" sz="12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de-CH" sz="1200" dirty="0"/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D15DBB72-0CE0-4220-BB46-65EC2D9D826E}"/>
              </a:ext>
            </a:extLst>
          </p:cNvPr>
          <p:cNvGrpSpPr/>
          <p:nvPr/>
        </p:nvGrpSpPr>
        <p:grpSpPr>
          <a:xfrm>
            <a:off x="6792800" y="1638353"/>
            <a:ext cx="3560876" cy="2981667"/>
            <a:chOff x="3439999" y="2063790"/>
            <a:chExt cx="4339625" cy="3633746"/>
          </a:xfrm>
        </p:grpSpPr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096216D3-CC64-45AB-A93F-9868136011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6821" t="31511" r="47" b="7483"/>
            <a:stretch/>
          </p:blipFill>
          <p:spPr>
            <a:xfrm>
              <a:off x="3593306" y="2063790"/>
              <a:ext cx="4186318" cy="3633746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4A7D5FB1-74DD-4F24-A9DA-E4B77169EF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0742"/>
            <a:stretch/>
          </p:blipFill>
          <p:spPr>
            <a:xfrm>
              <a:off x="5325893" y="2281009"/>
              <a:ext cx="752847" cy="717910"/>
            </a:xfrm>
            <a:prstGeom prst="rect">
              <a:avLst/>
            </a:prstGeom>
          </p:spPr>
        </p:pic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CE7A7FF1-BBDC-4A61-9295-D435DFAD02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0742"/>
            <a:stretch/>
          </p:blipFill>
          <p:spPr>
            <a:xfrm>
              <a:off x="5703222" y="3713272"/>
              <a:ext cx="752847" cy="717910"/>
            </a:xfrm>
            <a:prstGeom prst="rect">
              <a:avLst/>
            </a:prstGeom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3B5B31F6-06EC-4178-8A7B-3063FDB7D8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0742"/>
            <a:stretch/>
          </p:blipFill>
          <p:spPr>
            <a:xfrm>
              <a:off x="3439999" y="3381011"/>
              <a:ext cx="752847" cy="717910"/>
            </a:xfrm>
            <a:prstGeom prst="rect">
              <a:avLst/>
            </a:prstGeom>
          </p:spPr>
        </p:pic>
      </p:grpSp>
      <p:grpSp>
        <p:nvGrpSpPr>
          <p:cNvPr id="32" name="Grupo 275">
            <a:extLst>
              <a:ext uri="{FF2B5EF4-FFF2-40B4-BE49-F238E27FC236}">
                <a16:creationId xmlns:a16="http://schemas.microsoft.com/office/drawing/2014/main" id="{F2D259EE-4B72-4B5E-A871-EFA90A88CE6C}"/>
              </a:ext>
            </a:extLst>
          </p:cNvPr>
          <p:cNvGrpSpPr/>
          <p:nvPr/>
        </p:nvGrpSpPr>
        <p:grpSpPr>
          <a:xfrm>
            <a:off x="6902847" y="4773908"/>
            <a:ext cx="3835892" cy="1576358"/>
            <a:chOff x="4247967" y="10486872"/>
            <a:chExt cx="4254270" cy="3655305"/>
          </a:xfrm>
        </p:grpSpPr>
        <p:sp>
          <p:nvSpPr>
            <p:cNvPr id="33" name="CuadroTexto 395">
              <a:extLst>
                <a:ext uri="{FF2B5EF4-FFF2-40B4-BE49-F238E27FC236}">
                  <a16:creationId xmlns:a16="http://schemas.microsoft.com/office/drawing/2014/main" id="{DDC1D28A-806D-4625-9690-E8AC27B35FB5}"/>
                </a:ext>
              </a:extLst>
            </p:cNvPr>
            <p:cNvSpPr txBox="1"/>
            <p:nvPr/>
          </p:nvSpPr>
          <p:spPr>
            <a:xfrm flipH="1">
              <a:off x="4247967" y="10486872"/>
              <a:ext cx="4254270" cy="713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+mj-lt"/>
                  <a:ea typeface="Lato" charset="0"/>
                  <a:cs typeface="Lato" charset="0"/>
                </a:rPr>
                <a:t>Pick up at the reception</a:t>
              </a:r>
            </a:p>
          </p:txBody>
        </p:sp>
        <p:sp>
          <p:nvSpPr>
            <p:cNvPr id="34" name="Rectangle 40">
              <a:extLst>
                <a:ext uri="{FF2B5EF4-FFF2-40B4-BE49-F238E27FC236}">
                  <a16:creationId xmlns:a16="http://schemas.microsoft.com/office/drawing/2014/main" id="{352CF8CA-4765-49C9-8863-53AC97657BE5}"/>
                </a:ext>
              </a:extLst>
            </p:cNvPr>
            <p:cNvSpPr/>
            <p:nvPr/>
          </p:nvSpPr>
          <p:spPr>
            <a:xfrm>
              <a:off x="4263627" y="11180399"/>
              <a:ext cx="4221143" cy="29617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200" dirty="0"/>
                <a:t>The </a:t>
              </a:r>
              <a:r>
                <a:rPr lang="de-CH" sz="1200" dirty="0" err="1"/>
                <a:t>distribution</a:t>
              </a:r>
              <a:r>
                <a:rPr lang="de-CH" sz="1200" dirty="0"/>
                <a:t> </a:t>
              </a:r>
              <a:r>
                <a:rPr lang="de-CH" sz="1200" dirty="0" err="1"/>
                <a:t>should</a:t>
              </a:r>
              <a:r>
                <a:rPr lang="de-CH" sz="1200" dirty="0"/>
                <a:t> not </a:t>
              </a:r>
              <a:r>
                <a:rPr lang="de-CH" sz="1200" dirty="0" err="1"/>
                <a:t>require</a:t>
              </a:r>
              <a:r>
                <a:rPr lang="de-CH" sz="1200" dirty="0"/>
                <a:t> additional </a:t>
              </a:r>
              <a:r>
                <a:rPr lang="de-CH" sz="1200" dirty="0" err="1"/>
                <a:t>infrastructure</a:t>
              </a:r>
              <a:r>
                <a:rPr lang="de-CH" sz="1200" dirty="0"/>
                <a:t> </a:t>
              </a:r>
              <a:r>
                <a:rPr lang="de-CH" sz="1200" dirty="0" err="1"/>
                <a:t>or</a:t>
              </a:r>
              <a:r>
                <a:rPr lang="de-CH" sz="1200" dirty="0"/>
                <a:t> </a:t>
              </a:r>
              <a:r>
                <a:rPr lang="de-CH" sz="1200" dirty="0" err="1"/>
                <a:t>staff</a:t>
              </a:r>
              <a:r>
                <a:rPr lang="de-CH" sz="1200" dirty="0"/>
                <a:t> and </a:t>
              </a:r>
              <a:r>
                <a:rPr lang="de-CH" sz="1200" dirty="0" err="1"/>
                <a:t>be</a:t>
              </a:r>
              <a:r>
                <a:rPr lang="de-CH" sz="1200" dirty="0"/>
                <a:t> </a:t>
              </a:r>
              <a:r>
                <a:rPr lang="de-CH" sz="1200" dirty="0" err="1"/>
                <a:t>available</a:t>
              </a:r>
              <a:r>
                <a:rPr lang="de-CH" sz="1200" dirty="0"/>
                <a:t> at all OST </a:t>
              </a:r>
              <a:r>
                <a:rPr lang="de-CH" sz="1200" dirty="0" err="1"/>
                <a:t>locations</a:t>
              </a:r>
              <a:r>
                <a:rPr lang="de-CH" sz="1200" dirty="0"/>
                <a:t>.</a:t>
              </a:r>
            </a:p>
            <a:p>
              <a:pPr>
                <a:spcBef>
                  <a:spcPts val="600"/>
                </a:spcBef>
              </a:pPr>
              <a:r>
                <a:rPr lang="de-CH" sz="1200" dirty="0" err="1"/>
                <a:t>We</a:t>
              </a:r>
              <a:r>
                <a:rPr lang="de-CH" sz="1200" dirty="0"/>
                <a:t> </a:t>
              </a:r>
              <a:r>
                <a:rPr lang="de-CH" sz="1200" dirty="0" err="1"/>
                <a:t>propose</a:t>
              </a:r>
              <a:r>
                <a:rPr lang="de-CH" sz="1200" dirty="0"/>
                <a:t> </a:t>
              </a:r>
              <a:r>
                <a:rPr lang="de-CH" sz="1200" dirty="0" err="1"/>
                <a:t>picking</a:t>
              </a:r>
              <a:r>
                <a:rPr lang="de-CH" sz="1200" dirty="0"/>
                <a:t> </a:t>
              </a:r>
              <a:r>
                <a:rPr lang="de-CH" sz="1200" dirty="0" err="1"/>
                <a:t>up</a:t>
              </a:r>
              <a:r>
                <a:rPr lang="de-CH" sz="1200" dirty="0"/>
                <a:t> </a:t>
              </a:r>
              <a:r>
                <a:rPr lang="de-CH" sz="1200" dirty="0" err="1"/>
                <a:t>orders</a:t>
              </a:r>
              <a:r>
                <a:rPr lang="de-CH" sz="1200" dirty="0"/>
                <a:t> at </a:t>
              </a:r>
              <a:r>
                <a:rPr lang="de-CH" sz="1200" dirty="0" err="1"/>
                <a:t>the</a:t>
              </a:r>
              <a:r>
                <a:rPr lang="de-CH" sz="1200" dirty="0"/>
                <a:t> </a:t>
              </a:r>
              <a:r>
                <a:rPr lang="de-CH" sz="1200" dirty="0" err="1"/>
                <a:t>reception</a:t>
              </a:r>
              <a:r>
                <a:rPr lang="de-CH" sz="1200" dirty="0"/>
                <a:t> </a:t>
              </a:r>
              <a:r>
                <a:rPr lang="de-CH" sz="1200" dirty="0" err="1"/>
                <a:t>desks</a:t>
              </a:r>
              <a:r>
                <a:rPr lang="de-CH" sz="1200" dirty="0"/>
                <a:t> </a:t>
              </a:r>
              <a:r>
                <a:rPr lang="de-CH" sz="1200" dirty="0" err="1"/>
                <a:t>of</a:t>
              </a:r>
              <a:r>
                <a:rPr lang="de-CH" sz="1200" dirty="0"/>
                <a:t> </a:t>
              </a:r>
              <a:r>
                <a:rPr lang="de-CH" sz="1200" dirty="0" err="1"/>
                <a:t>each</a:t>
              </a:r>
              <a:r>
                <a:rPr lang="de-CH" sz="1200" dirty="0"/>
                <a:t> OST </a:t>
              </a:r>
              <a:r>
                <a:rPr lang="de-CH" sz="1200" dirty="0" err="1"/>
                <a:t>location</a:t>
              </a:r>
              <a:r>
                <a:rPr lang="de-CH" sz="1200" dirty="0"/>
                <a:t>. </a:t>
              </a:r>
              <a:r>
                <a:rPr lang="de-CH" sz="1200" dirty="0" err="1"/>
                <a:t>We</a:t>
              </a:r>
              <a:r>
                <a:rPr lang="de-CH" sz="1200" dirty="0"/>
                <a:t> </a:t>
              </a:r>
              <a:r>
                <a:rPr lang="de-CH" sz="1200" dirty="0" err="1"/>
                <a:t>use</a:t>
              </a:r>
              <a:r>
                <a:rPr lang="de-CH" sz="1200" dirty="0"/>
                <a:t> </a:t>
              </a:r>
              <a:r>
                <a:rPr lang="de-CH" sz="1200" dirty="0" err="1"/>
                <a:t>regular</a:t>
              </a:r>
              <a:r>
                <a:rPr lang="de-CH" sz="1200" dirty="0"/>
                <a:t> </a:t>
              </a:r>
              <a:r>
                <a:rPr lang="de-CH" sz="1200" dirty="0" err="1"/>
                <a:t>employee</a:t>
              </a:r>
              <a:r>
                <a:rPr lang="de-CH" sz="1200" dirty="0"/>
                <a:t> </a:t>
              </a:r>
              <a:r>
                <a:rPr lang="de-CH" sz="1200" dirty="0" err="1"/>
                <a:t>traffic</a:t>
              </a:r>
              <a:r>
                <a:rPr lang="de-CH" sz="1200" dirty="0"/>
                <a:t> </a:t>
              </a:r>
              <a:r>
                <a:rPr lang="de-CH" sz="1200" dirty="0" err="1"/>
                <a:t>between</a:t>
              </a:r>
              <a:r>
                <a:rPr lang="de-CH" sz="1200" dirty="0"/>
                <a:t> </a:t>
              </a:r>
              <a:r>
                <a:rPr lang="de-CH" sz="1200" dirty="0" err="1"/>
                <a:t>locations</a:t>
              </a:r>
              <a:r>
                <a:rPr lang="de-CH" sz="1200" dirty="0"/>
                <a:t> </a:t>
              </a:r>
              <a:r>
                <a:rPr lang="de-CH" sz="1200" dirty="0" err="1"/>
                <a:t>for</a:t>
              </a:r>
              <a:r>
                <a:rPr lang="de-CH" sz="1200" dirty="0"/>
                <a:t> </a:t>
              </a:r>
              <a:r>
                <a:rPr lang="de-CH" sz="1200" dirty="0" err="1"/>
                <a:t>logistics</a:t>
              </a:r>
              <a:r>
                <a:rPr lang="de-CH" sz="1200" dirty="0"/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288985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7619F4C-4BEA-471F-B7B0-623407C2C2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143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7619F4C-4BEA-471F-B7B0-623407C2C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462B137-96CD-4ED8-B154-102E7317C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26F251B-1F8E-4607-AA18-64208C38D01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45</a:t>
            </a:fld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D57165-C4F4-4311-87C9-C4AD5C0FBF8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lace</a:t>
            </a:r>
            <a:r>
              <a:rPr lang="de-CH" dirty="0"/>
              <a:t>?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636D16C-7382-4A28-BE63-5DBBEE2B7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merchandise</a:t>
            </a:r>
            <a:r>
              <a:rPr lang="de-CH" dirty="0"/>
              <a:t>, smart </a:t>
            </a:r>
            <a:r>
              <a:rPr lang="de-CH" dirty="0" err="1"/>
              <a:t>factory</a:t>
            </a:r>
            <a:r>
              <a:rPr lang="de-CH" dirty="0"/>
              <a:t> </a:t>
            </a:r>
            <a:r>
              <a:rPr lang="de-CH" dirty="0" err="1"/>
              <a:t>visitors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watc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duct</a:t>
            </a:r>
            <a:r>
              <a:rPr lang="de-CH" dirty="0"/>
              <a:t> </a:t>
            </a:r>
            <a:r>
              <a:rPr lang="de-CH" dirty="0" err="1"/>
              <a:t>being</a:t>
            </a:r>
            <a:r>
              <a:rPr lang="de-CH" dirty="0"/>
              <a:t> </a:t>
            </a:r>
            <a:r>
              <a:rPr lang="de-CH" dirty="0" err="1"/>
              <a:t>made</a:t>
            </a:r>
            <a:endParaRPr lang="de-CH" dirty="0"/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CD462E96-3777-4887-8F71-E1508518D0B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821" t="31511" r="47" b="7483"/>
          <a:stretch/>
        </p:blipFill>
        <p:spPr>
          <a:xfrm>
            <a:off x="4345781" y="2028922"/>
            <a:ext cx="4186318" cy="3633746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91AFED07-1532-4959-B328-A1B845CAC46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742"/>
          <a:stretch/>
        </p:blipFill>
        <p:spPr>
          <a:xfrm>
            <a:off x="6455697" y="3678404"/>
            <a:ext cx="752847" cy="71791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307A2730-AE5C-4D49-B5EE-3F9268CB819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742"/>
          <a:stretch/>
        </p:blipFill>
        <p:spPr>
          <a:xfrm>
            <a:off x="4192474" y="3346143"/>
            <a:ext cx="752847" cy="717910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56D7E294-6D5D-4560-9B80-A1E5F66C61F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85" r="38053"/>
          <a:stretch/>
        </p:blipFill>
        <p:spPr>
          <a:xfrm>
            <a:off x="3824270" y="4059941"/>
            <a:ext cx="1800000" cy="12000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0E996415-041B-4452-BD97-9ED33336DCE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7658" y="4428100"/>
            <a:ext cx="1800000" cy="1199700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C3C5E240-CEAE-45A4-9B5A-5BC10ECE0265}"/>
              </a:ext>
            </a:extLst>
          </p:cNvPr>
          <p:cNvCxnSpPr>
            <a:cxnSpLocks/>
            <a:stCxn id="44" idx="1"/>
          </p:cNvCxnSpPr>
          <p:nvPr/>
        </p:nvCxnSpPr>
        <p:spPr>
          <a:xfrm flipH="1">
            <a:off x="2992844" y="3705098"/>
            <a:ext cx="1199630" cy="43367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9" name="Grupo 275">
            <a:extLst>
              <a:ext uri="{FF2B5EF4-FFF2-40B4-BE49-F238E27FC236}">
                <a16:creationId xmlns:a16="http://schemas.microsoft.com/office/drawing/2014/main" id="{1D270D05-F06B-4657-8D72-760AB213D9EC}"/>
              </a:ext>
            </a:extLst>
          </p:cNvPr>
          <p:cNvGrpSpPr/>
          <p:nvPr/>
        </p:nvGrpSpPr>
        <p:grpSpPr>
          <a:xfrm>
            <a:off x="1558925" y="4250842"/>
            <a:ext cx="2325162" cy="1468637"/>
            <a:chOff x="4247967" y="10486870"/>
            <a:chExt cx="4254270" cy="3405517"/>
          </a:xfrm>
        </p:grpSpPr>
        <p:sp>
          <p:nvSpPr>
            <p:cNvPr id="50" name="CuadroTexto 395">
              <a:extLst>
                <a:ext uri="{FF2B5EF4-FFF2-40B4-BE49-F238E27FC236}">
                  <a16:creationId xmlns:a16="http://schemas.microsoft.com/office/drawing/2014/main" id="{96F27982-8EFE-415D-BEBC-BC41DF8CD6E7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err="1">
                  <a:latin typeface="+mj-lt"/>
                  <a:ea typeface="Lato" charset="0"/>
                  <a:cs typeface="Lato" charset="0"/>
                </a:rPr>
                <a:t>Rapperswil-Jona</a:t>
              </a:r>
              <a:endParaRPr lang="en-US" sz="1600" b="1" dirty="0">
                <a:latin typeface="+mj-lt"/>
                <a:ea typeface="Lato" charset="0"/>
                <a:cs typeface="Lato" charset="0"/>
              </a:endParaRPr>
            </a:p>
          </p:txBody>
        </p:sp>
        <p:sp>
          <p:nvSpPr>
            <p:cNvPr id="51" name="Rectangle 40">
              <a:extLst>
                <a:ext uri="{FF2B5EF4-FFF2-40B4-BE49-F238E27FC236}">
                  <a16:creationId xmlns:a16="http://schemas.microsoft.com/office/drawing/2014/main" id="{7E50BE9C-E0FF-4CAB-B765-E9BAF5008478}"/>
                </a:ext>
              </a:extLst>
            </p:cNvPr>
            <p:cNvSpPr/>
            <p:nvPr/>
          </p:nvSpPr>
          <p:spPr>
            <a:xfrm>
              <a:off x="4263627" y="11180399"/>
              <a:ext cx="4221144" cy="27119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400" dirty="0"/>
                <a:t>Visitors </a:t>
              </a:r>
              <a:r>
                <a:rPr lang="de-CH" sz="1400" dirty="0" err="1"/>
                <a:t>can</a:t>
              </a:r>
              <a:r>
                <a:rPr lang="de-CH" sz="1400" dirty="0"/>
                <a:t> </a:t>
              </a:r>
              <a:r>
                <a:rPr lang="de-CH" sz="1400" dirty="0" err="1"/>
                <a:t>watch</a:t>
              </a:r>
              <a:r>
                <a:rPr lang="de-CH" sz="1400" dirty="0"/>
                <a:t> </a:t>
              </a:r>
              <a:r>
                <a:rPr lang="de-CH" sz="1400" dirty="0" err="1"/>
                <a:t>the</a:t>
              </a:r>
              <a:r>
                <a:rPr lang="de-CH" sz="1400" dirty="0"/>
                <a:t> </a:t>
              </a:r>
              <a:r>
                <a:rPr lang="de-CH" sz="1400" dirty="0" err="1"/>
                <a:t>housing</a:t>
              </a:r>
              <a:r>
                <a:rPr lang="de-CH" sz="1400" dirty="0"/>
                <a:t> </a:t>
              </a:r>
              <a:r>
                <a:rPr lang="de-CH" sz="1400" dirty="0" err="1"/>
                <a:t>production</a:t>
              </a:r>
              <a:r>
                <a:rPr lang="de-CH" sz="1400" dirty="0"/>
                <a:t>. Final </a:t>
              </a:r>
              <a:r>
                <a:rPr lang="de-CH" sz="1400" dirty="0" err="1"/>
                <a:t>assembly</a:t>
              </a:r>
              <a:r>
                <a:rPr lang="de-CH" sz="1400" dirty="0"/>
                <a:t> </a:t>
              </a:r>
              <a:r>
                <a:rPr lang="de-CH" sz="1400" dirty="0" err="1"/>
                <a:t>with</a:t>
              </a:r>
              <a:r>
                <a:rPr lang="de-CH" sz="1400" dirty="0"/>
                <a:t> </a:t>
              </a:r>
              <a:r>
                <a:rPr lang="de-CH" sz="1400" dirty="0" err="1"/>
                <a:t>the</a:t>
              </a:r>
              <a:r>
                <a:rPr lang="de-CH" sz="1400" dirty="0"/>
                <a:t> </a:t>
              </a:r>
              <a:r>
                <a:rPr lang="de-CH" sz="1400" dirty="0" err="1"/>
                <a:t>electronics</a:t>
              </a:r>
              <a:r>
                <a:rPr lang="de-CH" sz="1400" dirty="0"/>
                <a:t> </a:t>
              </a:r>
              <a:r>
                <a:rPr lang="de-CH" sz="1400" dirty="0" err="1"/>
                <a:t>has</a:t>
              </a:r>
              <a:r>
                <a:rPr lang="de-CH" sz="1400" dirty="0"/>
                <a:t> </a:t>
              </a:r>
              <a:r>
                <a:rPr lang="de-CH" sz="1400" dirty="0" err="1"/>
                <a:t>to</a:t>
              </a:r>
              <a:r>
                <a:rPr lang="de-CH" sz="1400" dirty="0"/>
                <a:t> </a:t>
              </a:r>
              <a:r>
                <a:rPr lang="de-CH" sz="1400" dirty="0" err="1"/>
                <a:t>be</a:t>
              </a:r>
              <a:r>
                <a:rPr lang="de-CH" sz="1400" dirty="0"/>
                <a:t> </a:t>
              </a:r>
              <a:r>
                <a:rPr lang="de-CH" sz="1400" dirty="0" err="1"/>
                <a:t>done</a:t>
              </a:r>
              <a:r>
                <a:rPr lang="de-CH" sz="1400" dirty="0"/>
                <a:t> </a:t>
              </a:r>
              <a:r>
                <a:rPr lang="de-CH" sz="1400" dirty="0" err="1"/>
                <a:t>manually</a:t>
              </a:r>
              <a:r>
                <a:rPr lang="de-CH" sz="1400" dirty="0"/>
                <a:t>.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52" name="Grupo 275">
            <a:extLst>
              <a:ext uri="{FF2B5EF4-FFF2-40B4-BE49-F238E27FC236}">
                <a16:creationId xmlns:a16="http://schemas.microsoft.com/office/drawing/2014/main" id="{90177DBB-E4B7-444F-B0BD-31F83AE7F75D}"/>
              </a:ext>
            </a:extLst>
          </p:cNvPr>
          <p:cNvGrpSpPr/>
          <p:nvPr/>
        </p:nvGrpSpPr>
        <p:grpSpPr>
          <a:xfrm>
            <a:off x="8742562" y="3518484"/>
            <a:ext cx="2325162" cy="1253193"/>
            <a:chOff x="4247967" y="10486870"/>
            <a:chExt cx="4254270" cy="2905939"/>
          </a:xfrm>
        </p:grpSpPr>
        <p:sp>
          <p:nvSpPr>
            <p:cNvPr id="53" name="CuadroTexto 395">
              <a:extLst>
                <a:ext uri="{FF2B5EF4-FFF2-40B4-BE49-F238E27FC236}">
                  <a16:creationId xmlns:a16="http://schemas.microsoft.com/office/drawing/2014/main" id="{34152E05-608A-419B-82CE-071B29419F4F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err="1">
                  <a:latin typeface="+mj-lt"/>
                  <a:ea typeface="Lato" charset="0"/>
                  <a:cs typeface="Lato" charset="0"/>
                </a:rPr>
                <a:t>Buchs</a:t>
              </a:r>
              <a:endParaRPr lang="en-US" sz="1600" b="1" dirty="0">
                <a:latin typeface="+mj-lt"/>
                <a:ea typeface="Lato" charset="0"/>
                <a:cs typeface="Lato" charset="0"/>
              </a:endParaRPr>
            </a:p>
          </p:txBody>
        </p:sp>
        <p:sp>
          <p:nvSpPr>
            <p:cNvPr id="54" name="Rectangle 40">
              <a:extLst>
                <a:ext uri="{FF2B5EF4-FFF2-40B4-BE49-F238E27FC236}">
                  <a16:creationId xmlns:a16="http://schemas.microsoft.com/office/drawing/2014/main" id="{4E80DF60-532C-4233-B161-202BC704548F}"/>
                </a:ext>
              </a:extLst>
            </p:cNvPr>
            <p:cNvSpPr/>
            <p:nvPr/>
          </p:nvSpPr>
          <p:spPr>
            <a:xfrm>
              <a:off x="4263627" y="11180399"/>
              <a:ext cx="4221144" cy="22124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400" dirty="0"/>
                <a:t>Visitors </a:t>
              </a:r>
              <a:r>
                <a:rPr lang="de-CH" sz="1400" dirty="0" err="1"/>
                <a:t>can</a:t>
              </a:r>
              <a:r>
                <a:rPr lang="de-CH" sz="1400" dirty="0"/>
                <a:t> </a:t>
              </a:r>
              <a:r>
                <a:rPr lang="de-CH" sz="1400" dirty="0" err="1"/>
                <a:t>watch</a:t>
              </a:r>
              <a:r>
                <a:rPr lang="de-CH" sz="1400" dirty="0"/>
                <a:t> </a:t>
              </a:r>
              <a:r>
                <a:rPr lang="de-CH" sz="1400" dirty="0" err="1"/>
                <a:t>the</a:t>
              </a:r>
              <a:r>
                <a:rPr lang="de-CH" sz="1400" dirty="0"/>
                <a:t> final </a:t>
              </a:r>
              <a:r>
                <a:rPr lang="de-CH" sz="1400" dirty="0" err="1"/>
                <a:t>assembly</a:t>
              </a:r>
              <a:r>
                <a:rPr lang="de-CH" sz="1400" dirty="0"/>
                <a:t>. </a:t>
              </a:r>
              <a:r>
                <a:rPr lang="de-CH" sz="1400" dirty="0" err="1"/>
                <a:t>Personalization</a:t>
              </a:r>
              <a:r>
                <a:rPr lang="de-CH" sz="1400" dirty="0"/>
                <a:t> </a:t>
              </a:r>
              <a:r>
                <a:rPr lang="de-CH" sz="1400" dirty="0" err="1"/>
                <a:t>only</a:t>
              </a:r>
              <a:r>
                <a:rPr lang="de-CH" sz="1400" dirty="0"/>
                <a:t> </a:t>
              </a:r>
              <a:r>
                <a:rPr lang="de-CH" sz="1400" dirty="0" err="1"/>
                <a:t>with</a:t>
              </a:r>
              <a:r>
                <a:rPr lang="de-CH" sz="1400" dirty="0"/>
                <a:t> a </a:t>
              </a:r>
              <a:r>
                <a:rPr lang="de-CH" sz="1400" dirty="0" err="1"/>
                <a:t>pre-defined</a:t>
              </a:r>
              <a:r>
                <a:rPr lang="de-CH" sz="1400" dirty="0"/>
                <a:t> </a:t>
              </a:r>
              <a:r>
                <a:rPr lang="de-CH" sz="1400" dirty="0" err="1"/>
                <a:t>choice</a:t>
              </a:r>
              <a:r>
                <a:rPr lang="de-CH" sz="1400" dirty="0"/>
                <a:t> </a:t>
              </a:r>
              <a:r>
                <a:rPr lang="de-CH" sz="1400" dirty="0" err="1"/>
                <a:t>of</a:t>
              </a:r>
              <a:r>
                <a:rPr lang="de-CH" sz="1400" dirty="0"/>
                <a:t> </a:t>
              </a:r>
              <a:r>
                <a:rPr lang="de-CH" sz="1400" dirty="0" err="1"/>
                <a:t>designs</a:t>
              </a:r>
              <a:r>
                <a:rPr lang="de-CH" sz="1400" dirty="0"/>
                <a:t>. 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F005EB2B-B622-428C-ADBF-E5636024D294}"/>
              </a:ext>
            </a:extLst>
          </p:cNvPr>
          <p:cNvCxnSpPr>
            <a:cxnSpLocks/>
          </p:cNvCxnSpPr>
          <p:nvPr/>
        </p:nvCxnSpPr>
        <p:spPr>
          <a:xfrm flipH="1" flipV="1">
            <a:off x="7217104" y="4005552"/>
            <a:ext cx="1468302" cy="530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89850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7619F4C-4BEA-471F-B7B0-623407C2C2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745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7619F4C-4BEA-471F-B7B0-623407C2C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462B137-96CD-4ED8-B154-102E7317C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26F251B-1F8E-4607-AA18-64208C38D01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46</a:t>
            </a:fld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D57165-C4F4-4311-87C9-C4AD5C0FBF8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451" y="1559121"/>
            <a:ext cx="5364576" cy="358775"/>
          </a:xfrm>
        </p:spPr>
        <p:txBody>
          <a:bodyPr>
            <a:normAutofit/>
          </a:bodyPr>
          <a:lstStyle/>
          <a:p>
            <a:r>
              <a:rPr lang="de-CH" dirty="0"/>
              <a:t>OST </a:t>
            </a:r>
            <a:r>
              <a:rPr lang="de-CH" dirty="0" err="1"/>
              <a:t>students</a:t>
            </a:r>
            <a:r>
              <a:rPr lang="de-CH" dirty="0"/>
              <a:t> via </a:t>
            </a:r>
            <a:r>
              <a:rPr lang="de-CH" dirty="0" err="1"/>
              <a:t>classes</a:t>
            </a:r>
            <a:endParaRPr lang="de-CH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48BFA2BA-9DFD-46B5-B3D1-1D728098EB7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06246" y="1545209"/>
            <a:ext cx="5353967" cy="358775"/>
          </a:xfrm>
        </p:spPr>
        <p:txBody>
          <a:bodyPr/>
          <a:lstStyle/>
          <a:p>
            <a:r>
              <a:rPr lang="de-CH" dirty="0"/>
              <a:t>OST </a:t>
            </a:r>
            <a:r>
              <a:rPr lang="de-CH" dirty="0" err="1"/>
              <a:t>staff</a:t>
            </a:r>
            <a:r>
              <a:rPr lang="de-CH" dirty="0"/>
              <a:t> via </a:t>
            </a:r>
            <a:r>
              <a:rPr lang="de-CH" dirty="0" err="1"/>
              <a:t>intranet</a:t>
            </a:r>
            <a:endParaRPr lang="de-CH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348DA60-A977-4161-9924-C2E894E956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motion</a:t>
            </a:r>
            <a:r>
              <a:rPr lang="de-CH" dirty="0"/>
              <a:t>?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636D16C-7382-4A28-BE63-5DBBEE2B7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Communication </a:t>
            </a:r>
            <a:r>
              <a:rPr lang="de-CH" dirty="0" err="1"/>
              <a:t>to</a:t>
            </a:r>
            <a:r>
              <a:rPr lang="de-CH" dirty="0"/>
              <a:t> OST </a:t>
            </a:r>
            <a:r>
              <a:rPr lang="de-CH" dirty="0" err="1"/>
              <a:t>students</a:t>
            </a:r>
            <a:r>
              <a:rPr lang="de-CH" dirty="0"/>
              <a:t> via </a:t>
            </a:r>
            <a:r>
              <a:rPr lang="de-CH" dirty="0" err="1"/>
              <a:t>classes</a:t>
            </a:r>
            <a:r>
              <a:rPr lang="de-CH" dirty="0"/>
              <a:t> </a:t>
            </a:r>
            <a:r>
              <a:rPr lang="de-CH" dirty="0" err="1"/>
              <a:t>utiliz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mart </a:t>
            </a:r>
            <a:r>
              <a:rPr lang="de-CH" dirty="0" err="1"/>
              <a:t>factory</a:t>
            </a:r>
            <a:r>
              <a:rPr lang="de-CH" dirty="0"/>
              <a:t>, </a:t>
            </a:r>
            <a:r>
              <a:rPr lang="de-CH" dirty="0" err="1"/>
              <a:t>to</a:t>
            </a:r>
            <a:r>
              <a:rPr lang="de-CH" dirty="0"/>
              <a:t> OST </a:t>
            </a:r>
            <a:r>
              <a:rPr lang="de-CH" dirty="0" err="1"/>
              <a:t>staff</a:t>
            </a:r>
            <a:r>
              <a:rPr lang="de-CH" dirty="0"/>
              <a:t> via </a:t>
            </a:r>
            <a:r>
              <a:rPr lang="de-CH" dirty="0" err="1"/>
              <a:t>intranet</a:t>
            </a:r>
            <a:endParaRPr lang="de-CH" dirty="0"/>
          </a:p>
        </p:txBody>
      </p:sp>
      <p:pic>
        <p:nvPicPr>
          <p:cNvPr id="33" name="Inhaltsplatzhalter 32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B41E3F11-2FFC-4C62-9E16-4DAA43DA5822}"/>
              </a:ext>
            </a:extLst>
          </p:cNvPr>
          <p:cNvPicPr>
            <a:picLocks noGrp="1" noChangeAspect="1"/>
          </p:cNvPicPr>
          <p:nvPr>
            <p:ph sz="quarter" idx="25"/>
          </p:nvPr>
        </p:nvPicPr>
        <p:blipFill>
          <a:blip r:embed="rId5"/>
          <a:stretch>
            <a:fillRect/>
          </a:stretch>
        </p:blipFill>
        <p:spPr>
          <a:xfrm>
            <a:off x="806449" y="1999015"/>
            <a:ext cx="3917950" cy="2611314"/>
          </a:xfrm>
        </p:spPr>
      </p:pic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A62886CF-D345-4F06-8F2F-0D11511630E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494463" y="4889912"/>
            <a:ext cx="5364163" cy="131086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/>
              <a:t>Regular </a:t>
            </a:r>
            <a:r>
              <a:rPr lang="de-CH" sz="1400" dirty="0" err="1"/>
              <a:t>announcements</a:t>
            </a:r>
            <a:r>
              <a:rPr lang="de-CH" sz="1400" dirty="0"/>
              <a:t> on </a:t>
            </a:r>
            <a:r>
              <a:rPr lang="de-CH" sz="1400" dirty="0" err="1"/>
              <a:t>the</a:t>
            </a:r>
            <a:r>
              <a:rPr lang="de-CH" sz="1400" dirty="0"/>
              <a:t> </a:t>
            </a:r>
            <a:r>
              <a:rPr lang="de-CH" sz="1400" dirty="0" err="1"/>
              <a:t>intranet</a:t>
            </a:r>
            <a:r>
              <a:rPr lang="de-CH" sz="1400" dirty="0"/>
              <a:t> </a:t>
            </a:r>
            <a:r>
              <a:rPr lang="de-CH" sz="1400" dirty="0" err="1"/>
              <a:t>does</a:t>
            </a:r>
            <a:r>
              <a:rPr lang="de-CH" sz="1400" dirty="0"/>
              <a:t> not </a:t>
            </a:r>
            <a:r>
              <a:rPr lang="de-CH" sz="1400" dirty="0" err="1"/>
              <a:t>create</a:t>
            </a:r>
            <a:r>
              <a:rPr lang="de-CH" sz="1400" dirty="0"/>
              <a:t> </a:t>
            </a:r>
            <a:r>
              <a:rPr lang="de-CH" sz="1400" dirty="0" err="1"/>
              <a:t>any</a:t>
            </a:r>
            <a:r>
              <a:rPr lang="de-CH" sz="1400" dirty="0"/>
              <a:t> </a:t>
            </a:r>
            <a:r>
              <a:rPr lang="de-CH" sz="1400" dirty="0" err="1"/>
              <a:t>cost</a:t>
            </a:r>
            <a:r>
              <a:rPr lang="de-CH" sz="1400" dirty="0"/>
              <a:t> and </a:t>
            </a:r>
            <a:r>
              <a:rPr lang="de-CH" sz="1400" dirty="0" err="1"/>
              <a:t>should</a:t>
            </a:r>
            <a:r>
              <a:rPr lang="de-CH" sz="1400" dirty="0"/>
              <a:t> </a:t>
            </a:r>
            <a:r>
              <a:rPr lang="de-CH" sz="1400" dirty="0" err="1"/>
              <a:t>reach</a:t>
            </a:r>
            <a:r>
              <a:rPr lang="de-CH" sz="1400" dirty="0"/>
              <a:t> a high </a:t>
            </a:r>
            <a:r>
              <a:rPr lang="de-CH" sz="1400" dirty="0" err="1"/>
              <a:t>share</a:t>
            </a:r>
            <a:r>
              <a:rPr lang="de-CH" sz="1400" dirty="0"/>
              <a:t> </a:t>
            </a:r>
            <a:r>
              <a:rPr lang="de-CH" sz="1400" dirty="0" err="1"/>
              <a:t>of</a:t>
            </a:r>
            <a:r>
              <a:rPr lang="de-CH" sz="1400" dirty="0"/>
              <a:t> </a:t>
            </a:r>
            <a:r>
              <a:rPr lang="de-CH" sz="1400" dirty="0" err="1"/>
              <a:t>employees</a:t>
            </a:r>
            <a:endParaRPr lang="de-CH" sz="14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 err="1"/>
              <a:t>No</a:t>
            </a:r>
            <a:r>
              <a:rPr lang="de-CH" sz="1400" dirty="0"/>
              <a:t> </a:t>
            </a:r>
            <a:r>
              <a:rPr lang="de-CH" sz="1400" dirty="0" err="1"/>
              <a:t>further</a:t>
            </a:r>
            <a:r>
              <a:rPr lang="de-CH" sz="1400" dirty="0"/>
              <a:t> </a:t>
            </a:r>
            <a:r>
              <a:rPr lang="de-CH" sz="1400" dirty="0" err="1"/>
              <a:t>promotion</a:t>
            </a:r>
            <a:r>
              <a:rPr lang="de-CH" sz="1400" dirty="0"/>
              <a:t> </a:t>
            </a:r>
            <a:r>
              <a:rPr lang="de-CH" sz="1400" dirty="0" err="1"/>
              <a:t>to</a:t>
            </a:r>
            <a:r>
              <a:rPr lang="de-CH" sz="1400" dirty="0"/>
              <a:t> </a:t>
            </a:r>
            <a:r>
              <a:rPr lang="de-CH" sz="1400" dirty="0" err="1"/>
              <a:t>avoid</a:t>
            </a:r>
            <a:r>
              <a:rPr lang="de-CH" sz="1400" dirty="0"/>
              <a:t> </a:t>
            </a:r>
            <a:r>
              <a:rPr lang="de-CH" sz="1400" dirty="0" err="1"/>
              <a:t>cost</a:t>
            </a:r>
            <a:endParaRPr lang="de-CH" sz="14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de-CH" sz="1600" dirty="0"/>
          </a:p>
        </p:txBody>
      </p:sp>
      <p:sp>
        <p:nvSpPr>
          <p:cNvPr id="34" name="Inhaltsplatzhalter 26">
            <a:extLst>
              <a:ext uri="{FF2B5EF4-FFF2-40B4-BE49-F238E27FC236}">
                <a16:creationId xmlns:a16="http://schemas.microsoft.com/office/drawing/2014/main" id="{68E82893-5F27-4C2B-8CAB-F3134535E186}"/>
              </a:ext>
            </a:extLst>
          </p:cNvPr>
          <p:cNvSpPr txBox="1">
            <a:spLocks/>
          </p:cNvSpPr>
          <p:nvPr/>
        </p:nvSpPr>
        <p:spPr>
          <a:xfrm>
            <a:off x="735012" y="4727962"/>
            <a:ext cx="5364163" cy="1260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9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marR="0" indent="-252000" algn="l" defTabSz="609768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61118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609768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609768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 err="1"/>
              <a:t>Direct</a:t>
            </a:r>
            <a:r>
              <a:rPr lang="de-CH" sz="1400" dirty="0"/>
              <a:t> </a:t>
            </a:r>
            <a:r>
              <a:rPr lang="de-CH" sz="1400" dirty="0" err="1"/>
              <a:t>communication</a:t>
            </a:r>
            <a:r>
              <a:rPr lang="de-CH" sz="1400" dirty="0"/>
              <a:t> </a:t>
            </a:r>
            <a:r>
              <a:rPr lang="de-CH" sz="1400" dirty="0" err="1"/>
              <a:t>to</a:t>
            </a:r>
            <a:r>
              <a:rPr lang="de-CH" sz="1400" dirty="0"/>
              <a:t> </a:t>
            </a:r>
            <a:r>
              <a:rPr lang="de-CH" sz="1400" dirty="0" err="1"/>
              <a:t>classes</a:t>
            </a:r>
            <a:r>
              <a:rPr lang="de-CH" sz="1400" dirty="0"/>
              <a:t> </a:t>
            </a:r>
            <a:r>
              <a:rPr lang="de-CH" sz="1400" dirty="0" err="1"/>
              <a:t>that</a:t>
            </a:r>
            <a:r>
              <a:rPr lang="de-CH" sz="1400" dirty="0"/>
              <a:t> </a:t>
            </a:r>
            <a:r>
              <a:rPr lang="de-CH" sz="1400" dirty="0" err="1"/>
              <a:t>utilize</a:t>
            </a:r>
            <a:r>
              <a:rPr lang="de-CH" sz="1400" dirty="0"/>
              <a:t> </a:t>
            </a:r>
            <a:r>
              <a:rPr lang="de-CH" sz="1400" dirty="0" err="1"/>
              <a:t>the</a:t>
            </a:r>
            <a:r>
              <a:rPr lang="de-CH" sz="1400" dirty="0"/>
              <a:t> smart </a:t>
            </a:r>
            <a:r>
              <a:rPr lang="de-CH" sz="1400" dirty="0" err="1"/>
              <a:t>factory</a:t>
            </a:r>
            <a:r>
              <a:rPr lang="de-CH" sz="1400" dirty="0"/>
              <a:t> </a:t>
            </a:r>
            <a:r>
              <a:rPr lang="de-CH" sz="1400" dirty="0" err="1"/>
              <a:t>does</a:t>
            </a:r>
            <a:r>
              <a:rPr lang="de-CH" sz="1400" dirty="0"/>
              <a:t> not </a:t>
            </a:r>
            <a:r>
              <a:rPr lang="de-CH" sz="1400" dirty="0" err="1"/>
              <a:t>create</a:t>
            </a:r>
            <a:r>
              <a:rPr lang="de-CH" sz="1400" dirty="0"/>
              <a:t> </a:t>
            </a:r>
            <a:r>
              <a:rPr lang="de-CH" sz="1400" dirty="0" err="1"/>
              <a:t>any</a:t>
            </a:r>
            <a:r>
              <a:rPr lang="de-CH" sz="1400" dirty="0"/>
              <a:t> </a:t>
            </a:r>
            <a:r>
              <a:rPr lang="de-CH" sz="1400" dirty="0" err="1"/>
              <a:t>cost</a:t>
            </a:r>
            <a:r>
              <a:rPr lang="de-CH" sz="1400" dirty="0"/>
              <a:t> 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 err="1"/>
              <a:t>Students</a:t>
            </a:r>
            <a:r>
              <a:rPr lang="de-CH" sz="1400" dirty="0"/>
              <a:t> </a:t>
            </a:r>
            <a:r>
              <a:rPr lang="de-CH" sz="1400" dirty="0" err="1"/>
              <a:t>who</a:t>
            </a:r>
            <a:r>
              <a:rPr lang="de-CH" sz="1400" dirty="0"/>
              <a:t> </a:t>
            </a:r>
            <a:r>
              <a:rPr lang="de-CH" sz="1400" dirty="0" err="1"/>
              <a:t>have</a:t>
            </a:r>
            <a:r>
              <a:rPr lang="de-CH" sz="1400" dirty="0"/>
              <a:t> </a:t>
            </a:r>
            <a:r>
              <a:rPr lang="de-CH" sz="1400" dirty="0" err="1"/>
              <a:t>had</a:t>
            </a:r>
            <a:r>
              <a:rPr lang="de-CH" sz="1400" dirty="0"/>
              <a:t> </a:t>
            </a:r>
            <a:r>
              <a:rPr lang="de-CH" sz="1400" dirty="0" err="1"/>
              <a:t>classes</a:t>
            </a:r>
            <a:r>
              <a:rPr lang="de-CH" sz="1400" dirty="0"/>
              <a:t> in </a:t>
            </a:r>
            <a:r>
              <a:rPr lang="de-CH" sz="1400" dirty="0" err="1"/>
              <a:t>the</a:t>
            </a:r>
            <a:r>
              <a:rPr lang="de-CH" sz="1400" dirty="0"/>
              <a:t> smart </a:t>
            </a:r>
            <a:r>
              <a:rPr lang="de-CH" sz="1400" dirty="0" err="1"/>
              <a:t>factory</a:t>
            </a:r>
            <a:r>
              <a:rPr lang="de-CH" sz="1400" dirty="0"/>
              <a:t> </a:t>
            </a:r>
            <a:r>
              <a:rPr lang="de-CH" sz="1400" dirty="0" err="1"/>
              <a:t>are</a:t>
            </a:r>
            <a:r>
              <a:rPr lang="de-CH" sz="1400" dirty="0"/>
              <a:t> </a:t>
            </a:r>
            <a:r>
              <a:rPr lang="de-CH" sz="1400" dirty="0" err="1"/>
              <a:t>more</a:t>
            </a:r>
            <a:r>
              <a:rPr lang="de-CH" sz="1400" dirty="0"/>
              <a:t> </a:t>
            </a:r>
            <a:r>
              <a:rPr lang="de-CH" sz="1400" dirty="0" err="1"/>
              <a:t>likely</a:t>
            </a:r>
            <a:r>
              <a:rPr lang="de-CH" sz="1400" dirty="0"/>
              <a:t> </a:t>
            </a:r>
            <a:r>
              <a:rPr lang="de-CH" sz="1400" dirty="0" err="1"/>
              <a:t>to</a:t>
            </a:r>
            <a:r>
              <a:rPr lang="de-CH" sz="1400" dirty="0"/>
              <a:t> </a:t>
            </a:r>
            <a:r>
              <a:rPr lang="de-CH" sz="1400" dirty="0" err="1"/>
              <a:t>be</a:t>
            </a:r>
            <a:r>
              <a:rPr lang="de-CH" sz="1400" dirty="0"/>
              <a:t> </a:t>
            </a:r>
            <a:r>
              <a:rPr lang="de-CH" sz="1400" dirty="0" err="1"/>
              <a:t>interested</a:t>
            </a:r>
            <a:r>
              <a:rPr lang="de-CH" sz="1400" dirty="0"/>
              <a:t> in </a:t>
            </a:r>
            <a:r>
              <a:rPr lang="de-CH" sz="1400" dirty="0" err="1"/>
              <a:t>the</a:t>
            </a:r>
            <a:r>
              <a:rPr lang="de-CH" sz="1400" dirty="0"/>
              <a:t> </a:t>
            </a:r>
            <a:r>
              <a:rPr lang="de-CH" sz="1400" dirty="0" err="1"/>
              <a:t>product</a:t>
            </a:r>
            <a:endParaRPr lang="de-CH" sz="14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CH" sz="1400" dirty="0" err="1"/>
              <a:t>No</a:t>
            </a:r>
            <a:r>
              <a:rPr lang="de-CH" sz="1400" dirty="0"/>
              <a:t> </a:t>
            </a:r>
            <a:r>
              <a:rPr lang="de-CH" sz="1400" dirty="0" err="1"/>
              <a:t>further</a:t>
            </a:r>
            <a:r>
              <a:rPr lang="de-CH" sz="1400" dirty="0"/>
              <a:t> </a:t>
            </a:r>
            <a:r>
              <a:rPr lang="de-CH" sz="1400" dirty="0" err="1"/>
              <a:t>promotion</a:t>
            </a:r>
            <a:r>
              <a:rPr lang="de-CH" sz="1400" dirty="0"/>
              <a:t> </a:t>
            </a:r>
            <a:r>
              <a:rPr lang="de-CH" sz="1400" dirty="0" err="1"/>
              <a:t>to</a:t>
            </a:r>
            <a:r>
              <a:rPr lang="de-CH" sz="1400" dirty="0"/>
              <a:t> </a:t>
            </a:r>
            <a:r>
              <a:rPr lang="de-CH" sz="1400" dirty="0" err="1"/>
              <a:t>avoid</a:t>
            </a:r>
            <a:r>
              <a:rPr lang="de-CH" sz="1400" dirty="0"/>
              <a:t> </a:t>
            </a:r>
            <a:r>
              <a:rPr lang="de-CH" sz="1400" dirty="0" err="1"/>
              <a:t>cost</a:t>
            </a:r>
            <a:endParaRPr lang="de-CH" sz="1400" dirty="0"/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5797B773-CA9E-42E2-B984-B149ED3857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29389" y="2183567"/>
            <a:ext cx="5262561" cy="242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3513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CE2C6DB-437C-42E1-90D9-976C22B1B2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6830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CE2C6DB-437C-42E1-90D9-976C22B1B2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1DA7AB7-CB7A-421F-8F93-5FB447549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/>
              <a:t>As </a:t>
            </a:r>
            <a:r>
              <a:rPr lang="de-CH" dirty="0" err="1"/>
              <a:t>produc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mart </a:t>
            </a:r>
            <a:r>
              <a:rPr lang="de-CH" dirty="0" err="1"/>
              <a:t>factory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opo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br>
              <a:rPr lang="de-CH" dirty="0"/>
            </a:br>
            <a:r>
              <a:rPr lang="de-CH" dirty="0"/>
              <a:t>«OST-Gadget», a </a:t>
            </a:r>
            <a:r>
              <a:rPr lang="de-CH" dirty="0" err="1"/>
              <a:t>wireless</a:t>
            </a:r>
            <a:r>
              <a:rPr lang="de-CH" dirty="0"/>
              <a:t> </a:t>
            </a:r>
            <a:r>
              <a:rPr lang="de-CH" dirty="0" err="1"/>
              <a:t>charg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phone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CC5889-B3B9-47CF-96E0-7AA605AA00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-Gadget»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D0F097E-5E99-4225-AC79-E744FB92482D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ase Study OST-Gadget Sample Solution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042341B-8D25-428D-AFF4-EB547754BB2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5</a:t>
            </a:fld>
            <a:endParaRPr lang="en-US" noProof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FF531EC7-A5AE-4CB6-9155-1CD947F60B0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941622" y="2179806"/>
            <a:ext cx="4918490" cy="3460327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76BC58B4-8296-4FBF-85D7-E0956C2A24C5}"/>
              </a:ext>
            </a:extLst>
          </p:cNvPr>
          <p:cNvSpPr txBox="1"/>
          <p:nvPr/>
        </p:nvSpPr>
        <p:spPr>
          <a:xfrm>
            <a:off x="6250250" y="3286120"/>
            <a:ext cx="1685152" cy="1645920"/>
          </a:xfrm>
          <a:prstGeom prst="rect">
            <a:avLst/>
          </a:prstGeom>
          <a:noFill/>
        </p:spPr>
        <p:txBody>
          <a:bodyPr wrap="none" lIns="108000" tIns="36000" rIns="108000" bIns="108000" rtlCol="0">
            <a:normAutofit/>
          </a:bodyPr>
          <a:lstStyle/>
          <a:p>
            <a:pPr algn="l">
              <a:spcAft>
                <a:spcPts val="600"/>
              </a:spcAft>
              <a:buClr>
                <a:schemeClr val="tx2"/>
              </a:buClr>
            </a:pPr>
            <a:r>
              <a:rPr lang="de-CH" sz="2000" dirty="0">
                <a:ea typeface="Roboto Medium" panose="02000000000000000000" pitchFamily="2" charset="0"/>
              </a:rPr>
              <a:t>The OST-Gadget </a:t>
            </a:r>
            <a:r>
              <a:rPr lang="de-CH" sz="2000" dirty="0" err="1">
                <a:ea typeface="Roboto Medium" panose="02000000000000000000" pitchFamily="2" charset="0"/>
              </a:rPr>
              <a:t>is</a:t>
            </a:r>
            <a:r>
              <a:rPr lang="de-CH" sz="2000" dirty="0">
                <a:ea typeface="Roboto Medium" panose="02000000000000000000" pitchFamily="2" charset="0"/>
              </a:rPr>
              <a:t> a </a:t>
            </a:r>
            <a:r>
              <a:rPr lang="de-CH" sz="2000" dirty="0" err="1">
                <a:ea typeface="Roboto Medium" panose="02000000000000000000" pitchFamily="2" charset="0"/>
              </a:rPr>
              <a:t>wireless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r>
              <a:rPr lang="de-CH" sz="2000" dirty="0" err="1">
                <a:ea typeface="Roboto Medium" panose="02000000000000000000" pitchFamily="2" charset="0"/>
              </a:rPr>
              <a:t>charger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r>
              <a:rPr lang="de-CH" sz="2000" dirty="0" err="1">
                <a:ea typeface="Roboto Medium" panose="02000000000000000000" pitchFamily="2" charset="0"/>
              </a:rPr>
              <a:t>for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br>
              <a:rPr lang="de-CH" sz="2000" dirty="0">
                <a:ea typeface="Roboto Medium" panose="02000000000000000000" pitchFamily="2" charset="0"/>
              </a:rPr>
            </a:br>
            <a:r>
              <a:rPr lang="de-CH" sz="2000" dirty="0" err="1">
                <a:ea typeface="Roboto Medium" panose="02000000000000000000" pitchFamily="2" charset="0"/>
              </a:rPr>
              <a:t>your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r>
              <a:rPr lang="de-CH" sz="2000" dirty="0" err="1">
                <a:ea typeface="Roboto Medium" panose="02000000000000000000" pitchFamily="2" charset="0"/>
              </a:rPr>
              <a:t>smartphone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r>
              <a:rPr lang="de-CH" sz="2000" dirty="0" err="1">
                <a:ea typeface="Roboto Medium" panose="02000000000000000000" pitchFamily="2" charset="0"/>
              </a:rPr>
              <a:t>or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r>
              <a:rPr lang="de-CH" sz="2000" dirty="0" err="1">
                <a:ea typeface="Roboto Medium" panose="02000000000000000000" pitchFamily="2" charset="0"/>
              </a:rPr>
              <a:t>any</a:t>
            </a:r>
            <a:r>
              <a:rPr lang="de-CH" sz="2000" dirty="0">
                <a:ea typeface="Roboto Medium" panose="02000000000000000000" pitchFamily="2" charset="0"/>
              </a:rPr>
              <a:t> </a:t>
            </a:r>
            <a:r>
              <a:rPr lang="de-CH" sz="2000" dirty="0" err="1">
                <a:ea typeface="Roboto Medium" panose="02000000000000000000" pitchFamily="2" charset="0"/>
              </a:rPr>
              <a:t>other</a:t>
            </a:r>
            <a:r>
              <a:rPr lang="de-CH" sz="2000" dirty="0">
                <a:ea typeface="Roboto Medium" panose="02000000000000000000" pitchFamily="2" charset="0"/>
              </a:rPr>
              <a:t> Qi-</a:t>
            </a:r>
            <a:r>
              <a:rPr lang="de-CH" sz="2000" dirty="0" err="1">
                <a:ea typeface="Roboto Medium" panose="02000000000000000000" pitchFamily="2" charset="0"/>
              </a:rPr>
              <a:t>compatible</a:t>
            </a:r>
            <a:br>
              <a:rPr lang="de-CH" sz="2000" dirty="0">
                <a:ea typeface="Roboto Medium" panose="02000000000000000000" pitchFamily="2" charset="0"/>
              </a:rPr>
            </a:br>
            <a:r>
              <a:rPr lang="de-CH" sz="2000" dirty="0" err="1">
                <a:ea typeface="Roboto Medium" panose="02000000000000000000" pitchFamily="2" charset="0"/>
              </a:rPr>
              <a:t>device</a:t>
            </a:r>
            <a:r>
              <a:rPr lang="de-CH" sz="2000" dirty="0">
                <a:ea typeface="Roboto Medium" panose="02000000000000000000" pitchFamily="2" charset="0"/>
              </a:rPr>
              <a:t>. </a:t>
            </a:r>
          </a:p>
          <a:p>
            <a:pPr algn="l">
              <a:spcAft>
                <a:spcPts val="600"/>
              </a:spcAft>
              <a:buClr>
                <a:schemeClr val="tx2"/>
              </a:buClr>
            </a:pPr>
            <a:endParaRPr lang="de-CH" sz="2000" dirty="0"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40592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9E74261-E511-44ED-9C0A-31E2001EFA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90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9E74261-E511-44ED-9C0A-31E2001EF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5F0577-92AB-42F5-9C50-439DCF76F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proposal</a:t>
            </a:r>
            <a:r>
              <a:rPr lang="de-CH" dirty="0"/>
              <a:t> </a:t>
            </a:r>
            <a:r>
              <a:rPr lang="de-CH" dirty="0" err="1"/>
              <a:t>meets</a:t>
            </a:r>
            <a:r>
              <a:rPr lang="de-CH" dirty="0"/>
              <a:t> all </a:t>
            </a:r>
            <a:r>
              <a:rPr lang="de-CH" dirty="0" err="1"/>
              <a:t>defined</a:t>
            </a:r>
            <a:r>
              <a:rPr lang="de-CH" dirty="0"/>
              <a:t> </a:t>
            </a:r>
            <a:r>
              <a:rPr lang="de-CH" dirty="0" err="1"/>
              <a:t>product</a:t>
            </a:r>
            <a:r>
              <a:rPr lang="de-CH" dirty="0"/>
              <a:t> </a:t>
            </a:r>
            <a:r>
              <a:rPr lang="de-CH" dirty="0" err="1"/>
              <a:t>requirements</a:t>
            </a:r>
            <a:r>
              <a:rPr lang="de-CH" dirty="0"/>
              <a:t>,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ocu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emonstrat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mart </a:t>
            </a:r>
            <a:r>
              <a:rPr lang="de-CH" dirty="0" err="1"/>
              <a:t>factory’s</a:t>
            </a:r>
            <a:r>
              <a:rPr lang="de-CH" dirty="0"/>
              <a:t> </a:t>
            </a:r>
            <a:r>
              <a:rPr lang="de-CH" dirty="0" err="1"/>
              <a:t>competencie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514D36-7518-4046-9DBB-36D34A9A8F0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OST-Gadget»?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63CA2AE-A73A-4C24-B1C1-8D4E53AE347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806450" y="6454845"/>
            <a:ext cx="5364163" cy="332663"/>
          </a:xfrm>
          <a:prstGeom prst="rect">
            <a:avLst/>
          </a:prstGeom>
        </p:spPr>
        <p:txBody>
          <a:bodyPr lIns="108000" tIns="0" rIns="0" bIns="0"/>
          <a:lstStyle>
            <a:defPPr>
              <a:defRPr lang="de-DE"/>
            </a:defPPr>
            <a:lvl1pPr marL="0" algn="l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ase Study OST-Gadget Sample Solution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BCA266E-28ED-407A-921E-1C66F72ED00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68996" y="6453187"/>
            <a:ext cx="537454" cy="179387"/>
          </a:xfrm>
          <a:prstGeom prst="rect">
            <a:avLst/>
          </a:prstGeom>
        </p:spPr>
        <p:txBody>
          <a:bodyPr lIns="0" tIns="0" rIns="108000" bIns="0"/>
          <a:lstStyle>
            <a:defPPr>
              <a:defRPr lang="de-DE"/>
            </a:defPPr>
            <a:lvl1pPr marL="0" algn="r" defTabSz="609768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algn="l" defTabSz="6097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AC321B-7500-4259-A00F-915439A35E15}" type="slidenum">
              <a:rPr lang="en-US" smtClean="0"/>
              <a:pPr/>
              <a:t>6</a:t>
            </a:fld>
            <a:endParaRPr lang="en-US" noProof="0"/>
          </a:p>
        </p:txBody>
      </p:sp>
      <p:pic>
        <p:nvPicPr>
          <p:cNvPr id="14" name="Picture 10">
            <a:extLst>
              <a:ext uri="{FF2B5EF4-FFF2-40B4-BE49-F238E27FC236}">
                <a16:creationId xmlns:a16="http://schemas.microsoft.com/office/drawing/2014/main" id="{1C9FEAAD-2FD4-405B-9AEA-30F33355486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4" r="16047" b="5713"/>
          <a:stretch/>
        </p:blipFill>
        <p:spPr>
          <a:xfrm>
            <a:off x="4526845" y="2821014"/>
            <a:ext cx="3233048" cy="2274560"/>
          </a:xfrm>
          <a:prstGeom prst="rect">
            <a:avLst/>
          </a:prstGeom>
        </p:spPr>
      </p:pic>
      <p:grpSp>
        <p:nvGrpSpPr>
          <p:cNvPr id="17" name="Grupo 275">
            <a:extLst>
              <a:ext uri="{FF2B5EF4-FFF2-40B4-BE49-F238E27FC236}">
                <a16:creationId xmlns:a16="http://schemas.microsoft.com/office/drawing/2014/main" id="{C1554F35-C440-4684-A54E-C322BF650523}"/>
              </a:ext>
            </a:extLst>
          </p:cNvPr>
          <p:cNvGrpSpPr/>
          <p:nvPr/>
        </p:nvGrpSpPr>
        <p:grpSpPr>
          <a:xfrm>
            <a:off x="1800362" y="2101140"/>
            <a:ext cx="2844823" cy="822306"/>
            <a:chOff x="4247967" y="10486870"/>
            <a:chExt cx="4254270" cy="1906786"/>
          </a:xfrm>
        </p:grpSpPr>
        <p:sp>
          <p:nvSpPr>
            <p:cNvPr id="18" name="CuadroTexto 395">
              <a:extLst>
                <a:ext uri="{FF2B5EF4-FFF2-40B4-BE49-F238E27FC236}">
                  <a16:creationId xmlns:a16="http://schemas.microsoft.com/office/drawing/2014/main" id="{D02F6448-537D-4837-9EB8-67707595DE1C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Useful</a:t>
              </a:r>
            </a:p>
          </p:txBody>
        </p:sp>
        <p:sp>
          <p:nvSpPr>
            <p:cNvPr id="19" name="Rectangle 40">
              <a:extLst>
                <a:ext uri="{FF2B5EF4-FFF2-40B4-BE49-F238E27FC236}">
                  <a16:creationId xmlns:a16="http://schemas.microsoft.com/office/drawing/2014/main" id="{AECE640D-36AF-4D5A-9758-0C6E5B0FBE3E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400" dirty="0"/>
                <a:t>The </a:t>
              </a:r>
              <a:r>
                <a:rPr lang="de-CH" sz="1400" dirty="0" err="1"/>
                <a:t>product</a:t>
              </a:r>
              <a:r>
                <a:rPr lang="de-CH" sz="1400" dirty="0"/>
                <a:t> must </a:t>
              </a:r>
              <a:r>
                <a:rPr lang="de-CH" sz="1400" dirty="0" err="1"/>
                <a:t>be</a:t>
              </a:r>
              <a:r>
                <a:rPr lang="de-CH" sz="1400" dirty="0"/>
                <a:t> </a:t>
              </a:r>
              <a:r>
                <a:rPr lang="de-CH" sz="1400" dirty="0" err="1"/>
                <a:t>useful</a:t>
              </a:r>
              <a:r>
                <a:rPr lang="de-CH" sz="1400" dirty="0"/>
                <a:t> – </a:t>
              </a:r>
              <a:r>
                <a:rPr lang="de-CH" sz="1400" dirty="0" err="1"/>
                <a:t>you</a:t>
              </a:r>
              <a:r>
                <a:rPr lang="de-CH" sz="1400" dirty="0"/>
                <a:t> </a:t>
              </a:r>
              <a:r>
                <a:rPr lang="de-CH" sz="1400" dirty="0" err="1"/>
                <a:t>need</a:t>
              </a:r>
              <a:r>
                <a:rPr lang="de-CH" sz="1400" dirty="0"/>
                <a:t> </a:t>
              </a:r>
              <a:r>
                <a:rPr lang="de-CH" sz="1400" dirty="0" err="1"/>
                <a:t>to</a:t>
              </a:r>
              <a:r>
                <a:rPr lang="de-CH" sz="1400" dirty="0"/>
                <a:t> </a:t>
              </a:r>
              <a:r>
                <a:rPr lang="de-CH" sz="1400" dirty="0" err="1"/>
                <a:t>want</a:t>
              </a:r>
              <a:r>
                <a:rPr lang="de-CH" sz="1400" dirty="0"/>
                <a:t> </a:t>
              </a:r>
              <a:r>
                <a:rPr lang="de-CH" sz="1400" dirty="0" err="1"/>
                <a:t>to</a:t>
              </a:r>
              <a:r>
                <a:rPr lang="de-CH" sz="1400" dirty="0"/>
                <a:t> </a:t>
              </a:r>
              <a:r>
                <a:rPr lang="de-CH" sz="1400" dirty="0" err="1"/>
                <a:t>have</a:t>
              </a:r>
              <a:r>
                <a:rPr lang="de-CH" sz="1400" dirty="0"/>
                <a:t> </a:t>
              </a:r>
              <a:r>
                <a:rPr lang="de-CH" sz="1400" dirty="0" err="1"/>
                <a:t>it!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20" name="Grupo 275">
            <a:extLst>
              <a:ext uri="{FF2B5EF4-FFF2-40B4-BE49-F238E27FC236}">
                <a16:creationId xmlns:a16="http://schemas.microsoft.com/office/drawing/2014/main" id="{B043EF9A-B338-4BF3-973D-66DCB51AF4AE}"/>
              </a:ext>
            </a:extLst>
          </p:cNvPr>
          <p:cNvGrpSpPr/>
          <p:nvPr/>
        </p:nvGrpSpPr>
        <p:grpSpPr>
          <a:xfrm>
            <a:off x="1392951" y="3401064"/>
            <a:ext cx="2844823" cy="822306"/>
            <a:chOff x="4247967" y="10486870"/>
            <a:chExt cx="4254270" cy="1906786"/>
          </a:xfrm>
        </p:grpSpPr>
        <p:sp>
          <p:nvSpPr>
            <p:cNvPr id="21" name="CuadroTexto 395">
              <a:extLst>
                <a:ext uri="{FF2B5EF4-FFF2-40B4-BE49-F238E27FC236}">
                  <a16:creationId xmlns:a16="http://schemas.microsoft.com/office/drawing/2014/main" id="{7BC2537A-32F5-4D48-B57D-43ED26612294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More than an app</a:t>
              </a:r>
            </a:p>
          </p:txBody>
        </p:sp>
        <p:sp>
          <p:nvSpPr>
            <p:cNvPr id="22" name="Rectangle 40">
              <a:extLst>
                <a:ext uri="{FF2B5EF4-FFF2-40B4-BE49-F238E27FC236}">
                  <a16:creationId xmlns:a16="http://schemas.microsoft.com/office/drawing/2014/main" id="{407A3CF8-F254-4DB6-8097-AEDBDEC01E5A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CH" sz="1400" dirty="0"/>
                <a:t>The </a:t>
              </a:r>
              <a:r>
                <a:rPr lang="de-CH" sz="1400" dirty="0" err="1"/>
                <a:t>function</a:t>
              </a:r>
              <a:r>
                <a:rPr lang="de-CH" sz="1400" dirty="0"/>
                <a:t> </a:t>
              </a:r>
              <a:r>
                <a:rPr lang="de-CH" sz="1400" dirty="0" err="1"/>
                <a:t>of</a:t>
              </a:r>
              <a:r>
                <a:rPr lang="de-CH" sz="1400" dirty="0"/>
                <a:t> </a:t>
              </a:r>
              <a:r>
                <a:rPr lang="de-CH" sz="1400" dirty="0" err="1"/>
                <a:t>the</a:t>
              </a:r>
              <a:r>
                <a:rPr lang="de-CH" sz="1400" dirty="0"/>
                <a:t> </a:t>
              </a:r>
              <a:r>
                <a:rPr lang="de-CH" sz="1400" dirty="0" err="1"/>
                <a:t>product</a:t>
              </a:r>
              <a:r>
                <a:rPr lang="de-CH" sz="1400" dirty="0"/>
                <a:t> must </a:t>
              </a:r>
              <a:r>
                <a:rPr lang="de-CH" sz="1400" b="1" u="sng" dirty="0"/>
                <a:t>not</a:t>
              </a:r>
              <a:r>
                <a:rPr lang="de-CH" sz="1400" dirty="0"/>
                <a:t> </a:t>
              </a:r>
              <a:r>
                <a:rPr lang="de-CH" sz="1400" dirty="0" err="1"/>
                <a:t>be</a:t>
              </a:r>
              <a:r>
                <a:rPr lang="de-CH" sz="1400" dirty="0"/>
                <a:t> </a:t>
              </a:r>
              <a:r>
                <a:rPr lang="de-CH" sz="1400" dirty="0" err="1"/>
                <a:t>replaceable</a:t>
              </a:r>
              <a:r>
                <a:rPr lang="de-CH" sz="1400" dirty="0"/>
                <a:t> </a:t>
              </a:r>
              <a:r>
                <a:rPr lang="de-CH" sz="1400" dirty="0" err="1"/>
                <a:t>by</a:t>
              </a:r>
              <a:r>
                <a:rPr lang="de-CH" sz="1400" dirty="0"/>
                <a:t> an </a:t>
              </a:r>
              <a:r>
                <a:rPr lang="de-CH" sz="1400" dirty="0" err="1"/>
                <a:t>app</a:t>
              </a:r>
              <a:r>
                <a:rPr lang="de-CH" sz="1400" dirty="0"/>
                <a:t>.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23" name="Grupo 275">
            <a:extLst>
              <a:ext uri="{FF2B5EF4-FFF2-40B4-BE49-F238E27FC236}">
                <a16:creationId xmlns:a16="http://schemas.microsoft.com/office/drawing/2014/main" id="{D551B955-0422-417B-9D27-86415C9D1DA4}"/>
              </a:ext>
            </a:extLst>
          </p:cNvPr>
          <p:cNvGrpSpPr/>
          <p:nvPr/>
        </p:nvGrpSpPr>
        <p:grpSpPr>
          <a:xfrm>
            <a:off x="1895779" y="4833108"/>
            <a:ext cx="2844823" cy="1037750"/>
            <a:chOff x="4247967" y="10486870"/>
            <a:chExt cx="4254270" cy="2406363"/>
          </a:xfrm>
        </p:grpSpPr>
        <p:sp>
          <p:nvSpPr>
            <p:cNvPr id="24" name="CuadroTexto 395">
              <a:extLst>
                <a:ext uri="{FF2B5EF4-FFF2-40B4-BE49-F238E27FC236}">
                  <a16:creationId xmlns:a16="http://schemas.microsoft.com/office/drawing/2014/main" id="{EF6EAB0B-D91B-4D33-84CF-095C68E24214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Sustainable</a:t>
              </a:r>
            </a:p>
          </p:txBody>
        </p:sp>
        <p:sp>
          <p:nvSpPr>
            <p:cNvPr id="25" name="Rectangle 40">
              <a:extLst>
                <a:ext uri="{FF2B5EF4-FFF2-40B4-BE49-F238E27FC236}">
                  <a16:creationId xmlns:a16="http://schemas.microsoft.com/office/drawing/2014/main" id="{7C9C8683-00EA-4782-9F71-7BA5D68A686E}"/>
                </a:ext>
              </a:extLst>
            </p:cNvPr>
            <p:cNvSpPr/>
            <p:nvPr/>
          </p:nvSpPr>
          <p:spPr>
            <a:xfrm>
              <a:off x="4263627" y="11180399"/>
              <a:ext cx="4221143" cy="17128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/>
                <a:t>The product must be sustainable – no batteries, use of recycled materials, etc.</a:t>
              </a:r>
              <a:endParaRPr lang="en-US" sz="14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26" name="Grupo 275">
            <a:extLst>
              <a:ext uri="{FF2B5EF4-FFF2-40B4-BE49-F238E27FC236}">
                <a16:creationId xmlns:a16="http://schemas.microsoft.com/office/drawing/2014/main" id="{F5408F52-A26D-4283-93B9-31BAA6838911}"/>
              </a:ext>
            </a:extLst>
          </p:cNvPr>
          <p:cNvGrpSpPr/>
          <p:nvPr/>
        </p:nvGrpSpPr>
        <p:grpSpPr>
          <a:xfrm>
            <a:off x="7610137" y="1908085"/>
            <a:ext cx="2844823" cy="822306"/>
            <a:chOff x="4247967" y="10486870"/>
            <a:chExt cx="4254270" cy="1906786"/>
          </a:xfrm>
        </p:grpSpPr>
        <p:sp>
          <p:nvSpPr>
            <p:cNvPr id="27" name="CuadroTexto 395">
              <a:extLst>
                <a:ext uri="{FF2B5EF4-FFF2-40B4-BE49-F238E27FC236}">
                  <a16:creationId xmlns:a16="http://schemas.microsoft.com/office/drawing/2014/main" id="{E2C8E52A-C1BA-4E03-85AC-09222E4BFC67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Representing OST</a:t>
              </a:r>
            </a:p>
          </p:txBody>
        </p:sp>
        <p:sp>
          <p:nvSpPr>
            <p:cNvPr id="28" name="Rectangle 40">
              <a:extLst>
                <a:ext uri="{FF2B5EF4-FFF2-40B4-BE49-F238E27FC236}">
                  <a16:creationId xmlns:a16="http://schemas.microsoft.com/office/drawing/2014/main" id="{9A7CA1E3-CDF0-4F10-8F9D-5C5B28030F60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/>
                <a:t>The product needs to show the competencies of OST.</a:t>
              </a:r>
            </a:p>
          </p:txBody>
        </p:sp>
      </p:grpSp>
      <p:grpSp>
        <p:nvGrpSpPr>
          <p:cNvPr id="29" name="Grupo 275">
            <a:extLst>
              <a:ext uri="{FF2B5EF4-FFF2-40B4-BE49-F238E27FC236}">
                <a16:creationId xmlns:a16="http://schemas.microsoft.com/office/drawing/2014/main" id="{00BBC496-BBCC-48BD-AC99-BC25329D9E64}"/>
              </a:ext>
            </a:extLst>
          </p:cNvPr>
          <p:cNvGrpSpPr/>
          <p:nvPr/>
        </p:nvGrpSpPr>
        <p:grpSpPr>
          <a:xfrm>
            <a:off x="8123468" y="2986326"/>
            <a:ext cx="2844823" cy="1684081"/>
            <a:chOff x="4247967" y="10486870"/>
            <a:chExt cx="4254270" cy="3905095"/>
          </a:xfrm>
        </p:grpSpPr>
        <p:sp>
          <p:nvSpPr>
            <p:cNvPr id="30" name="CuadroTexto 395">
              <a:extLst>
                <a:ext uri="{FF2B5EF4-FFF2-40B4-BE49-F238E27FC236}">
                  <a16:creationId xmlns:a16="http://schemas.microsoft.com/office/drawing/2014/main" id="{72C59E27-26BE-4E43-B232-460ED03A345D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Suitable for smart factory</a:t>
              </a:r>
            </a:p>
          </p:txBody>
        </p:sp>
        <p:sp>
          <p:nvSpPr>
            <p:cNvPr id="31" name="Rectangle 40">
              <a:extLst>
                <a:ext uri="{FF2B5EF4-FFF2-40B4-BE49-F238E27FC236}">
                  <a16:creationId xmlns:a16="http://schemas.microsoft.com/office/drawing/2014/main" id="{D6E51275-3D28-4CED-AE5F-152C408C5A49}"/>
                </a:ext>
              </a:extLst>
            </p:cNvPr>
            <p:cNvSpPr/>
            <p:nvPr/>
          </p:nvSpPr>
          <p:spPr>
            <a:xfrm>
              <a:off x="4263627" y="11180399"/>
              <a:ext cx="4221143" cy="32115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/>
                <a:t>It must be feasible to produce the product in the smart factory’s infrastructure. Production of variants (e.g. multiple housing colors) must be possible. Simple assembly is a priority.</a:t>
              </a:r>
            </a:p>
          </p:txBody>
        </p:sp>
      </p:grpSp>
      <p:grpSp>
        <p:nvGrpSpPr>
          <p:cNvPr id="32" name="Grupo 275">
            <a:extLst>
              <a:ext uri="{FF2B5EF4-FFF2-40B4-BE49-F238E27FC236}">
                <a16:creationId xmlns:a16="http://schemas.microsoft.com/office/drawing/2014/main" id="{BB13F8F7-EB4E-4D9E-B858-58A14986681F}"/>
              </a:ext>
            </a:extLst>
          </p:cNvPr>
          <p:cNvGrpSpPr/>
          <p:nvPr/>
        </p:nvGrpSpPr>
        <p:grpSpPr>
          <a:xfrm>
            <a:off x="7749421" y="5002385"/>
            <a:ext cx="2844823" cy="822306"/>
            <a:chOff x="4247967" y="10486870"/>
            <a:chExt cx="4254270" cy="1906786"/>
          </a:xfrm>
        </p:grpSpPr>
        <p:sp>
          <p:nvSpPr>
            <p:cNvPr id="33" name="CuadroTexto 395">
              <a:extLst>
                <a:ext uri="{FF2B5EF4-FFF2-40B4-BE49-F238E27FC236}">
                  <a16:creationId xmlns:a16="http://schemas.microsoft.com/office/drawing/2014/main" id="{4AE97A58-6403-4066-850B-AD80F7671524}"/>
                </a:ext>
              </a:extLst>
            </p:cNvPr>
            <p:cNvSpPr txBox="1"/>
            <p:nvPr/>
          </p:nvSpPr>
          <p:spPr>
            <a:xfrm flipH="1">
              <a:off x="4247967" y="10486870"/>
              <a:ext cx="4254270" cy="785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+mj-lt"/>
                  <a:ea typeface="Lato" charset="0"/>
                  <a:cs typeface="Lato" charset="0"/>
                </a:rPr>
                <a:t>Realizable</a:t>
              </a:r>
            </a:p>
          </p:txBody>
        </p:sp>
        <p:sp>
          <p:nvSpPr>
            <p:cNvPr id="34" name="Rectangle 40">
              <a:extLst>
                <a:ext uri="{FF2B5EF4-FFF2-40B4-BE49-F238E27FC236}">
                  <a16:creationId xmlns:a16="http://schemas.microsoft.com/office/drawing/2014/main" id="{5EE096F2-36BB-462A-B5E0-13007A2B8423}"/>
                </a:ext>
              </a:extLst>
            </p:cNvPr>
            <p:cNvSpPr/>
            <p:nvPr/>
          </p:nvSpPr>
          <p:spPr>
            <a:xfrm>
              <a:off x="4263627" y="11180399"/>
              <a:ext cx="4221143" cy="12132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/>
                <a:t>Product cost and time to market must be reasonable.</a:t>
              </a:r>
            </a:p>
          </p:txBody>
        </p:sp>
      </p:grpSp>
      <p:pic>
        <p:nvPicPr>
          <p:cNvPr id="37" name="Grafik 36" descr="Häkchen mit einfarbiger Füllung">
            <a:extLst>
              <a:ext uri="{FF2B5EF4-FFF2-40B4-BE49-F238E27FC236}">
                <a16:creationId xmlns:a16="http://schemas.microsoft.com/office/drawing/2014/main" id="{23E3EBAB-A7C0-4044-8BB2-9A6A4F73E4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75525" y="1592402"/>
            <a:ext cx="914400" cy="914400"/>
          </a:xfrm>
          <a:prstGeom prst="rect">
            <a:avLst/>
          </a:prstGeom>
        </p:spPr>
      </p:pic>
      <p:pic>
        <p:nvPicPr>
          <p:cNvPr id="38" name="Grafik 37" descr="Häkchen mit einfarbiger Füllung">
            <a:extLst>
              <a:ext uri="{FF2B5EF4-FFF2-40B4-BE49-F238E27FC236}">
                <a16:creationId xmlns:a16="http://schemas.microsoft.com/office/drawing/2014/main" id="{8FDCF43A-6F50-4EC6-8EE9-E0581539BD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38398" y="2905242"/>
            <a:ext cx="914400" cy="914400"/>
          </a:xfrm>
          <a:prstGeom prst="rect">
            <a:avLst/>
          </a:prstGeom>
        </p:spPr>
      </p:pic>
      <p:pic>
        <p:nvPicPr>
          <p:cNvPr id="39" name="Grafik 38" descr="Häkchen mit einfarbiger Füllung">
            <a:extLst>
              <a:ext uri="{FF2B5EF4-FFF2-40B4-BE49-F238E27FC236}">
                <a16:creationId xmlns:a16="http://schemas.microsoft.com/office/drawing/2014/main" id="{2D1C7623-657C-4D1B-87E8-60F23F7EF4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38398" y="4297260"/>
            <a:ext cx="914400" cy="914400"/>
          </a:xfrm>
          <a:prstGeom prst="rect">
            <a:avLst/>
          </a:prstGeom>
        </p:spPr>
      </p:pic>
      <p:pic>
        <p:nvPicPr>
          <p:cNvPr id="40" name="Grafik 39" descr="Häkchen mit einfarbiger Füllung">
            <a:extLst>
              <a:ext uri="{FF2B5EF4-FFF2-40B4-BE49-F238E27FC236}">
                <a16:creationId xmlns:a16="http://schemas.microsoft.com/office/drawing/2014/main" id="{B38E5212-266C-4F96-A7DD-85C9D4D29A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83588" y="1450885"/>
            <a:ext cx="914400" cy="914400"/>
          </a:xfrm>
          <a:prstGeom prst="rect">
            <a:avLst/>
          </a:prstGeom>
        </p:spPr>
      </p:pic>
      <p:pic>
        <p:nvPicPr>
          <p:cNvPr id="41" name="Grafik 40" descr="Häkchen mit einfarbiger Füllung">
            <a:extLst>
              <a:ext uri="{FF2B5EF4-FFF2-40B4-BE49-F238E27FC236}">
                <a16:creationId xmlns:a16="http://schemas.microsoft.com/office/drawing/2014/main" id="{79948B42-8F88-4C49-BCC2-AFA929D2BD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38326" y="3324880"/>
            <a:ext cx="914400" cy="914400"/>
          </a:xfrm>
          <a:prstGeom prst="rect">
            <a:avLst/>
          </a:prstGeom>
        </p:spPr>
      </p:pic>
      <p:pic>
        <p:nvPicPr>
          <p:cNvPr id="42" name="Grafik 41" descr="Häkchen mit einfarbiger Füllung">
            <a:extLst>
              <a:ext uri="{FF2B5EF4-FFF2-40B4-BE49-F238E27FC236}">
                <a16:creationId xmlns:a16="http://schemas.microsoft.com/office/drawing/2014/main" id="{F9457072-05AE-4039-AE51-B587BC0D8C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91767" y="4545185"/>
            <a:ext cx="914400" cy="914400"/>
          </a:xfrm>
          <a:prstGeom prst="rect">
            <a:avLst/>
          </a:prstGeom>
        </p:spPr>
      </p:pic>
      <p:sp>
        <p:nvSpPr>
          <p:cNvPr id="43" name="Rechteck 42">
            <a:extLst>
              <a:ext uri="{FF2B5EF4-FFF2-40B4-BE49-F238E27FC236}">
                <a16:creationId xmlns:a16="http://schemas.microsoft.com/office/drawing/2014/main" id="{5798FDDB-E240-4C98-A315-0C6FCB3C71C6}"/>
              </a:ext>
            </a:extLst>
          </p:cNvPr>
          <p:cNvSpPr/>
          <p:nvPr/>
        </p:nvSpPr>
        <p:spPr>
          <a:xfrm>
            <a:off x="7610137" y="1517061"/>
            <a:ext cx="4250076" cy="3153346"/>
          </a:xfrm>
          <a:prstGeom prst="rect">
            <a:avLst/>
          </a:prstGeom>
          <a:noFill/>
          <a:ln w="25400"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de-CH" dirty="0"/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58143732-4798-44AC-A6CA-228D2D196045}"/>
              </a:ext>
            </a:extLst>
          </p:cNvPr>
          <p:cNvSpPr txBox="1"/>
          <p:nvPr/>
        </p:nvSpPr>
        <p:spPr>
          <a:xfrm rot="2231978">
            <a:off x="10001651" y="1721934"/>
            <a:ext cx="2387747" cy="686345"/>
          </a:xfrm>
          <a:prstGeom prst="rect">
            <a:avLst/>
          </a:prstGeom>
          <a:noFill/>
          <a:ln w="28575">
            <a:noFill/>
            <a:miter lim="800000"/>
          </a:ln>
        </p:spPr>
        <p:txBody>
          <a:bodyPr wrap="square" lIns="108000" tIns="36000" rIns="108000" bIns="7200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de-CH" sz="1800" b="1" dirty="0">
                <a:solidFill>
                  <a:schemeClr val="tx2"/>
                </a:solidFill>
                <a:ea typeface="Roboto Medium" panose="02000000000000000000" pitchFamily="2" charset="0"/>
              </a:rPr>
              <a:t>Focus</a:t>
            </a:r>
            <a:br>
              <a:rPr lang="de-CH" sz="1800" b="1" dirty="0">
                <a:solidFill>
                  <a:schemeClr val="tx2"/>
                </a:solidFill>
                <a:ea typeface="Roboto Medium" panose="02000000000000000000" pitchFamily="2" charset="0"/>
              </a:rPr>
            </a:br>
            <a:r>
              <a:rPr lang="de-CH" sz="18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of</a:t>
            </a:r>
            <a:r>
              <a:rPr lang="de-CH" sz="1800" b="1" dirty="0">
                <a:solidFill>
                  <a:schemeClr val="tx2"/>
                </a:solidFill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the</a:t>
            </a:r>
            <a:r>
              <a:rPr lang="de-CH" sz="1800" b="1" dirty="0">
                <a:solidFill>
                  <a:schemeClr val="tx2"/>
                </a:solidFill>
                <a:ea typeface="Roboto Medium" panose="02000000000000000000" pitchFamily="2" charset="0"/>
              </a:rPr>
              <a:t> </a:t>
            </a:r>
            <a:r>
              <a:rPr lang="de-CH" sz="1800" b="1" dirty="0" err="1">
                <a:solidFill>
                  <a:schemeClr val="tx2"/>
                </a:solidFill>
                <a:ea typeface="Roboto Medium" panose="02000000000000000000" pitchFamily="2" charset="0"/>
              </a:rPr>
              <a:t>proposal</a:t>
            </a:r>
            <a:r>
              <a:rPr lang="de-CH" sz="1800" b="1" dirty="0">
                <a:solidFill>
                  <a:schemeClr val="tx2"/>
                </a:solidFill>
                <a:ea typeface="Roboto Medium" panose="02000000000000000000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057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58341CE-7C75-4573-BE16-669B403E4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276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58341CE-7C75-4573-BE16-669B403E4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AC2BEAC0-53D3-482D-8FC6-A295480EB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Market Analysi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3832B1-FC16-4FF1-9311-6DC486645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ase Study OST-Gadget Sample Solution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9B7F8D-886E-4469-90E8-604B40C98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7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F71B20-B1E9-4121-B2D6-C1EAF17C52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environment</a:t>
            </a:r>
            <a:r>
              <a:rPr lang="de-CH" dirty="0"/>
              <a:t>?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B5AF3F34-6DCF-4325-B9B3-86C9FEBA21C0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5">
            <a:clrChange>
              <a:clrFrom>
                <a:srgbClr val="232528"/>
              </a:clrFrom>
              <a:clrTo>
                <a:srgbClr val="23252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46" b="41772"/>
          <a:stretch/>
        </p:blipFill>
        <p:spPr>
          <a:xfrm>
            <a:off x="0" y="3851275"/>
            <a:ext cx="12198350" cy="234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109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22C152FB-143A-43AD-87E6-61DC674493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87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22C152FB-143A-43AD-87E6-61DC674493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998177-BCAF-46DA-B288-EDD03ABFBBF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4EAB6EF-0681-4061-9E1A-2CC90DA31CF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662C247-FD78-4858-B450-7A81C67F2D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CH" dirty="0" err="1"/>
              <a:t>Almost</a:t>
            </a:r>
            <a:r>
              <a:rPr lang="de-CH" dirty="0"/>
              <a:t> 80%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global </a:t>
            </a:r>
            <a:r>
              <a:rPr lang="de-CH" dirty="0" err="1"/>
              <a:t>popula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</a:t>
            </a:r>
            <a:r>
              <a:rPr lang="de-CH" dirty="0" err="1"/>
              <a:t>smartphone</a:t>
            </a:r>
            <a:r>
              <a:rPr lang="de-CH" dirty="0"/>
              <a:t>, </a:t>
            </a:r>
            <a:r>
              <a:rPr lang="de-CH" dirty="0" err="1"/>
              <a:t>sal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saturating</a:t>
            </a:r>
            <a:r>
              <a:rPr lang="de-CH" dirty="0"/>
              <a:t> at a high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3432D92-85FC-42C3-96E7-DBF87614A9A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pPr lvl="0">
              <a:spcBef>
                <a:spcPts val="600"/>
              </a:spcBef>
              <a:buClr>
                <a:srgbClr val="8C195F"/>
              </a:buClr>
            </a:pPr>
            <a:r>
              <a:rPr lang="de-CH" sz="2000" b="1" dirty="0" err="1">
                <a:solidFill>
                  <a:srgbClr val="191919"/>
                </a:solidFill>
              </a:rPr>
              <a:t>How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th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marke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characterized</a:t>
            </a:r>
            <a:r>
              <a:rPr lang="de-CH" sz="2000" b="1" dirty="0">
                <a:solidFill>
                  <a:srgbClr val="191919"/>
                </a:solidFill>
              </a:rPr>
              <a:t>? </a:t>
            </a:r>
          </a:p>
        </p:txBody>
      </p:sp>
      <p:sp>
        <p:nvSpPr>
          <p:cNvPr id="6" name="New shape">
            <a:extLst>
              <a:ext uri="{FF2B5EF4-FFF2-40B4-BE49-F238E27FC236}">
                <a16:creationId xmlns:a16="http://schemas.microsoft.com/office/drawing/2014/main" id="{69B5C0E9-06B6-4627-AE22-EE9654F4B87E}"/>
              </a:ext>
            </a:extLst>
          </p:cNvPr>
          <p:cNvSpPr/>
          <p:nvPr/>
        </p:nvSpPr>
        <p:spPr>
          <a:xfrm>
            <a:off x="586800" y="6224400"/>
            <a:ext cx="9576000" cy="527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endParaRPr sz="600" b="0" dirty="0">
              <a:solidFill>
                <a:srgbClr val="0F2741"/>
              </a:solidFill>
              <a:latin typeface="Open Sans"/>
            </a:endParaRPr>
          </a:p>
        </p:txBody>
      </p:sp>
      <p:graphicFrame>
        <p:nvGraphicFramePr>
          <p:cNvPr id="7" name="ChartObject">
            <a:extLst>
              <a:ext uri="{FF2B5EF4-FFF2-40B4-BE49-F238E27FC236}">
                <a16:creationId xmlns:a16="http://schemas.microsoft.com/office/drawing/2014/main" id="{53BD9F6B-1DAC-4933-ADB5-92DE11D732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2021957"/>
              </p:ext>
            </p:extLst>
          </p:nvPr>
        </p:nvGraphicFramePr>
        <p:xfrm>
          <a:off x="806449" y="1824525"/>
          <a:ext cx="11016000" cy="4148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New shape">
            <a:extLst>
              <a:ext uri="{FF2B5EF4-FFF2-40B4-BE49-F238E27FC236}">
                <a16:creationId xmlns:a16="http://schemas.microsoft.com/office/drawing/2014/main" id="{B04BE87D-86A4-49DF-91C6-42CDC2E7465D}"/>
              </a:ext>
            </a:extLst>
          </p:cNvPr>
          <p:cNvSpPr/>
          <p:nvPr/>
        </p:nvSpPr>
        <p:spPr>
          <a:xfrm>
            <a:off x="806449" y="1556004"/>
            <a:ext cx="11196000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sz="1200" b="1" dirty="0">
                <a:solidFill>
                  <a:schemeClr val="tx1"/>
                </a:solidFill>
              </a:rPr>
              <a:t>Global smartphone sales to end users 2007-2021</a:t>
            </a:r>
          </a:p>
        </p:txBody>
      </p:sp>
      <p:sp>
        <p:nvSpPr>
          <p:cNvPr id="9" name="New shape">
            <a:extLst>
              <a:ext uri="{FF2B5EF4-FFF2-40B4-BE49-F238E27FC236}">
                <a16:creationId xmlns:a16="http://schemas.microsoft.com/office/drawing/2014/main" id="{BA534108-E713-4528-995E-6091AA530264}"/>
              </a:ext>
            </a:extLst>
          </p:cNvPr>
          <p:cNvSpPr/>
          <p:nvPr/>
        </p:nvSpPr>
        <p:spPr>
          <a:xfrm>
            <a:off x="896450" y="5999055"/>
            <a:ext cx="9576000" cy="527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r>
              <a:rPr lang="en-US" sz="800" b="1" dirty="0">
                <a:solidFill>
                  <a:schemeClr val="tx1"/>
                </a:solidFill>
              </a:rPr>
              <a:t>Note(s): </a:t>
            </a:r>
            <a:r>
              <a:rPr lang="en-US" sz="800" b="0" dirty="0">
                <a:solidFill>
                  <a:schemeClr val="tx1"/>
                </a:solidFill>
              </a:rPr>
              <a:t>Worldwide; 2007 to 2021</a:t>
            </a:r>
          </a:p>
          <a:p>
            <a:r>
              <a:rPr lang="en-US" sz="800" b="1" dirty="0">
                <a:solidFill>
                  <a:schemeClr val="tx1"/>
                </a:solidFill>
              </a:rPr>
              <a:t>Source(s): </a:t>
            </a:r>
            <a:r>
              <a:rPr lang="en-US" sz="800" b="0" dirty="0">
                <a:solidFill>
                  <a:schemeClr val="tx1"/>
                </a:solidFill>
              </a:rPr>
              <a:t>Gartner </a:t>
            </a:r>
          </a:p>
        </p:txBody>
      </p:sp>
      <p:sp>
        <p:nvSpPr>
          <p:cNvPr id="10" name="New shape">
            <a:extLst>
              <a:ext uri="{FF2B5EF4-FFF2-40B4-BE49-F238E27FC236}">
                <a16:creationId xmlns:a16="http://schemas.microsoft.com/office/drawing/2014/main" id="{8354FC2F-D2FF-465F-853A-2D5562CB5264}"/>
              </a:ext>
            </a:extLst>
          </p:cNvPr>
          <p:cNvSpPr/>
          <p:nvPr/>
        </p:nvSpPr>
        <p:spPr>
          <a:xfrm>
            <a:off x="10447200" y="5994958"/>
            <a:ext cx="1170000" cy="2376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66EB6E1-FB1A-4539-9B7A-46C6778373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68192" y="2101654"/>
            <a:ext cx="2964535" cy="5771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174499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799B3A89-D303-4F41-9DB1-6569113ACA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290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799B3A89-D303-4F41-9DB1-6569113AC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0BBB388-2AAA-4777-9F7F-6B57937EA1A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ase Study OST-Gadget Sample Solution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532F916-D7C2-4C32-B6F4-5273E612341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AC321B-7500-4259-A00F-915439A35E15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8BC0A3C-59C5-4C35-88A0-23BE122C0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CH" dirty="0"/>
              <a:t>In </a:t>
            </a:r>
            <a:r>
              <a:rPr lang="de-CH" dirty="0" err="1"/>
              <a:t>Switzerland</a:t>
            </a:r>
            <a:r>
              <a:rPr lang="de-CH" dirty="0"/>
              <a:t>, &gt;97%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opulation</a:t>
            </a:r>
            <a:r>
              <a:rPr lang="de-CH" dirty="0"/>
              <a:t> own a </a:t>
            </a:r>
            <a:r>
              <a:rPr lang="de-CH" dirty="0" err="1"/>
              <a:t>smartphone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52648C-ABB6-403E-8752-DD33409CA2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fontScale="92500" lnSpcReduction="20000"/>
          </a:bodyPr>
          <a:lstStyle/>
          <a:p>
            <a:pPr lvl="0">
              <a:spcBef>
                <a:spcPts val="600"/>
              </a:spcBef>
              <a:buClr>
                <a:srgbClr val="8C195F"/>
              </a:buClr>
            </a:pPr>
            <a:r>
              <a:rPr lang="de-CH" sz="2000" b="1" dirty="0" err="1">
                <a:solidFill>
                  <a:srgbClr val="191919"/>
                </a:solidFill>
              </a:rPr>
              <a:t>How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is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the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market</a:t>
            </a:r>
            <a:r>
              <a:rPr lang="de-CH" sz="2000" b="1" dirty="0">
                <a:solidFill>
                  <a:srgbClr val="191919"/>
                </a:solidFill>
              </a:rPr>
              <a:t> </a:t>
            </a:r>
            <a:r>
              <a:rPr lang="de-CH" sz="2000" b="1" dirty="0" err="1">
                <a:solidFill>
                  <a:srgbClr val="191919"/>
                </a:solidFill>
              </a:rPr>
              <a:t>characterized</a:t>
            </a:r>
            <a:r>
              <a:rPr lang="de-CH" sz="2000" b="1" dirty="0">
                <a:solidFill>
                  <a:srgbClr val="191919"/>
                </a:solidFill>
              </a:rPr>
              <a:t>? </a:t>
            </a:r>
          </a:p>
        </p:txBody>
      </p:sp>
      <p:graphicFrame>
        <p:nvGraphicFramePr>
          <p:cNvPr id="6" name="ChartObject">
            <a:extLst>
              <a:ext uri="{FF2B5EF4-FFF2-40B4-BE49-F238E27FC236}">
                <a16:creationId xmlns:a16="http://schemas.microsoft.com/office/drawing/2014/main" id="{C49772FD-4BEC-480A-B6ED-B46D1000AA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7613235"/>
              </p:ext>
            </p:extLst>
          </p:nvPr>
        </p:nvGraphicFramePr>
        <p:xfrm>
          <a:off x="844213" y="1913222"/>
          <a:ext cx="11016000" cy="4148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New shape">
            <a:extLst>
              <a:ext uri="{FF2B5EF4-FFF2-40B4-BE49-F238E27FC236}">
                <a16:creationId xmlns:a16="http://schemas.microsoft.com/office/drawing/2014/main" id="{6B6ED3C0-1CBC-43E0-AE3D-9DFB3F9FDAFD}"/>
              </a:ext>
            </a:extLst>
          </p:cNvPr>
          <p:cNvSpPr/>
          <p:nvPr/>
        </p:nvSpPr>
        <p:spPr>
          <a:xfrm>
            <a:off x="896450" y="5999055"/>
            <a:ext cx="9576000" cy="527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r>
              <a:rPr lang="de-CH" sz="800" b="1" dirty="0">
                <a:solidFill>
                  <a:schemeClr val="tx1"/>
                </a:solidFill>
              </a:rPr>
              <a:t>Hinweis(e): </a:t>
            </a:r>
            <a:r>
              <a:rPr lang="de-CH" sz="800" b="0" dirty="0">
                <a:solidFill>
                  <a:schemeClr val="tx1"/>
                </a:solidFill>
              </a:rPr>
              <a:t>Schweiz; 2017 bis 2020; 2.079 Befragte; repräsentativ für alle Regionen der Schweiz</a:t>
            </a:r>
          </a:p>
          <a:p>
            <a:r>
              <a:rPr lang="de-CH" sz="800" b="1" dirty="0">
                <a:solidFill>
                  <a:schemeClr val="tx1"/>
                </a:solidFill>
              </a:rPr>
              <a:t>Quelle(n): </a:t>
            </a:r>
            <a:r>
              <a:rPr lang="de-CH" sz="800" b="0" dirty="0">
                <a:solidFill>
                  <a:schemeClr val="tx1"/>
                </a:solidFill>
              </a:rPr>
              <a:t>Comparis </a:t>
            </a:r>
          </a:p>
        </p:txBody>
      </p:sp>
      <p:sp>
        <p:nvSpPr>
          <p:cNvPr id="10" name="New shape">
            <a:extLst>
              <a:ext uri="{FF2B5EF4-FFF2-40B4-BE49-F238E27FC236}">
                <a16:creationId xmlns:a16="http://schemas.microsoft.com/office/drawing/2014/main" id="{42C50756-CBD6-4617-9901-C8ADBE1D9E6C}"/>
              </a:ext>
            </a:extLst>
          </p:cNvPr>
          <p:cNvSpPr/>
          <p:nvPr/>
        </p:nvSpPr>
        <p:spPr>
          <a:xfrm>
            <a:off x="10447200" y="5994958"/>
            <a:ext cx="1170000" cy="2376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1" name="New shape">
            <a:extLst>
              <a:ext uri="{FF2B5EF4-FFF2-40B4-BE49-F238E27FC236}">
                <a16:creationId xmlns:a16="http://schemas.microsoft.com/office/drawing/2014/main" id="{529B7FB7-4EC9-4350-A7FC-AC09EE4DEA66}"/>
              </a:ext>
            </a:extLst>
          </p:cNvPr>
          <p:cNvSpPr/>
          <p:nvPr/>
        </p:nvSpPr>
        <p:spPr>
          <a:xfrm>
            <a:off x="806449" y="1556156"/>
            <a:ext cx="11196000" cy="31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r>
              <a:rPr sz="1200" b="1" dirty="0">
                <a:solidFill>
                  <a:schemeClr val="tx1"/>
                </a:solidFill>
              </a:rPr>
              <a:t>Smartphones </a:t>
            </a:r>
            <a:r>
              <a:rPr lang="de-CH" sz="1200" b="1" dirty="0" err="1">
                <a:solidFill>
                  <a:schemeClr val="tx1"/>
                </a:solidFill>
              </a:rPr>
              <a:t>owners</a:t>
            </a:r>
            <a:r>
              <a:rPr lang="de-CH" sz="1200" b="1" dirty="0">
                <a:solidFill>
                  <a:schemeClr val="tx1"/>
                </a:solidFill>
              </a:rPr>
              <a:t> in </a:t>
            </a:r>
            <a:r>
              <a:rPr lang="de-CH" sz="1200" b="1" dirty="0" err="1">
                <a:solidFill>
                  <a:schemeClr val="tx1"/>
                </a:solidFill>
              </a:rPr>
              <a:t>Switzerland</a:t>
            </a:r>
            <a:endParaRPr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668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p8jF4K60.09y4TPO5F6g"/>
  <p:tag name="EMPOWERBULLET" val="EMPOWERBULLET"/>
  <p:tag name="MIO_EK" val="873"/>
  <p:tag name="MIO_GUID" val="6385b926-e720-4e45-9678-57aad4a9121b"/>
  <p:tag name="MIO_UPDATE" val="True"/>
  <p:tag name="MIO_VERSION" val="23.08.2013 09:26:28"/>
  <p:tag name="MIO_DBID" val="84308ECE-53B2-4873-BBD1-EDD7EAAC1BB3"/>
  <p:tag name="MIO_LASTDOWNLOADED" val="23.08.2013 09:26:2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p8jF4K60.09y4TPO5F6g"/>
  <p:tag name="EMPOWERBULLET" val="EMPOWERBULLET"/>
  <p:tag name="MIO_EK" val="873"/>
  <p:tag name="MIO_GUID" val="6385b926-e720-4e45-9678-57aad4a9121b"/>
  <p:tag name="MIO_UPDATE" val="True"/>
  <p:tag name="MIO_VERSION" val="23.08.2013 09:26:28"/>
  <p:tag name="MIO_DBID" val="84308ECE-53B2-4873-BBD1-EDD7EAAC1BB3"/>
  <p:tag name="MIO_LASTDOWNLOADED" val="23.08.2013 09:26:2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p8jF4K60.09y4TPO5F6g"/>
  <p:tag name="EMPOWERBULLET" val="EMPOWERBULLET"/>
  <p:tag name="MIO_EK" val="873"/>
  <p:tag name="MIO_GUID" val="6385b926-e720-4e45-9678-57aad4a9121b"/>
  <p:tag name="MIO_UPDATE" val="True"/>
  <p:tag name="MIO_VERSION" val="23.08.2013 09:26:28"/>
  <p:tag name="MIO_DBID" val="84308ECE-53B2-4873-BBD1-EDD7EAAC1BB3"/>
  <p:tag name="MIO_LASTDOWNLOADED" val="23.08.2013 09:26:2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p8jF4K60.09y4TPO5F6g"/>
  <p:tag name="EMPOWERBULLET" val="EMPOWERBULLET"/>
  <p:tag name="MIO_EK" val="873"/>
  <p:tag name="MIO_GUID" val="6385b926-e720-4e45-9678-57aad4a9121b"/>
  <p:tag name="MIO_UPDATE" val="True"/>
  <p:tag name="MIO_VERSION" val="23.08.2013 09:26:28"/>
  <p:tag name="MIO_DBID" val="84308ECE-53B2-4873-BBD1-EDD7EAAC1BB3"/>
  <p:tag name="MIO_LASTDOWNLOADED" val="23.08.2013 09:26:2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ST-Vorlage">
  <a:themeElements>
    <a:clrScheme name="Benutzerdefiniert 19">
      <a:dk1>
        <a:srgbClr val="191919"/>
      </a:dk1>
      <a:lt1>
        <a:srgbClr val="FFFFFF"/>
      </a:lt1>
      <a:dk2>
        <a:srgbClr val="8C195F"/>
      </a:dk2>
      <a:lt2>
        <a:srgbClr val="C6C6C6"/>
      </a:lt2>
      <a:accent1>
        <a:srgbClr val="6B3881"/>
      </a:accent1>
      <a:accent2>
        <a:srgbClr val="D0A9D0"/>
      </a:accent2>
      <a:accent3>
        <a:srgbClr val="007E6B"/>
      </a:accent3>
      <a:accent4>
        <a:srgbClr val="A7D5C2"/>
      </a:accent4>
      <a:accent5>
        <a:srgbClr val="C32E15"/>
      </a:accent5>
      <a:accent6>
        <a:srgbClr val="F39A8B"/>
      </a:accent6>
      <a:hlink>
        <a:srgbClr val="D72864"/>
      </a:hlink>
      <a:folHlink>
        <a:srgbClr val="8C195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25400">
          <a:solidFill>
            <a:schemeClr val="accent1"/>
          </a:solidFill>
        </a:ln>
        <a:effectLst/>
      </a:spPr>
      <a:bodyPr rot="0" spcFirstLastPara="0" vertOverflow="overflow" horzOverflow="overflow" vert="horz" wrap="square" lIns="108000" tIns="36000" rIns="108000" bIns="36000" numCol="1" spcCol="0" rtlCol="0" fromWordArt="0" anchor="ctr" anchorCtr="0" forceAA="0" compatLnSpc="1">
        <a:prstTxWarp prst="textNoShape">
          <a:avLst/>
        </a:prstTxWarp>
        <a:normAutofit/>
      </a:bodyPr>
      <a:lstStyle>
        <a:defPPr algn="ctr">
          <a:lnSpc>
            <a:spcPct val="110000"/>
          </a:lnSpc>
          <a:spcAft>
            <a:spcPts val="600"/>
          </a:spcAft>
          <a:defRPr dirty="0" smtClean="0"/>
        </a:defPPr>
      </a:lstStyle>
      <a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a:style>
    </a:spDef>
    <a:lnDef>
      <a:spPr>
        <a:ln w="25400"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28575">
          <a:noFill/>
          <a:miter lim="800000"/>
        </a:ln>
      </a:spPr>
      <a:bodyPr wrap="square" lIns="108000" tIns="36000" rIns="108000" bIns="72000" rtlCol="0">
        <a:spAutoFit/>
      </a:bodyPr>
      <a:lstStyle>
        <a:defPPr>
          <a:spcAft>
            <a:spcPts val="600"/>
          </a:spcAft>
          <a:buClr>
            <a:schemeClr val="tx2"/>
          </a:buClr>
          <a:defRPr sz="1800" dirty="0" smtClean="0">
            <a:ea typeface="Roboto Medium" panose="02000000000000000000" pitchFamily="2" charset="0"/>
          </a:defRPr>
        </a:defPPr>
      </a:lstStyle>
    </a:txDef>
  </a:objectDefaults>
  <a:extraClrSchemeLst>
    <a:extraClrScheme>
      <a:clrScheme name="OST - Farben">
        <a:dk1>
          <a:srgbClr val="191919"/>
        </a:dk1>
        <a:lt1>
          <a:srgbClr val="FFFFFF"/>
        </a:lt1>
        <a:dk2>
          <a:srgbClr val="8C195F"/>
        </a:dk2>
        <a:lt2>
          <a:srgbClr val="D72864"/>
        </a:lt2>
        <a:accent1>
          <a:srgbClr val="56276D"/>
        </a:accent1>
        <a:accent2>
          <a:srgbClr val="C397C4"/>
        </a:accent2>
        <a:accent3>
          <a:srgbClr val="146C58"/>
        </a:accent3>
        <a:accent4>
          <a:srgbClr val="99CCB5"/>
        </a:accent4>
        <a:accent5>
          <a:srgbClr val="B21D19"/>
        </a:accent5>
        <a:accent6>
          <a:srgbClr val="EC867B"/>
        </a:accent6>
        <a:hlink>
          <a:srgbClr val="191919"/>
        </a:hlink>
        <a:folHlink>
          <a:srgbClr val="1919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OST Violett">
      <a:srgbClr val="9560A4"/>
    </a:custClr>
    <a:custClr name="OST Grün">
      <a:srgbClr val="1DAF8E"/>
    </a:custClr>
    <a:custClr name="OST Rot">
      <a:srgbClr val="E84E0F"/>
    </a:custClr>
    <a:custClr name="OST Blau">
      <a:srgbClr val="0086CD"/>
    </a:custClr>
    <a:custClr name="OST Orange">
      <a:srgbClr val="FBBA00"/>
    </a:custClr>
    <a:custClr name="Weiss">
      <a:srgbClr val="FFFFFF"/>
    </a:custClr>
    <a:custClr name="Weiss">
      <a:srgbClr val="FFFFFF"/>
    </a:custClr>
    <a:custClr name="OST Schwarz">
      <a:srgbClr val="191919"/>
    </a:custClr>
    <a:custClr name="OST Brombeer">
      <a:srgbClr val="8C195F"/>
    </a:custClr>
    <a:custClr name="OST Himbeer">
      <a:srgbClr val="D72864"/>
    </a:custClr>
    <a:custClr name="OST Dunkelviolett">
      <a:srgbClr val="6B3881"/>
    </a:custClr>
    <a:custClr name="OST Dunkelgrün">
      <a:srgbClr val="007E6B"/>
    </a:custClr>
    <a:custClr name="OST Dunkelrot">
      <a:srgbClr val="C32E15"/>
    </a:custClr>
    <a:custClr name="OST Dunkelblau">
      <a:srgbClr val="0073B0"/>
    </a:custClr>
    <a:custClr name="OST Dunkelorange">
      <a:srgbClr val="D18F00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OST Hellviolett">
      <a:srgbClr val="D0A9D0"/>
    </a:custClr>
    <a:custClr name="OST Hellgrün">
      <a:srgbClr val="A7D5C2"/>
    </a:custClr>
    <a:custClr name="OST Hellrot">
      <a:srgbClr val="F39A8B"/>
    </a:custClr>
    <a:custClr name="OST Hellblau">
      <a:srgbClr val="5FBFED"/>
    </a:custClr>
    <a:custClr name="OST Hellorange">
      <a:srgbClr val="FDD6AF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</a:custClrLst>
  <a:extLst>
    <a:ext uri="{05A4C25C-085E-4340-85A3-A5531E510DB2}">
      <thm15:themeFamily xmlns:thm15="http://schemas.microsoft.com/office/thememl/2012/main" name="OST_Vorlage_DE_16zu9.potx" id="{03CAA6A4-4F7C-4B54-A13E-70427D41AC30}" vid="{42E3ECE4-3C4E-4AA3-9DC7-6E4A52FA72C2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ST - Fonts">
      <a:majorFont>
        <a:latin typeface="Zilla Slab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ST - Fonts">
      <a:majorFont>
        <a:latin typeface="Zilla Slab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cbc8f1c-7aec-4c0f-94f7-d7a778b1f150">
      <Terms xmlns="http://schemas.microsoft.com/office/infopath/2007/PartnerControls"/>
    </lcf76f155ced4ddcb4097134ff3c332f>
    <TaxCatchAll xmlns="ad66ac8b-a0d6-471b-a9a3-42be27d96ef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C17A725C2F7F14DA7BD4390B8CC10C5" ma:contentTypeVersion="15" ma:contentTypeDescription="Ein neues Dokument erstellen." ma:contentTypeScope="" ma:versionID="159b6da2d1ec65df10cba4dfe816be36">
  <xsd:schema xmlns:xsd="http://www.w3.org/2001/XMLSchema" xmlns:xs="http://www.w3.org/2001/XMLSchema" xmlns:p="http://schemas.microsoft.com/office/2006/metadata/properties" xmlns:ns2="7cbc8f1c-7aec-4c0f-94f7-d7a778b1f150" xmlns:ns3="ad66ac8b-a0d6-471b-a9a3-42be27d96eff" targetNamespace="http://schemas.microsoft.com/office/2006/metadata/properties" ma:root="true" ma:fieldsID="594609bf399d9187ee6bcf5731293df1" ns2:_="" ns3:_="">
    <xsd:import namespace="7cbc8f1c-7aec-4c0f-94f7-d7a778b1f150"/>
    <xsd:import namespace="ad66ac8b-a0d6-471b-a9a3-42be27d96e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bc8f1c-7aec-4c0f-94f7-d7a778b1f1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Length (seconds)" ma:internalName="MediaLengthInSeconds" ma:readOnly="true">
      <xsd:simpleType>
        <xsd:restriction base="dms:Unknown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f212c26d-ba8a-401b-a725-3045b2045bc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66ac8b-a0d6-471b-a9a3-42be27d96ef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96137c87-629c-40fa-aef6-d0ea829924dd}" ma:internalName="TaxCatchAll" ma:showField="CatchAllData" ma:web="ad66ac8b-a0d6-471b-a9a3-42be27d96e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307A9E8-CE5C-48FD-9A36-613B4960C6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ECC916-23B9-4ABE-A328-DD46A1614685}">
  <ds:schemaRefs>
    <ds:schemaRef ds:uri="http://schemas.microsoft.com/office/2006/documentManagement/types"/>
    <ds:schemaRef ds:uri="http://purl.org/dc/dcmitype/"/>
    <ds:schemaRef ds:uri="0161b0c3-dc6c-49ea-afec-7bcc325f1ddf"/>
    <ds:schemaRef ds:uri="http://schemas.microsoft.com/office/2006/metadata/properties"/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4a610bb5-f590-442c-ac06-be59b46bdc3c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09EB1259-C25F-42D7-8284-8205860D3D27}"/>
</file>

<file path=docProps/app.xml><?xml version="1.0" encoding="utf-8"?>
<Properties xmlns="http://schemas.openxmlformats.org/officeDocument/2006/extended-properties" xmlns:vt="http://schemas.openxmlformats.org/officeDocument/2006/docPropsVTypes">
  <Template>OST_Vorlage_DE_16zu9</Template>
  <TotalTime>0</TotalTime>
  <Words>4690</Words>
  <Application>Microsoft Office PowerPoint</Application>
  <PresentationFormat>Benutzerdefiniert</PresentationFormat>
  <Paragraphs>761</Paragraphs>
  <Slides>4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6</vt:i4>
      </vt:variant>
    </vt:vector>
  </HeadingPairs>
  <TitlesOfParts>
    <vt:vector size="52" baseType="lpstr">
      <vt:lpstr>Arial</vt:lpstr>
      <vt:lpstr>Open Sans</vt:lpstr>
      <vt:lpstr>Roboto</vt:lpstr>
      <vt:lpstr>Symbol</vt:lpstr>
      <vt:lpstr>OST-Vorlage</vt:lpstr>
      <vt:lpstr>think-cell Folie</vt:lpstr>
      <vt:lpstr>OST-Gadget: a real-world business planning case study</vt:lpstr>
      <vt:lpstr>As product for the smart factory, we propose the  «OST-Gadget», a wireless charger for your phone</vt:lpstr>
      <vt:lpstr>Introducing the OST-Gadget</vt:lpstr>
      <vt:lpstr>The OST Smart Factory is a real-world industrial production environment to showcase applied digitalization</vt:lpstr>
      <vt:lpstr>As product for the smart factory, we propose the  «OST-Gadget», a wireless charger for your phone</vt:lpstr>
      <vt:lpstr>Our proposal meets all defined product requirements, our focus is demonstrating the smart factory’s competencies</vt:lpstr>
      <vt:lpstr>Market Analysis</vt:lpstr>
      <vt:lpstr>Almost 80% of the global population is using a smartphone, sales are saturating at a high level</vt:lpstr>
      <vt:lpstr>In Switzerland, &gt;97% of the population own a smartphone</vt:lpstr>
      <vt:lpstr>1.8M smartphones are sold in Switzerland in 2022. With 6% of the population, Kanton St. Gallen would account for ~100k. </vt:lpstr>
      <vt:lpstr>Smartphones in Switzerland are typically used ≥4 years</vt:lpstr>
      <vt:lpstr>Android and Apple are dominating</vt:lpstr>
      <vt:lpstr>To charge smartphones and other devices, wireless charging is the technology of the next decade, CAGR 2020-2030 +29.4%</vt:lpstr>
      <vt:lpstr>At least 78% of smartphone buyers can be expected to want a wireless charger</vt:lpstr>
      <vt:lpstr>20% of smartphone users already own a wireless charger</vt:lpstr>
      <vt:lpstr>Desk research identifies compatibility and charging speed as key consumer ease-of-use needs</vt:lpstr>
      <vt:lpstr>Simple positioning is another relevant ease-of-use request, consumers welcome Apple’s MagSafe feature</vt:lpstr>
      <vt:lpstr>Generally, durability and quality are key customer preferences for mobile phones and digital gadgets</vt:lpstr>
      <vt:lpstr>As battery anxiety is a key concern, consumers want to see wireless power available to them in more places</vt:lpstr>
      <vt:lpstr>With our digital manufacturing in mind: 69% of consumers are willing to pay a premium for personalized electrical products</vt:lpstr>
      <vt:lpstr>Anker and Belkin are the leading brands</vt:lpstr>
      <vt:lpstr>Prices range from ~10-150 CHF, most products around 40CHF, but also strong demand for premium products</vt:lpstr>
      <vt:lpstr>The majority of chargers has a single charging port</vt:lpstr>
      <vt:lpstr>Differentiation can be generated by MagSafe or the combination of wireless charging with an USB hub </vt:lpstr>
      <vt:lpstr>For wireless charging in businesses, there are dedicated suppliers offering additional functions</vt:lpstr>
      <vt:lpstr>Marketing Strategy</vt:lpstr>
      <vt:lpstr>Digital manufacturing know-how is our strength, our weakness is that we are not a real and competitive enterprise</vt:lpstr>
      <vt:lpstr>Consumer: large segment, but are we ready for a competitive mass market?</vt:lpstr>
      <vt:lpstr>Consumer premium: Allows to focus &amp; play our strengths, but can we live up to expectations on quality and service? </vt:lpstr>
      <vt:lpstr>Charging to go in lodging and gastronomy:  small and difficult segment</vt:lpstr>
      <vt:lpstr>Charging to go in the office: We can build on existing industry relationships of OST, but no pull on wireless chargers</vt:lpstr>
      <vt:lpstr>OST students and staff: we expect reasonable quantities at moderate effort</vt:lpstr>
      <vt:lpstr>OST merchandise: good fit for a premium merchandise,  we expect reasonable quantities</vt:lpstr>
      <vt:lpstr>We recommend targeting merchandise and students &amp; staff; premium interesting but can’t be targeted with same product</vt:lpstr>
      <vt:lpstr>Our strategic position implies a focus approach with technological differentiation</vt:lpstr>
      <vt:lpstr>Using a focus strategy, personalized design is at the core of our differentiation</vt:lpstr>
      <vt:lpstr>Personalization is the core of our differentiation, combined with OST branding and sustainable materials</vt:lpstr>
      <vt:lpstr>Qi certification, sufficient wattage, and durability are must-haves. We prefer a compact, mobile charger.</vt:lpstr>
      <vt:lpstr>MagSafe and/or USB hub are nice-to-have </vt:lpstr>
      <vt:lpstr>Marketing Mix</vt:lpstr>
      <vt:lpstr>We only offer the physical product – no frills, no service.  We make the housing, we buy the electronics.</vt:lpstr>
      <vt:lpstr>We estimate the material cost around 8CHF/pc  plus 50kCHF fixed cost</vt:lpstr>
      <vt:lpstr>We estimate a 25 CHF price; we could still sell at market’s average 40 CHF if quantities are -50% lower than expected</vt:lpstr>
      <vt:lpstr>OST students and staff can order online and pick up their product at the reception</vt:lpstr>
      <vt:lpstr>For use as merchandise, smart factory visitors can watch the product being made</vt:lpstr>
      <vt:lpstr>Communication to OST students via classes utilizing the smart factory, to OST staff via intran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T-Gadget: a real-world business planning case study</dc:title>
  <dc:creator>Matthäus Alberding</dc:creator>
  <cp:lastModifiedBy>Matthäus Alberding</cp:lastModifiedBy>
  <cp:revision>105</cp:revision>
  <cp:lastPrinted>2019-10-30T10:24:00Z</cp:lastPrinted>
  <dcterms:created xsi:type="dcterms:W3CDTF">2022-07-20T12:36:13Z</dcterms:created>
  <dcterms:modified xsi:type="dcterms:W3CDTF">2022-08-01T06:5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255C083860924BA1AEA48B92382A90</vt:lpwstr>
  </property>
  <property fmtid="{D5CDD505-2E9C-101B-9397-08002B2CF9AE}" pid="3" name="MediaServiceImageTags">
    <vt:lpwstr/>
  </property>
</Properties>
</file>